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35"/>
  </p:notesMasterIdLst>
  <p:handoutMasterIdLst>
    <p:handoutMasterId r:id="rId36"/>
  </p:handoutMasterIdLst>
  <p:sldIdLst>
    <p:sldId id="619" r:id="rId2"/>
    <p:sldId id="606" r:id="rId3"/>
    <p:sldId id="554" r:id="rId4"/>
    <p:sldId id="504" r:id="rId5"/>
    <p:sldId id="505" r:id="rId6"/>
    <p:sldId id="502" r:id="rId7"/>
    <p:sldId id="581" r:id="rId8"/>
    <p:sldId id="607" r:id="rId9"/>
    <p:sldId id="583" r:id="rId10"/>
    <p:sldId id="652" r:id="rId11"/>
    <p:sldId id="683" r:id="rId12"/>
    <p:sldId id="653" r:id="rId13"/>
    <p:sldId id="654" r:id="rId14"/>
    <p:sldId id="548" r:id="rId15"/>
    <p:sldId id="609" r:id="rId16"/>
    <p:sldId id="655" r:id="rId17"/>
    <p:sldId id="681" r:id="rId18"/>
    <p:sldId id="672" r:id="rId19"/>
    <p:sldId id="673" r:id="rId20"/>
    <p:sldId id="657" r:id="rId21"/>
    <p:sldId id="671" r:id="rId22"/>
    <p:sldId id="679" r:id="rId23"/>
    <p:sldId id="680" r:id="rId24"/>
    <p:sldId id="684" r:id="rId25"/>
    <p:sldId id="685" r:id="rId26"/>
    <p:sldId id="686" r:id="rId27"/>
    <p:sldId id="690" r:id="rId28"/>
    <p:sldId id="687" r:id="rId29"/>
    <p:sldId id="688" r:id="rId30"/>
    <p:sldId id="689" r:id="rId31"/>
    <p:sldId id="610" r:id="rId32"/>
    <p:sldId id="611" r:id="rId33"/>
    <p:sldId id="612"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58">
          <p15:clr>
            <a:srgbClr val="A4A3A4"/>
          </p15:clr>
        </p15:guide>
        <p15:guide id="2" pos="377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a Vida Villanueva" initials="MVV" lastIdx="1" clrIdx="0"/>
  <p:cmAuthor id="7" name="1206988966@qq.com" initials="1" lastIdx="1" clrIdx="2"/>
  <p:cmAuthor id="1" name="DELL" initials="D" lastIdx="1" clrIdx="0"/>
  <p:cmAuthor id="8" name="姜伟光" initials="姜" lastIdx="1" clrIdx="0"/>
  <p:cmAuthor id="2" name="刘 圆" initials="刘" lastIdx="1" clrIdx="1"/>
  <p:cmAuthor id="3" name="lenovo" initials="l" lastIdx="6" clrIdx="2"/>
  <p:cmAuthor id="4" name="Administrator" initials="A" lastIdx="4" clrIdx="3"/>
  <p:cmAuthor id="5" name="宋洁然" initials="宋" lastIdx="2" clrIdx="1"/>
  <p:cmAuthor id="75" name="作者" initials="A" lastIdx="0" clrIdx="24"/>
  <p:cmAuthor id="6" name="ming qiu" initials="m" lastIdx="17" clrIdx="1"/>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FF8D00"/>
    <a:srgbClr val="DF4949"/>
    <a:srgbClr val="1D0F5E"/>
    <a:srgbClr val="2E75B6"/>
    <a:srgbClr val="262626"/>
    <a:srgbClr val="000000"/>
    <a:srgbClr val="14215E"/>
    <a:srgbClr val="F2F2F2"/>
    <a:srgbClr val="83B7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636" autoAdjust="0"/>
    <p:restoredTop sz="98696" autoAdjust="0"/>
  </p:normalViewPr>
  <p:slideViewPr>
    <p:cSldViewPr snapToGrid="0" showGuides="1">
      <p:cViewPr varScale="1">
        <p:scale>
          <a:sx n="115" d="100"/>
          <a:sy n="115" d="100"/>
        </p:scale>
        <p:origin x="510" y="102"/>
      </p:cViewPr>
      <p:guideLst>
        <p:guide orient="horz" pos="2158"/>
        <p:guide pos="3777"/>
      </p:guideLst>
    </p:cSldViewPr>
  </p:slideViewPr>
  <p:notesTextViewPr>
    <p:cViewPr>
      <p:scale>
        <a:sx n="1" d="1"/>
        <a:sy n="1" d="1"/>
      </p:scale>
      <p:origin x="0" y="0"/>
    </p:cViewPr>
  </p:notesTextViewPr>
  <p:notesViewPr>
    <p:cSldViewPr snapToGrid="0">
      <p:cViewPr varScale="1">
        <p:scale>
          <a:sx n="80" d="100"/>
          <a:sy n="80" d="100"/>
        </p:scale>
        <p:origin x="2376"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FFAE8F04-6FC1-469A-9955-151FB076B1AE}" type="doc">
      <dgm:prSet loTypeId="urn:microsoft.com/office/officeart/2011/layout/HexagonRadial" loCatId="cycle" qsTypeId="urn:microsoft.com/office/officeart/2005/8/quickstyle/simple1#1" qsCatId="simple" csTypeId="urn:microsoft.com/office/officeart/2005/8/colors/accent1_2#1" csCatId="accent1" phldr="1"/>
      <dgm:spPr/>
      <dgm:t>
        <a:bodyPr/>
        <a:lstStyle/>
        <a:p>
          <a:endParaRPr lang="zh-CN" altLang="en-US"/>
        </a:p>
      </dgm:t>
    </dgm:pt>
    <dgm:pt modelId="{AB1E1C48-4494-4807-8E54-679B852330AD}">
      <dgm:prSet phldrT="[文本]" custT="1"/>
      <dgm:spPr>
        <a:solidFill>
          <a:srgbClr val="83B760"/>
        </a:solidFill>
      </dgm:spPr>
      <dgm:t>
        <a:bodyPr/>
        <a:lstStyle/>
        <a:p>
          <a:pPr>
            <a:lnSpc>
              <a:spcPts val="5000"/>
            </a:lnSpc>
            <a:spcAft>
              <a:spcPts val="0"/>
            </a:spcAft>
          </a:pPr>
          <a:r>
            <a:rPr lang="en-US" altLang="zh-CN" sz="3200" dirty="0">
              <a:solidFill>
                <a:schemeClr val="bg1"/>
              </a:solidFill>
              <a:latin typeface="Arial Black" panose="020B0A04020102020204" pitchFamily="34" charset="0"/>
              <a:ea typeface="方正小标宋简体" panose="02010600030101010101" pitchFamily="65" charset="-122"/>
              <a:cs typeface="Traditional Arabic" panose="02020603050405020304" pitchFamily="18" charset="-78"/>
            </a:rPr>
            <a:t>30</a:t>
          </a:r>
          <a:endParaRPr lang="zh-CN" altLang="en-US" sz="3200" dirty="0">
            <a:solidFill>
              <a:schemeClr val="bg1"/>
            </a:solidFill>
            <a:latin typeface="Arial Black" panose="020B0A04020102020204" pitchFamily="34" charset="0"/>
            <a:ea typeface="方正小标宋简体" panose="02010600030101010101" pitchFamily="65" charset="-122"/>
            <a:cs typeface="Traditional Arabic" panose="02020603050405020304" pitchFamily="18" charset="-78"/>
          </a:endParaRPr>
        </a:p>
      </dgm:t>
    </dgm:pt>
    <dgm:pt modelId="{E18D50A3-A11D-47D0-A690-A85898829B34}" type="parTrans" cxnId="{7EAC431D-B9C8-48F1-AFBA-1659D93CDD7F}">
      <dgm:prSet/>
      <dgm:spPr/>
      <dgm:t>
        <a:bodyPr/>
        <a:lstStyle/>
        <a:p>
          <a:endParaRPr lang="zh-CN" altLang="en-US"/>
        </a:p>
      </dgm:t>
    </dgm:pt>
    <dgm:pt modelId="{4FC7BB0E-282D-4487-9084-6F91FBB181E6}" type="sibTrans" cxnId="{7EAC431D-B9C8-48F1-AFBA-1659D93CDD7F}">
      <dgm:prSet/>
      <dgm:spPr/>
      <dgm:t>
        <a:bodyPr/>
        <a:lstStyle/>
        <a:p>
          <a:endParaRPr lang="zh-CN" altLang="en-US"/>
        </a:p>
      </dgm:t>
    </dgm:pt>
    <dgm:pt modelId="{9CD57224-C400-4C72-B55D-7CCA85766917}">
      <dgm:prSet phldrT="[文本]" custT="1"/>
      <dgm:spPr>
        <a:solidFill>
          <a:srgbClr val="FEAB19"/>
        </a:solidFill>
      </dgm:spPr>
      <dgm:t>
        <a:bodyPr/>
        <a:lstStyle/>
        <a:p>
          <a:r>
            <a:rPr lang="en-US" altLang="zh-CN" sz="1600" b="1" dirty="0">
              <a:solidFill>
                <a:srgbClr val="002060"/>
              </a:solidFill>
              <a:latin typeface="Times New Roman" panose="02020603050405020304" pitchFamily="18" charset="0"/>
              <a:ea typeface="微软雅黑" panose="020B0503020204020204" pitchFamily="34" charset="-122"/>
              <a:cs typeface="Times New Roman" panose="02020603050405020304" pitchFamily="18" charset="0"/>
            </a:rPr>
            <a:t>Science</a:t>
          </a:r>
          <a:endParaRPr lang="zh-CN" altLang="en-US" sz="1600" b="1" dirty="0">
            <a:solidFill>
              <a:srgbClr val="002060"/>
            </a:solidFill>
            <a:latin typeface="Times New Roman" panose="02020603050405020304" pitchFamily="18" charset="0"/>
            <a:ea typeface="微软雅黑" panose="020B0503020204020204" pitchFamily="34" charset="-122"/>
            <a:cs typeface="Times New Roman" panose="02020603050405020304" pitchFamily="18" charset="0"/>
          </a:endParaRPr>
        </a:p>
      </dgm:t>
    </dgm:pt>
    <dgm:pt modelId="{47000DA9-D3B3-4202-AC78-2ECFC48C2D40}" type="parTrans" cxnId="{15E81B97-E664-4BBD-A59C-703F5B02DBEC}">
      <dgm:prSet/>
      <dgm:spPr/>
      <dgm:t>
        <a:bodyPr/>
        <a:lstStyle/>
        <a:p>
          <a:endParaRPr lang="zh-CN" altLang="en-US"/>
        </a:p>
      </dgm:t>
    </dgm:pt>
    <dgm:pt modelId="{8B30C83F-122C-4C66-8B35-0B5D3B9288B3}" type="sibTrans" cxnId="{15E81B97-E664-4BBD-A59C-703F5B02DBEC}">
      <dgm:prSet/>
      <dgm:spPr/>
      <dgm:t>
        <a:bodyPr/>
        <a:lstStyle/>
        <a:p>
          <a:endParaRPr lang="zh-CN" altLang="en-US"/>
        </a:p>
      </dgm:t>
    </dgm:pt>
    <dgm:pt modelId="{2479C0E8-1B1A-4600-AC41-FB506C18D097}">
      <dgm:prSet phldrT="[文本]" custT="1"/>
      <dgm:spPr>
        <a:solidFill>
          <a:srgbClr val="009CA8"/>
        </a:solidFill>
      </dgm:spPr>
      <dgm:t>
        <a:bodyPr/>
        <a:lstStyle/>
        <a:p>
          <a:r>
            <a:rPr lang="en-US" altLang="zh-CN" sz="1600"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Others</a:t>
          </a:r>
          <a:endParaRPr lang="zh-CN" altLang="en-US" sz="1600"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dgm:t>
    </dgm:pt>
    <dgm:pt modelId="{9818EA80-9D0F-48B8-BA61-6F11AE9FF934}" type="parTrans" cxnId="{549118E2-4406-41D9-A47A-EBA2203B58B4}">
      <dgm:prSet/>
      <dgm:spPr/>
      <dgm:t>
        <a:bodyPr/>
        <a:lstStyle/>
        <a:p>
          <a:endParaRPr lang="zh-CN" altLang="en-US"/>
        </a:p>
      </dgm:t>
    </dgm:pt>
    <dgm:pt modelId="{3E5F2959-9D16-41AA-8F65-0BE406FAFE87}" type="sibTrans" cxnId="{549118E2-4406-41D9-A47A-EBA2203B58B4}">
      <dgm:prSet/>
      <dgm:spPr/>
      <dgm:t>
        <a:bodyPr/>
        <a:lstStyle/>
        <a:p>
          <a:endParaRPr lang="zh-CN" altLang="en-US"/>
        </a:p>
      </dgm:t>
    </dgm:pt>
    <dgm:pt modelId="{D82CA26D-51B6-4E3C-AB9F-B3FFC64AD11C}">
      <dgm:prSet phldrT="[文本]" custT="1"/>
      <dgm:spPr>
        <a:solidFill>
          <a:schemeClr val="accent4">
            <a:lumMod val="60000"/>
            <a:lumOff val="40000"/>
          </a:schemeClr>
        </a:solidFill>
      </dgm:spPr>
      <dgm:t>
        <a:bodyPr/>
        <a:lstStyle/>
        <a:p>
          <a:r>
            <a:rPr lang="en-US" altLang="zh-CN" sz="1600"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Arts</a:t>
          </a:r>
          <a:endParaRPr lang="zh-CN" altLang="en-US" sz="1600"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dgm:t>
    </dgm:pt>
    <dgm:pt modelId="{E8DE0D50-92B2-4E4E-9E1C-C78E051AFCC3}" type="parTrans" cxnId="{8F43BBAA-DF81-4DF4-B0C3-C27EA29E5E62}">
      <dgm:prSet/>
      <dgm:spPr/>
      <dgm:t>
        <a:bodyPr/>
        <a:lstStyle/>
        <a:p>
          <a:endParaRPr lang="zh-CN" altLang="en-US"/>
        </a:p>
      </dgm:t>
    </dgm:pt>
    <dgm:pt modelId="{B7E31216-D34E-41FF-840B-7B2ABCCED47F}" type="sibTrans" cxnId="{8F43BBAA-DF81-4DF4-B0C3-C27EA29E5E62}">
      <dgm:prSet/>
      <dgm:spPr/>
      <dgm:t>
        <a:bodyPr/>
        <a:lstStyle/>
        <a:p>
          <a:endParaRPr lang="zh-CN" altLang="en-US"/>
        </a:p>
      </dgm:t>
    </dgm:pt>
    <dgm:pt modelId="{89341AAA-BECA-4188-B202-F25BA18E5C1A}">
      <dgm:prSet phldrT="[文本]" custT="1"/>
      <dgm:spPr>
        <a:solidFill>
          <a:schemeClr val="accent1">
            <a:lumMod val="40000"/>
            <a:lumOff val="60000"/>
          </a:schemeClr>
        </a:solidFill>
      </dgm:spPr>
      <dgm:t>
        <a:bodyPr/>
        <a:lstStyle/>
        <a:p>
          <a:r>
            <a:rPr lang="en-US" altLang="zh-CN" sz="1400" b="1" dirty="0">
              <a:solidFill>
                <a:srgbClr val="002060"/>
              </a:solidFill>
              <a:latin typeface="Times New Roman" panose="02020603050405020304" pitchFamily="18" charset="0"/>
              <a:ea typeface="微软雅黑" panose="020B0503020204020204" pitchFamily="34" charset="-122"/>
              <a:cs typeface="Times New Roman" panose="02020603050405020304" pitchFamily="18" charset="0"/>
            </a:rPr>
            <a:t>Business</a:t>
          </a:r>
        </a:p>
        <a:p>
          <a:r>
            <a:rPr lang="en-US" altLang="zh-CN" sz="1400" b="1" dirty="0">
              <a:solidFill>
                <a:srgbClr val="002060"/>
              </a:solidFill>
              <a:latin typeface="Times New Roman" panose="02020603050405020304" pitchFamily="18" charset="0"/>
              <a:ea typeface="微软雅黑" panose="020B0503020204020204" pitchFamily="34" charset="-122"/>
              <a:cs typeface="Times New Roman" panose="02020603050405020304" pitchFamily="18" charset="0"/>
            </a:rPr>
            <a:t>&amp;</a:t>
          </a:r>
        </a:p>
        <a:p>
          <a:r>
            <a:rPr lang="en-US" altLang="zh-CN" sz="1400" b="1" dirty="0">
              <a:solidFill>
                <a:srgbClr val="002060"/>
              </a:solidFill>
              <a:latin typeface="Times New Roman" panose="02020603050405020304" pitchFamily="18" charset="0"/>
              <a:ea typeface="微软雅黑" panose="020B0503020204020204" pitchFamily="34" charset="-122"/>
              <a:cs typeface="Times New Roman" panose="02020603050405020304" pitchFamily="18" charset="0"/>
            </a:rPr>
            <a:t>Management</a:t>
          </a:r>
          <a:endParaRPr lang="zh-CN" altLang="en-US" sz="1400" b="1" dirty="0">
            <a:solidFill>
              <a:srgbClr val="002060"/>
            </a:solidFill>
            <a:latin typeface="Times New Roman" panose="02020603050405020304" pitchFamily="18" charset="0"/>
            <a:ea typeface="微软雅黑" panose="020B0503020204020204" pitchFamily="34" charset="-122"/>
            <a:cs typeface="Times New Roman" panose="02020603050405020304" pitchFamily="18" charset="0"/>
          </a:endParaRPr>
        </a:p>
      </dgm:t>
    </dgm:pt>
    <dgm:pt modelId="{B9DE44F4-316E-49F5-9468-C40E204FFB18}" type="parTrans" cxnId="{6B844CE4-F4EF-495B-9425-78D5C041E747}">
      <dgm:prSet/>
      <dgm:spPr/>
      <dgm:t>
        <a:bodyPr/>
        <a:lstStyle/>
        <a:p>
          <a:endParaRPr lang="zh-CN" altLang="en-US"/>
        </a:p>
      </dgm:t>
    </dgm:pt>
    <dgm:pt modelId="{ED62F513-4CAA-49A9-BB89-EA9EF6C63EA7}" type="sibTrans" cxnId="{6B844CE4-F4EF-495B-9425-78D5C041E747}">
      <dgm:prSet/>
      <dgm:spPr/>
      <dgm:t>
        <a:bodyPr/>
        <a:lstStyle/>
        <a:p>
          <a:endParaRPr lang="zh-CN" altLang="en-US"/>
        </a:p>
      </dgm:t>
    </dgm:pt>
    <dgm:pt modelId="{A87BD6A8-32AA-48FA-8954-A50F925A6BCA}">
      <dgm:prSet phldrT="[文本]" custT="1"/>
      <dgm:spPr>
        <a:solidFill>
          <a:srgbClr val="262626"/>
        </a:solidFill>
      </dgm:spPr>
      <dgm:t>
        <a:bodyPr/>
        <a:lstStyle/>
        <a:p>
          <a:pPr>
            <a:lnSpc>
              <a:spcPct val="100000"/>
            </a:lnSpc>
            <a:spcAft>
              <a:spcPts val="0"/>
            </a:spcAft>
          </a:pPr>
          <a:r>
            <a:rPr lang="en-US" altLang="zh-CN" sz="1500"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Engineer-</a:t>
          </a:r>
          <a:r>
            <a:rPr lang="en-US" altLang="zh-CN" sz="1500" b="1" dirty="0" err="1">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ing</a:t>
          </a:r>
          <a:endParaRPr lang="zh-CN" altLang="en-US" sz="1500"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dgm:t>
    </dgm:pt>
    <dgm:pt modelId="{69CDA817-5F57-4DCD-92A1-62544EBD55F1}" type="parTrans" cxnId="{B75FB370-75D7-4A70-AA59-5F7848A0BFBB}">
      <dgm:prSet/>
      <dgm:spPr/>
      <dgm:t>
        <a:bodyPr/>
        <a:lstStyle/>
        <a:p>
          <a:endParaRPr lang="zh-CN" altLang="en-US"/>
        </a:p>
      </dgm:t>
    </dgm:pt>
    <dgm:pt modelId="{45780CC3-8F14-42F4-916F-2D0522D03773}" type="sibTrans" cxnId="{B75FB370-75D7-4A70-AA59-5F7848A0BFBB}">
      <dgm:prSet/>
      <dgm:spPr/>
      <dgm:t>
        <a:bodyPr/>
        <a:lstStyle/>
        <a:p>
          <a:endParaRPr lang="zh-CN" altLang="en-US"/>
        </a:p>
      </dgm:t>
    </dgm:pt>
    <dgm:pt modelId="{35548E4F-4A21-4C3C-9797-511FECF5DE5C}">
      <dgm:prSet phldrT="[文本]" custT="1"/>
      <dgm:spPr>
        <a:solidFill>
          <a:srgbClr val="14215E"/>
        </a:solidFill>
      </dgm:spPr>
      <dgm:t>
        <a:bodyPr/>
        <a:lstStyle/>
        <a:p>
          <a:pPr>
            <a:lnSpc>
              <a:spcPct val="70000"/>
            </a:lnSpc>
            <a:spcAft>
              <a:spcPts val="0"/>
            </a:spcAft>
          </a:pPr>
          <a:r>
            <a:rPr lang="en-US" altLang="zh-CN" sz="1600"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Liberal Arts</a:t>
          </a:r>
          <a:endParaRPr lang="zh-CN" altLang="en-US" sz="1600"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dgm:t>
    </dgm:pt>
    <dgm:pt modelId="{CE3002FD-8100-482D-88C9-9B65145E97ED}" type="parTrans" cxnId="{32F5CC6D-9BF1-459D-ACF3-4630308A7257}">
      <dgm:prSet/>
      <dgm:spPr/>
      <dgm:t>
        <a:bodyPr/>
        <a:lstStyle/>
        <a:p>
          <a:endParaRPr lang="zh-CN" altLang="en-US"/>
        </a:p>
      </dgm:t>
    </dgm:pt>
    <dgm:pt modelId="{764804B0-6576-4ECF-8AB3-8C06FE8BBCD3}" type="sibTrans" cxnId="{32F5CC6D-9BF1-459D-ACF3-4630308A7257}">
      <dgm:prSet/>
      <dgm:spPr/>
      <dgm:t>
        <a:bodyPr/>
        <a:lstStyle/>
        <a:p>
          <a:endParaRPr lang="zh-CN" altLang="en-US"/>
        </a:p>
      </dgm:t>
    </dgm:pt>
    <dgm:pt modelId="{D78C3D6D-E196-48B2-AABF-EF6DAB451133}" type="pres">
      <dgm:prSet presAssocID="{FFAE8F04-6FC1-469A-9955-151FB076B1AE}" presName="Name0" presStyleCnt="0">
        <dgm:presLayoutVars>
          <dgm:chMax val="1"/>
          <dgm:chPref val="1"/>
          <dgm:dir/>
          <dgm:animOne val="branch"/>
          <dgm:animLvl val="lvl"/>
        </dgm:presLayoutVars>
      </dgm:prSet>
      <dgm:spPr/>
      <dgm:t>
        <a:bodyPr/>
        <a:lstStyle/>
        <a:p>
          <a:endParaRPr lang="zh-CN" altLang="en-US"/>
        </a:p>
      </dgm:t>
    </dgm:pt>
    <dgm:pt modelId="{D0D82B48-C193-46E5-9B71-11DF6D1E5017}" type="pres">
      <dgm:prSet presAssocID="{AB1E1C48-4494-4807-8E54-679B852330AD}" presName="Parent" presStyleLbl="node0" presStyleIdx="0" presStyleCnt="1">
        <dgm:presLayoutVars>
          <dgm:chMax val="6"/>
          <dgm:chPref val="6"/>
        </dgm:presLayoutVars>
      </dgm:prSet>
      <dgm:spPr/>
      <dgm:t>
        <a:bodyPr/>
        <a:lstStyle/>
        <a:p>
          <a:endParaRPr lang="zh-CN" altLang="en-US"/>
        </a:p>
      </dgm:t>
    </dgm:pt>
    <dgm:pt modelId="{5B364F89-4CDC-4580-ADFA-E7C1FC183CCA}" type="pres">
      <dgm:prSet presAssocID="{9CD57224-C400-4C72-B55D-7CCA85766917}" presName="Accent1" presStyleCnt="0"/>
      <dgm:spPr/>
    </dgm:pt>
    <dgm:pt modelId="{BC9D5616-C05A-4AF1-A4C6-282DCE4C15A9}" type="pres">
      <dgm:prSet presAssocID="{9CD57224-C400-4C72-B55D-7CCA85766917}" presName="Accent" presStyleLbl="bgShp" presStyleIdx="0" presStyleCnt="6"/>
      <dgm:spPr/>
    </dgm:pt>
    <dgm:pt modelId="{56D6C929-167F-40AC-8438-94E8E885F294}" type="pres">
      <dgm:prSet presAssocID="{9CD57224-C400-4C72-B55D-7CCA85766917}" presName="Child1" presStyleLbl="node1" presStyleIdx="0" presStyleCnt="6">
        <dgm:presLayoutVars>
          <dgm:chMax val="0"/>
          <dgm:chPref val="0"/>
          <dgm:bulletEnabled val="1"/>
        </dgm:presLayoutVars>
      </dgm:prSet>
      <dgm:spPr/>
      <dgm:t>
        <a:bodyPr/>
        <a:lstStyle/>
        <a:p>
          <a:endParaRPr lang="zh-CN" altLang="en-US"/>
        </a:p>
      </dgm:t>
    </dgm:pt>
    <dgm:pt modelId="{6E5AC0EE-5C21-443B-91DD-35FF9E5A95D4}" type="pres">
      <dgm:prSet presAssocID="{2479C0E8-1B1A-4600-AC41-FB506C18D097}" presName="Accent2" presStyleCnt="0"/>
      <dgm:spPr/>
    </dgm:pt>
    <dgm:pt modelId="{D11ADF3C-89DA-4918-BD0A-F00C513E38E4}" type="pres">
      <dgm:prSet presAssocID="{2479C0E8-1B1A-4600-AC41-FB506C18D097}" presName="Accent" presStyleLbl="bgShp" presStyleIdx="1" presStyleCnt="6"/>
      <dgm:spPr/>
    </dgm:pt>
    <dgm:pt modelId="{1375F9F6-FCF8-42F6-9F14-4F23B5428E84}" type="pres">
      <dgm:prSet presAssocID="{2479C0E8-1B1A-4600-AC41-FB506C18D097}" presName="Child2" presStyleLbl="node1" presStyleIdx="1" presStyleCnt="6" custLinFactNeighborX="3542" custLinFactNeighborY="-1351">
        <dgm:presLayoutVars>
          <dgm:chMax val="0"/>
          <dgm:chPref val="0"/>
          <dgm:bulletEnabled val="1"/>
        </dgm:presLayoutVars>
      </dgm:prSet>
      <dgm:spPr/>
      <dgm:t>
        <a:bodyPr/>
        <a:lstStyle/>
        <a:p>
          <a:endParaRPr lang="zh-CN" altLang="en-US"/>
        </a:p>
      </dgm:t>
    </dgm:pt>
    <dgm:pt modelId="{0B0698D6-FA5A-4F09-BD96-E949CB27B8E9}" type="pres">
      <dgm:prSet presAssocID="{D82CA26D-51B6-4E3C-AB9F-B3FFC64AD11C}" presName="Accent3" presStyleCnt="0"/>
      <dgm:spPr/>
    </dgm:pt>
    <dgm:pt modelId="{BF815BCE-DBC2-486F-B296-C6B9DB518F48}" type="pres">
      <dgm:prSet presAssocID="{D82CA26D-51B6-4E3C-AB9F-B3FFC64AD11C}" presName="Accent" presStyleLbl="bgShp" presStyleIdx="2" presStyleCnt="6"/>
      <dgm:spPr/>
    </dgm:pt>
    <dgm:pt modelId="{41DCDA2C-784A-41D7-B9EC-DFFF36E23364}" type="pres">
      <dgm:prSet presAssocID="{D82CA26D-51B6-4E3C-AB9F-B3FFC64AD11C}" presName="Child3" presStyleLbl="node1" presStyleIdx="2" presStyleCnt="6" custScaleX="100411" custScaleY="95031">
        <dgm:presLayoutVars>
          <dgm:chMax val="0"/>
          <dgm:chPref val="0"/>
          <dgm:bulletEnabled val="1"/>
        </dgm:presLayoutVars>
      </dgm:prSet>
      <dgm:spPr/>
      <dgm:t>
        <a:bodyPr/>
        <a:lstStyle/>
        <a:p>
          <a:endParaRPr lang="zh-CN" altLang="en-US"/>
        </a:p>
      </dgm:t>
    </dgm:pt>
    <dgm:pt modelId="{50F3DF7C-06D0-407F-8BA8-7714B8B41CD7}" type="pres">
      <dgm:prSet presAssocID="{89341AAA-BECA-4188-B202-F25BA18E5C1A}" presName="Accent4" presStyleCnt="0"/>
      <dgm:spPr/>
    </dgm:pt>
    <dgm:pt modelId="{7B8ACC76-D007-40F6-84FE-6547CC0F3D22}" type="pres">
      <dgm:prSet presAssocID="{89341AAA-BECA-4188-B202-F25BA18E5C1A}" presName="Accent" presStyleLbl="bgShp" presStyleIdx="3" presStyleCnt="6"/>
      <dgm:spPr/>
    </dgm:pt>
    <dgm:pt modelId="{DC715828-4438-4354-B64A-34599D380C8F}" type="pres">
      <dgm:prSet presAssocID="{89341AAA-BECA-4188-B202-F25BA18E5C1A}" presName="Child4" presStyleLbl="node1" presStyleIdx="3" presStyleCnt="6" custScaleX="107731" custLinFactNeighborX="1" custLinFactNeighborY="-1357">
        <dgm:presLayoutVars>
          <dgm:chMax val="0"/>
          <dgm:chPref val="0"/>
          <dgm:bulletEnabled val="1"/>
        </dgm:presLayoutVars>
      </dgm:prSet>
      <dgm:spPr/>
      <dgm:t>
        <a:bodyPr/>
        <a:lstStyle/>
        <a:p>
          <a:endParaRPr lang="zh-CN" altLang="en-US"/>
        </a:p>
      </dgm:t>
    </dgm:pt>
    <dgm:pt modelId="{5A4045DD-38C7-4C8C-850A-54F872EB13C1}" type="pres">
      <dgm:prSet presAssocID="{A87BD6A8-32AA-48FA-8954-A50F925A6BCA}" presName="Accent5" presStyleCnt="0"/>
      <dgm:spPr/>
    </dgm:pt>
    <dgm:pt modelId="{807698E5-239D-4118-A990-FC22328C6020}" type="pres">
      <dgm:prSet presAssocID="{A87BD6A8-32AA-48FA-8954-A50F925A6BCA}" presName="Accent" presStyleLbl="bgShp" presStyleIdx="4" presStyleCnt="6"/>
      <dgm:spPr/>
    </dgm:pt>
    <dgm:pt modelId="{8F9C1D1D-E433-45F0-B036-FC6656BD0B7C}" type="pres">
      <dgm:prSet presAssocID="{A87BD6A8-32AA-48FA-8954-A50F925A6BCA}" presName="Child5" presStyleLbl="node1" presStyleIdx="4" presStyleCnt="6" custScaleX="102210" custLinFactNeighborX="4909" custLinFactNeighborY="-4243">
        <dgm:presLayoutVars>
          <dgm:chMax val="0"/>
          <dgm:chPref val="0"/>
          <dgm:bulletEnabled val="1"/>
        </dgm:presLayoutVars>
      </dgm:prSet>
      <dgm:spPr/>
      <dgm:t>
        <a:bodyPr/>
        <a:lstStyle/>
        <a:p>
          <a:endParaRPr lang="zh-CN" altLang="en-US"/>
        </a:p>
      </dgm:t>
    </dgm:pt>
    <dgm:pt modelId="{D68F29F7-AF0E-496B-8FD6-D82FE42F4607}" type="pres">
      <dgm:prSet presAssocID="{35548E4F-4A21-4C3C-9797-511FECF5DE5C}" presName="Accent6" presStyleCnt="0"/>
      <dgm:spPr/>
    </dgm:pt>
    <dgm:pt modelId="{AEAD395D-03DD-4560-88EA-E5FAF98D1DD9}" type="pres">
      <dgm:prSet presAssocID="{35548E4F-4A21-4C3C-9797-511FECF5DE5C}" presName="Accent" presStyleLbl="bgShp" presStyleIdx="5" presStyleCnt="6"/>
      <dgm:spPr/>
    </dgm:pt>
    <dgm:pt modelId="{CC59A259-E6BE-43B4-916E-ACC6EF69F198}" type="pres">
      <dgm:prSet presAssocID="{35548E4F-4A21-4C3C-9797-511FECF5DE5C}" presName="Child6" presStyleLbl="node1" presStyleIdx="5" presStyleCnt="6">
        <dgm:presLayoutVars>
          <dgm:chMax val="0"/>
          <dgm:chPref val="0"/>
          <dgm:bulletEnabled val="1"/>
        </dgm:presLayoutVars>
      </dgm:prSet>
      <dgm:spPr/>
      <dgm:t>
        <a:bodyPr/>
        <a:lstStyle/>
        <a:p>
          <a:endParaRPr lang="zh-CN" altLang="en-US"/>
        </a:p>
      </dgm:t>
    </dgm:pt>
  </dgm:ptLst>
  <dgm:cxnLst>
    <dgm:cxn modelId="{549118E2-4406-41D9-A47A-EBA2203B58B4}" srcId="{AB1E1C48-4494-4807-8E54-679B852330AD}" destId="{2479C0E8-1B1A-4600-AC41-FB506C18D097}" srcOrd="1" destOrd="0" parTransId="{9818EA80-9D0F-48B8-BA61-6F11AE9FF934}" sibTransId="{3E5F2959-9D16-41AA-8F65-0BE406FAFE87}"/>
    <dgm:cxn modelId="{5E122D7E-9BC5-7147-B678-19BCE6D0DC22}" type="presOf" srcId="{AB1E1C48-4494-4807-8E54-679B852330AD}" destId="{D0D82B48-C193-46E5-9B71-11DF6D1E5017}" srcOrd="0" destOrd="0" presId="urn:microsoft.com/office/officeart/2011/layout/HexagonRadial"/>
    <dgm:cxn modelId="{B75FB370-75D7-4A70-AA59-5F7848A0BFBB}" srcId="{AB1E1C48-4494-4807-8E54-679B852330AD}" destId="{A87BD6A8-32AA-48FA-8954-A50F925A6BCA}" srcOrd="4" destOrd="0" parTransId="{69CDA817-5F57-4DCD-92A1-62544EBD55F1}" sibTransId="{45780CC3-8F14-42F4-916F-2D0522D03773}"/>
    <dgm:cxn modelId="{7EAC431D-B9C8-48F1-AFBA-1659D93CDD7F}" srcId="{FFAE8F04-6FC1-469A-9955-151FB076B1AE}" destId="{AB1E1C48-4494-4807-8E54-679B852330AD}" srcOrd="0" destOrd="0" parTransId="{E18D50A3-A11D-47D0-A690-A85898829B34}" sibTransId="{4FC7BB0E-282D-4487-9084-6F91FBB181E6}"/>
    <dgm:cxn modelId="{6B844CE4-F4EF-495B-9425-78D5C041E747}" srcId="{AB1E1C48-4494-4807-8E54-679B852330AD}" destId="{89341AAA-BECA-4188-B202-F25BA18E5C1A}" srcOrd="3" destOrd="0" parTransId="{B9DE44F4-316E-49F5-9468-C40E204FFB18}" sibTransId="{ED62F513-4CAA-49A9-BB89-EA9EF6C63EA7}"/>
    <dgm:cxn modelId="{FD43D8B1-D94C-7B49-918F-9B152ED26A3E}" type="presOf" srcId="{D82CA26D-51B6-4E3C-AB9F-B3FFC64AD11C}" destId="{41DCDA2C-784A-41D7-B9EC-DFFF36E23364}" srcOrd="0" destOrd="0" presId="urn:microsoft.com/office/officeart/2011/layout/HexagonRadial"/>
    <dgm:cxn modelId="{AF2A8509-4DD0-0849-9513-71D534FD5EC7}" type="presOf" srcId="{89341AAA-BECA-4188-B202-F25BA18E5C1A}" destId="{DC715828-4438-4354-B64A-34599D380C8F}" srcOrd="0" destOrd="0" presId="urn:microsoft.com/office/officeart/2011/layout/HexagonRadial"/>
    <dgm:cxn modelId="{2463EC26-D844-F545-9DCF-C8542EFE0B4B}" type="presOf" srcId="{2479C0E8-1B1A-4600-AC41-FB506C18D097}" destId="{1375F9F6-FCF8-42F6-9F14-4F23B5428E84}" srcOrd="0" destOrd="0" presId="urn:microsoft.com/office/officeart/2011/layout/HexagonRadial"/>
    <dgm:cxn modelId="{32F5CC6D-9BF1-459D-ACF3-4630308A7257}" srcId="{AB1E1C48-4494-4807-8E54-679B852330AD}" destId="{35548E4F-4A21-4C3C-9797-511FECF5DE5C}" srcOrd="5" destOrd="0" parTransId="{CE3002FD-8100-482D-88C9-9B65145E97ED}" sibTransId="{764804B0-6576-4ECF-8AB3-8C06FE8BBCD3}"/>
    <dgm:cxn modelId="{2E55D182-2A82-8C4C-89EE-5820C6E621E3}" type="presOf" srcId="{A87BD6A8-32AA-48FA-8954-A50F925A6BCA}" destId="{8F9C1D1D-E433-45F0-B036-FC6656BD0B7C}" srcOrd="0" destOrd="0" presId="urn:microsoft.com/office/officeart/2011/layout/HexagonRadial"/>
    <dgm:cxn modelId="{B20BEDFD-FB57-5842-9D42-0C5B89CC8EFA}" type="presOf" srcId="{9CD57224-C400-4C72-B55D-7CCA85766917}" destId="{56D6C929-167F-40AC-8438-94E8E885F294}" srcOrd="0" destOrd="0" presId="urn:microsoft.com/office/officeart/2011/layout/HexagonRadial"/>
    <dgm:cxn modelId="{2D9DFDE7-50E6-614F-BC5D-46A11766F91E}" type="presOf" srcId="{FFAE8F04-6FC1-469A-9955-151FB076B1AE}" destId="{D78C3D6D-E196-48B2-AABF-EF6DAB451133}" srcOrd="0" destOrd="0" presId="urn:microsoft.com/office/officeart/2011/layout/HexagonRadial"/>
    <dgm:cxn modelId="{8F43BBAA-DF81-4DF4-B0C3-C27EA29E5E62}" srcId="{AB1E1C48-4494-4807-8E54-679B852330AD}" destId="{D82CA26D-51B6-4E3C-AB9F-B3FFC64AD11C}" srcOrd="2" destOrd="0" parTransId="{E8DE0D50-92B2-4E4E-9E1C-C78E051AFCC3}" sibTransId="{B7E31216-D34E-41FF-840B-7B2ABCCED47F}"/>
    <dgm:cxn modelId="{156E7C0F-A30D-9F40-B627-5ECEB3F8E747}" type="presOf" srcId="{35548E4F-4A21-4C3C-9797-511FECF5DE5C}" destId="{CC59A259-E6BE-43B4-916E-ACC6EF69F198}" srcOrd="0" destOrd="0" presId="urn:microsoft.com/office/officeart/2011/layout/HexagonRadial"/>
    <dgm:cxn modelId="{15E81B97-E664-4BBD-A59C-703F5B02DBEC}" srcId="{AB1E1C48-4494-4807-8E54-679B852330AD}" destId="{9CD57224-C400-4C72-B55D-7CCA85766917}" srcOrd="0" destOrd="0" parTransId="{47000DA9-D3B3-4202-AC78-2ECFC48C2D40}" sibTransId="{8B30C83F-122C-4C66-8B35-0B5D3B9288B3}"/>
    <dgm:cxn modelId="{3DC25E4D-21A5-A746-8B5B-5157B88EB355}" type="presParOf" srcId="{D78C3D6D-E196-48B2-AABF-EF6DAB451133}" destId="{D0D82B48-C193-46E5-9B71-11DF6D1E5017}" srcOrd="0" destOrd="0" presId="urn:microsoft.com/office/officeart/2011/layout/HexagonRadial"/>
    <dgm:cxn modelId="{C8F5B6E6-68B0-294F-979B-6752D35FC8CC}" type="presParOf" srcId="{D78C3D6D-E196-48B2-AABF-EF6DAB451133}" destId="{5B364F89-4CDC-4580-ADFA-E7C1FC183CCA}" srcOrd="1" destOrd="0" presId="urn:microsoft.com/office/officeart/2011/layout/HexagonRadial"/>
    <dgm:cxn modelId="{C42CB5CE-BE14-F94D-8E8E-279BD0319D21}" type="presParOf" srcId="{5B364F89-4CDC-4580-ADFA-E7C1FC183CCA}" destId="{BC9D5616-C05A-4AF1-A4C6-282DCE4C15A9}" srcOrd="0" destOrd="0" presId="urn:microsoft.com/office/officeart/2011/layout/HexagonRadial"/>
    <dgm:cxn modelId="{774A6D2B-8CE1-F244-A08F-782B37E1EA85}" type="presParOf" srcId="{D78C3D6D-E196-48B2-AABF-EF6DAB451133}" destId="{56D6C929-167F-40AC-8438-94E8E885F294}" srcOrd="2" destOrd="0" presId="urn:microsoft.com/office/officeart/2011/layout/HexagonRadial"/>
    <dgm:cxn modelId="{0B512150-5D8D-5B47-8859-B74375A51C56}" type="presParOf" srcId="{D78C3D6D-E196-48B2-AABF-EF6DAB451133}" destId="{6E5AC0EE-5C21-443B-91DD-35FF9E5A95D4}" srcOrd="3" destOrd="0" presId="urn:microsoft.com/office/officeart/2011/layout/HexagonRadial"/>
    <dgm:cxn modelId="{B4CC8A74-0AE6-4E4F-8578-FBC8FE1F0B3D}" type="presParOf" srcId="{6E5AC0EE-5C21-443B-91DD-35FF9E5A95D4}" destId="{D11ADF3C-89DA-4918-BD0A-F00C513E38E4}" srcOrd="0" destOrd="0" presId="urn:microsoft.com/office/officeart/2011/layout/HexagonRadial"/>
    <dgm:cxn modelId="{2043A5E5-8EDC-8846-9E37-157F6C95F3CC}" type="presParOf" srcId="{D78C3D6D-E196-48B2-AABF-EF6DAB451133}" destId="{1375F9F6-FCF8-42F6-9F14-4F23B5428E84}" srcOrd="4" destOrd="0" presId="urn:microsoft.com/office/officeart/2011/layout/HexagonRadial"/>
    <dgm:cxn modelId="{53943B0D-51F3-BC4A-B74E-0E853CB08049}" type="presParOf" srcId="{D78C3D6D-E196-48B2-AABF-EF6DAB451133}" destId="{0B0698D6-FA5A-4F09-BD96-E949CB27B8E9}" srcOrd="5" destOrd="0" presId="urn:microsoft.com/office/officeart/2011/layout/HexagonRadial"/>
    <dgm:cxn modelId="{38CCBEFD-9019-7843-834E-1F80DCC6DA21}" type="presParOf" srcId="{0B0698D6-FA5A-4F09-BD96-E949CB27B8E9}" destId="{BF815BCE-DBC2-486F-B296-C6B9DB518F48}" srcOrd="0" destOrd="0" presId="urn:microsoft.com/office/officeart/2011/layout/HexagonRadial"/>
    <dgm:cxn modelId="{07E6695E-1A9A-C743-8B01-14A6C1534C2F}" type="presParOf" srcId="{D78C3D6D-E196-48B2-AABF-EF6DAB451133}" destId="{41DCDA2C-784A-41D7-B9EC-DFFF36E23364}" srcOrd="6" destOrd="0" presId="urn:microsoft.com/office/officeart/2011/layout/HexagonRadial"/>
    <dgm:cxn modelId="{0A7D6540-ED6F-BF45-BFDC-458186D096B1}" type="presParOf" srcId="{D78C3D6D-E196-48B2-AABF-EF6DAB451133}" destId="{50F3DF7C-06D0-407F-8BA8-7714B8B41CD7}" srcOrd="7" destOrd="0" presId="urn:microsoft.com/office/officeart/2011/layout/HexagonRadial"/>
    <dgm:cxn modelId="{EB8979F1-1306-424C-949F-56618EDAE827}" type="presParOf" srcId="{50F3DF7C-06D0-407F-8BA8-7714B8B41CD7}" destId="{7B8ACC76-D007-40F6-84FE-6547CC0F3D22}" srcOrd="0" destOrd="0" presId="urn:microsoft.com/office/officeart/2011/layout/HexagonRadial"/>
    <dgm:cxn modelId="{44DF64B4-1B82-1E43-AC7E-36FDAACAF128}" type="presParOf" srcId="{D78C3D6D-E196-48B2-AABF-EF6DAB451133}" destId="{DC715828-4438-4354-B64A-34599D380C8F}" srcOrd="8" destOrd="0" presId="urn:microsoft.com/office/officeart/2011/layout/HexagonRadial"/>
    <dgm:cxn modelId="{264BA0C1-0B0B-6949-9DFE-C1F6A23F3E03}" type="presParOf" srcId="{D78C3D6D-E196-48B2-AABF-EF6DAB451133}" destId="{5A4045DD-38C7-4C8C-850A-54F872EB13C1}" srcOrd="9" destOrd="0" presId="urn:microsoft.com/office/officeart/2011/layout/HexagonRadial"/>
    <dgm:cxn modelId="{F1B72769-4172-5F44-BA78-11A531690EC9}" type="presParOf" srcId="{5A4045DD-38C7-4C8C-850A-54F872EB13C1}" destId="{807698E5-239D-4118-A990-FC22328C6020}" srcOrd="0" destOrd="0" presId="urn:microsoft.com/office/officeart/2011/layout/HexagonRadial"/>
    <dgm:cxn modelId="{B19851AF-6D9A-A54C-BA45-7007A352D855}" type="presParOf" srcId="{D78C3D6D-E196-48B2-AABF-EF6DAB451133}" destId="{8F9C1D1D-E433-45F0-B036-FC6656BD0B7C}" srcOrd="10" destOrd="0" presId="urn:microsoft.com/office/officeart/2011/layout/HexagonRadial"/>
    <dgm:cxn modelId="{6E98D9D1-D5A5-D44B-A0BA-0464E1634A20}" type="presParOf" srcId="{D78C3D6D-E196-48B2-AABF-EF6DAB451133}" destId="{D68F29F7-AF0E-496B-8FD6-D82FE42F4607}" srcOrd="11" destOrd="0" presId="urn:microsoft.com/office/officeart/2011/layout/HexagonRadial"/>
    <dgm:cxn modelId="{06278B8E-D25D-5C41-A154-2DC3E5F93191}" type="presParOf" srcId="{D68F29F7-AF0E-496B-8FD6-D82FE42F4607}" destId="{AEAD395D-03DD-4560-88EA-E5FAF98D1DD9}" srcOrd="0" destOrd="0" presId="urn:microsoft.com/office/officeart/2011/layout/HexagonRadial"/>
    <dgm:cxn modelId="{2D00C46C-C04A-3A49-BDB3-95E8FFDA3270}" type="presParOf" srcId="{D78C3D6D-E196-48B2-AABF-EF6DAB451133}" destId="{CC59A259-E6BE-43B4-916E-ACC6EF69F198}"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D82B48-C193-46E5-9B71-11DF6D1E5017}">
      <dsp:nvSpPr>
        <dsp:cNvPr id="0" name=""/>
        <dsp:cNvSpPr/>
      </dsp:nvSpPr>
      <dsp:spPr>
        <a:xfrm>
          <a:off x="3347008" y="1216814"/>
          <a:ext cx="1546624" cy="1337892"/>
        </a:xfrm>
        <a:prstGeom prst="hexagon">
          <a:avLst>
            <a:gd name="adj" fmla="val 28570"/>
            <a:gd name="vf" fmla="val 115470"/>
          </a:avLst>
        </a:prstGeom>
        <a:solidFill>
          <a:srgbClr val="83B7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lvl="0" algn="ctr" defTabSz="1422400">
            <a:lnSpc>
              <a:spcPts val="5000"/>
            </a:lnSpc>
            <a:spcBef>
              <a:spcPct val="0"/>
            </a:spcBef>
            <a:spcAft>
              <a:spcPts val="0"/>
            </a:spcAft>
          </a:pPr>
          <a:r>
            <a:rPr lang="en-US" altLang="zh-CN" sz="3200" kern="1200" dirty="0">
              <a:solidFill>
                <a:schemeClr val="bg1"/>
              </a:solidFill>
              <a:latin typeface="Arial Black" panose="020B0A04020102020204" pitchFamily="34" charset="0"/>
              <a:ea typeface="方正小标宋简体" panose="02010600030101010101" pitchFamily="65" charset="-122"/>
              <a:cs typeface="Traditional Arabic" panose="02020603050405020304" pitchFamily="18" charset="-78"/>
            </a:rPr>
            <a:t>30</a:t>
          </a:r>
          <a:endParaRPr lang="zh-CN" altLang="en-US" sz="3200" kern="1200" dirty="0">
            <a:solidFill>
              <a:schemeClr val="bg1"/>
            </a:solidFill>
            <a:latin typeface="Arial Black" panose="020B0A04020102020204" pitchFamily="34" charset="0"/>
            <a:ea typeface="方正小标宋简体" panose="02010600030101010101" pitchFamily="65" charset="-122"/>
            <a:cs typeface="Traditional Arabic" panose="02020603050405020304" pitchFamily="18" charset="-78"/>
          </a:endParaRPr>
        </a:p>
      </dsp:txBody>
      <dsp:txXfrm>
        <a:off x="3603305" y="1438521"/>
        <a:ext cx="1034030" cy="894478"/>
      </dsp:txXfrm>
    </dsp:sp>
    <dsp:sp modelId="{D11ADF3C-89DA-4918-BD0A-F00C513E38E4}">
      <dsp:nvSpPr>
        <dsp:cNvPr id="0" name=""/>
        <dsp:cNvSpPr/>
      </dsp:nvSpPr>
      <dsp:spPr>
        <a:xfrm>
          <a:off x="4315492" y="576723"/>
          <a:ext cx="583536" cy="5027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6D6C929-167F-40AC-8438-94E8E885F294}">
      <dsp:nvSpPr>
        <dsp:cNvPr id="0" name=""/>
        <dsp:cNvSpPr/>
      </dsp:nvSpPr>
      <dsp:spPr>
        <a:xfrm>
          <a:off x="3489474" y="0"/>
          <a:ext cx="1267447" cy="1096491"/>
        </a:xfrm>
        <a:prstGeom prst="hexagon">
          <a:avLst>
            <a:gd name="adj" fmla="val 28570"/>
            <a:gd name="vf" fmla="val 115470"/>
          </a:avLst>
        </a:prstGeom>
        <a:solidFill>
          <a:srgbClr val="FEAB1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altLang="zh-CN" sz="1600" b="1" kern="1200" dirty="0">
              <a:solidFill>
                <a:srgbClr val="002060"/>
              </a:solidFill>
              <a:latin typeface="Times New Roman" panose="02020603050405020304" pitchFamily="18" charset="0"/>
              <a:ea typeface="微软雅黑" panose="020B0503020204020204" pitchFamily="34" charset="-122"/>
              <a:cs typeface="Times New Roman" panose="02020603050405020304" pitchFamily="18" charset="0"/>
            </a:rPr>
            <a:t>Science</a:t>
          </a:r>
          <a:endParaRPr lang="zh-CN" altLang="en-US" sz="1600" b="1" kern="1200" dirty="0">
            <a:solidFill>
              <a:srgbClr val="002060"/>
            </a:solidFill>
            <a:latin typeface="Times New Roman" panose="02020603050405020304" pitchFamily="18" charset="0"/>
            <a:ea typeface="微软雅黑" panose="020B0503020204020204" pitchFamily="34" charset="-122"/>
            <a:cs typeface="Times New Roman" panose="02020603050405020304" pitchFamily="18" charset="0"/>
          </a:endParaRPr>
        </a:p>
      </dsp:txBody>
      <dsp:txXfrm>
        <a:off x="3699517" y="181712"/>
        <a:ext cx="847361" cy="733067"/>
      </dsp:txXfrm>
    </dsp:sp>
    <dsp:sp modelId="{BF815BCE-DBC2-486F-B296-C6B9DB518F48}">
      <dsp:nvSpPr>
        <dsp:cNvPr id="0" name=""/>
        <dsp:cNvSpPr/>
      </dsp:nvSpPr>
      <dsp:spPr>
        <a:xfrm>
          <a:off x="4996525" y="1516680"/>
          <a:ext cx="583536" cy="5027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375F9F6-FCF8-42F6-9F14-4F23B5428E84}">
      <dsp:nvSpPr>
        <dsp:cNvPr id="0" name=""/>
        <dsp:cNvSpPr/>
      </dsp:nvSpPr>
      <dsp:spPr>
        <a:xfrm>
          <a:off x="4696764" y="659602"/>
          <a:ext cx="1267447" cy="1096491"/>
        </a:xfrm>
        <a:prstGeom prst="hexagon">
          <a:avLst>
            <a:gd name="adj" fmla="val 28570"/>
            <a:gd name="vf" fmla="val 115470"/>
          </a:avLst>
        </a:prstGeom>
        <a:solidFill>
          <a:srgbClr val="009CA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altLang="zh-CN" sz="1600" b="1" kern="12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Others</a:t>
          </a:r>
          <a:endParaRPr lang="zh-CN" altLang="en-US" sz="1600" b="1" kern="12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dsp:txBody>
      <dsp:txXfrm>
        <a:off x="4906807" y="841314"/>
        <a:ext cx="847361" cy="733067"/>
      </dsp:txXfrm>
    </dsp:sp>
    <dsp:sp modelId="{7B8ACC76-D007-40F6-84FE-6547CC0F3D22}">
      <dsp:nvSpPr>
        <dsp:cNvPr id="0" name=""/>
        <dsp:cNvSpPr/>
      </dsp:nvSpPr>
      <dsp:spPr>
        <a:xfrm>
          <a:off x="4523435" y="2577716"/>
          <a:ext cx="583536" cy="5027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1DCDA2C-784A-41D7-B9EC-DFFF36E23364}">
      <dsp:nvSpPr>
        <dsp:cNvPr id="0" name=""/>
        <dsp:cNvSpPr/>
      </dsp:nvSpPr>
      <dsp:spPr>
        <a:xfrm>
          <a:off x="4649266" y="2027480"/>
          <a:ext cx="1272657" cy="1042006"/>
        </a:xfrm>
        <a:prstGeom prst="hexagon">
          <a:avLst>
            <a:gd name="adj" fmla="val 28570"/>
            <a:gd name="vf" fmla="val 115470"/>
          </a:avLst>
        </a:prstGeom>
        <a:solidFill>
          <a:schemeClr val="accent4">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altLang="zh-CN" sz="1600" b="1" kern="12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Arts</a:t>
          </a:r>
          <a:endParaRPr lang="zh-CN" altLang="en-US" sz="1600" b="1" kern="12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dsp:txBody>
      <dsp:txXfrm>
        <a:off x="4854554" y="2195563"/>
        <a:ext cx="862081" cy="705840"/>
      </dsp:txXfrm>
    </dsp:sp>
    <dsp:sp modelId="{807698E5-239D-4118-A990-FC22328C6020}">
      <dsp:nvSpPr>
        <dsp:cNvPr id="0" name=""/>
        <dsp:cNvSpPr/>
      </dsp:nvSpPr>
      <dsp:spPr>
        <a:xfrm>
          <a:off x="3349886" y="2687855"/>
          <a:ext cx="583536" cy="5027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C715828-4438-4354-B64A-34599D380C8F}">
      <dsp:nvSpPr>
        <dsp:cNvPr id="0" name=""/>
        <dsp:cNvSpPr/>
      </dsp:nvSpPr>
      <dsp:spPr>
        <a:xfrm>
          <a:off x="3440494" y="2660529"/>
          <a:ext cx="1365434" cy="1096491"/>
        </a:xfrm>
        <a:prstGeom prst="hexagon">
          <a:avLst>
            <a:gd name="adj" fmla="val 28570"/>
            <a:gd name="vf" fmla="val 115470"/>
          </a:avLst>
        </a:prstGeom>
        <a:solidFill>
          <a:schemeClr val="accent1">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altLang="zh-CN" sz="1400" b="1" kern="1200" dirty="0">
              <a:solidFill>
                <a:srgbClr val="002060"/>
              </a:solidFill>
              <a:latin typeface="Times New Roman" panose="02020603050405020304" pitchFamily="18" charset="0"/>
              <a:ea typeface="微软雅黑" panose="020B0503020204020204" pitchFamily="34" charset="-122"/>
              <a:cs typeface="Times New Roman" panose="02020603050405020304" pitchFamily="18" charset="0"/>
            </a:rPr>
            <a:t>Business</a:t>
          </a:r>
        </a:p>
        <a:p>
          <a:pPr lvl="0" algn="ctr" defTabSz="622300">
            <a:lnSpc>
              <a:spcPct val="90000"/>
            </a:lnSpc>
            <a:spcBef>
              <a:spcPct val="0"/>
            </a:spcBef>
            <a:spcAft>
              <a:spcPct val="35000"/>
            </a:spcAft>
          </a:pPr>
          <a:r>
            <a:rPr lang="en-US" altLang="zh-CN" sz="1400" b="1" kern="1200" dirty="0">
              <a:solidFill>
                <a:srgbClr val="002060"/>
              </a:solidFill>
              <a:latin typeface="Times New Roman" panose="02020603050405020304" pitchFamily="18" charset="0"/>
              <a:ea typeface="微软雅黑" panose="020B0503020204020204" pitchFamily="34" charset="-122"/>
              <a:cs typeface="Times New Roman" panose="02020603050405020304" pitchFamily="18" charset="0"/>
            </a:rPr>
            <a:t>&amp;</a:t>
          </a:r>
        </a:p>
        <a:p>
          <a:pPr lvl="0" algn="ctr" defTabSz="622300">
            <a:lnSpc>
              <a:spcPct val="90000"/>
            </a:lnSpc>
            <a:spcBef>
              <a:spcPct val="0"/>
            </a:spcBef>
            <a:spcAft>
              <a:spcPct val="35000"/>
            </a:spcAft>
          </a:pPr>
          <a:r>
            <a:rPr lang="en-US" altLang="zh-CN" sz="1400" b="1" kern="1200" dirty="0">
              <a:solidFill>
                <a:srgbClr val="002060"/>
              </a:solidFill>
              <a:latin typeface="Times New Roman" panose="02020603050405020304" pitchFamily="18" charset="0"/>
              <a:ea typeface="微软雅黑" panose="020B0503020204020204" pitchFamily="34" charset="-122"/>
              <a:cs typeface="Times New Roman" panose="02020603050405020304" pitchFamily="18" charset="0"/>
            </a:rPr>
            <a:t>Management</a:t>
          </a:r>
          <a:endParaRPr lang="zh-CN" altLang="en-US" sz="1400" b="1" kern="1200" dirty="0">
            <a:solidFill>
              <a:srgbClr val="002060"/>
            </a:solidFill>
            <a:latin typeface="Times New Roman" panose="02020603050405020304" pitchFamily="18" charset="0"/>
            <a:ea typeface="微软雅黑" panose="020B0503020204020204" pitchFamily="34" charset="-122"/>
            <a:cs typeface="Times New Roman" panose="02020603050405020304" pitchFamily="18" charset="0"/>
          </a:endParaRPr>
        </a:p>
      </dsp:txBody>
      <dsp:txXfrm>
        <a:off x="3658703" y="2835758"/>
        <a:ext cx="929016" cy="746033"/>
      </dsp:txXfrm>
    </dsp:sp>
    <dsp:sp modelId="{AEAD395D-03DD-4560-88EA-E5FAF98D1DD9}">
      <dsp:nvSpPr>
        <dsp:cNvPr id="0" name=""/>
        <dsp:cNvSpPr/>
      </dsp:nvSpPr>
      <dsp:spPr>
        <a:xfrm>
          <a:off x="2657700" y="1748275"/>
          <a:ext cx="583536" cy="502794"/>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F9C1D1D-E433-45F0-B036-FC6656BD0B7C}">
      <dsp:nvSpPr>
        <dsp:cNvPr id="0" name=""/>
        <dsp:cNvSpPr/>
      </dsp:nvSpPr>
      <dsp:spPr>
        <a:xfrm>
          <a:off x="2369894" y="1954468"/>
          <a:ext cx="1295458" cy="1096491"/>
        </a:xfrm>
        <a:prstGeom prst="hexagon">
          <a:avLst>
            <a:gd name="adj" fmla="val 28570"/>
            <a:gd name="vf" fmla="val 115470"/>
          </a:avLst>
        </a:prstGeom>
        <a:solidFill>
          <a:srgbClr val="26262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100000"/>
            </a:lnSpc>
            <a:spcBef>
              <a:spcPct val="0"/>
            </a:spcBef>
            <a:spcAft>
              <a:spcPts val="0"/>
            </a:spcAft>
          </a:pPr>
          <a:r>
            <a:rPr lang="en-US" altLang="zh-CN" sz="1500" b="1" kern="12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Engineer-</a:t>
          </a:r>
          <a:r>
            <a:rPr lang="en-US" altLang="zh-CN" sz="1500" b="1" kern="1200" dirty="0" err="1">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ing</a:t>
          </a:r>
          <a:endParaRPr lang="zh-CN" altLang="en-US" sz="1500" b="1" kern="12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dsp:txBody>
      <dsp:txXfrm>
        <a:off x="2582271" y="2134227"/>
        <a:ext cx="870704" cy="736973"/>
      </dsp:txXfrm>
    </dsp:sp>
    <dsp:sp modelId="{CC59A259-E6BE-43B4-916E-ACC6EF69F198}">
      <dsp:nvSpPr>
        <dsp:cNvPr id="0" name=""/>
        <dsp:cNvSpPr/>
      </dsp:nvSpPr>
      <dsp:spPr>
        <a:xfrm>
          <a:off x="2321681" y="672906"/>
          <a:ext cx="1267447" cy="1096491"/>
        </a:xfrm>
        <a:prstGeom prst="hexagon">
          <a:avLst>
            <a:gd name="adj" fmla="val 28570"/>
            <a:gd name="vf" fmla="val 115470"/>
          </a:avLst>
        </a:prstGeom>
        <a:solidFill>
          <a:srgbClr val="14215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70000"/>
            </a:lnSpc>
            <a:spcBef>
              <a:spcPct val="0"/>
            </a:spcBef>
            <a:spcAft>
              <a:spcPts val="0"/>
            </a:spcAft>
          </a:pPr>
          <a:r>
            <a:rPr lang="en-US" altLang="zh-CN" sz="1600" b="1" kern="12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Liberal Arts</a:t>
          </a:r>
          <a:endParaRPr lang="zh-CN" altLang="en-US" sz="1600" b="1" kern="12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dsp:txBody>
      <dsp:txXfrm>
        <a:off x="2531724" y="854618"/>
        <a:ext cx="847361" cy="733067"/>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六边形射线"/>
  <dgm:desc val="用于显示与中心观点或主题相关的顺序流程。限制为六个级别 2 形状。非常适合于少量文本。不使用的文本不出现，但是在切换版式后仍然可用。"/>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EDDF201-FA0E-4AB6-A23F-408EE91F2F21}" type="datetimeFigureOut">
              <a:rPr lang="en-US" smtClean="0"/>
              <a:t>4/26/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ECB094F-A4BC-478F-AEBE-74E08AC32A6D}" type="slidenum">
              <a:rPr lang="en-US" smtClean="0"/>
              <a:t>‹#›</a:t>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95B589-DFC2-4C46-B465-1411579998F8}" type="datetimeFigureOut">
              <a:rPr lang="en-US" smtClean="0"/>
              <a:t>4/26/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1585EA-7F30-47FF-9F68-8C7B5BDB9D50}" type="slidenum">
              <a:rPr lang="en-US" smtClean="0"/>
              <a:t>‹#›</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7010" indent="-20701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7</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B6B19A6-BC2E-437A-B922-737363B321B5}"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t>18</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6B6B19A6-BC2E-437A-B922-737363B321B5}" type="slidenum">
              <a:rPr lang="zh-CN" altLang="en-US" smtClean="0"/>
              <a:t>19</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6B6B19A6-BC2E-437A-B922-737363B321B5}" type="slidenum">
              <a:rPr lang="zh-CN" altLang="en-US" smtClean="0"/>
              <a:t>21</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6B6B19A6-BC2E-437A-B922-737363B321B5}" type="slidenum">
              <a:rPr lang="zh-CN" altLang="en-US" smtClean="0"/>
              <a:t>22</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6B6B19A6-BC2E-437A-B922-737363B321B5}" type="slidenum">
              <a:rPr lang="zh-CN" altLang="en-US" smtClean="0"/>
              <a:t>23</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BA23211-66F3-4E52-BE2E-D8A9E8DA1D06}" type="slidenum">
              <a:rPr lang="zh-CN" altLang="en-US" smtClean="0">
                <a:solidFill>
                  <a:prstClr val="black"/>
                </a:solidFill>
              </a:rPr>
              <a:t>24</a:t>
            </a:fld>
            <a:endParaRPr lang="zh-CN" altLang="en-US">
              <a:solidFill>
                <a:prstClr val="black"/>
              </a:solidFill>
            </a:endParaRPr>
          </a:p>
        </p:txBody>
      </p:sp>
    </p:spTree>
    <p:extLst>
      <p:ext uri="{BB962C8B-B14F-4D97-AF65-F5344CB8AC3E}">
        <p14:creationId xmlns:p14="http://schemas.microsoft.com/office/powerpoint/2010/main" val="3071342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E3062F2-1D27-4FF1-BAE7-E70F85800F0A}" type="slidenum">
              <a:rPr lang="zh-CN" altLang="en-US" smtClean="0"/>
              <a:t>26</a:t>
            </a:fld>
            <a:endParaRPr lang="zh-CN" altLang="en-US"/>
          </a:p>
        </p:txBody>
      </p:sp>
    </p:spTree>
    <p:extLst>
      <p:ext uri="{BB962C8B-B14F-4D97-AF65-F5344CB8AC3E}">
        <p14:creationId xmlns:p14="http://schemas.microsoft.com/office/powerpoint/2010/main" val="9484852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F1CB8912-F0BA-4AD8-8415-DA1F26BCB09F}" type="slidenum">
              <a:rPr lang="zh-CN" altLang="en-US" smtClean="0">
                <a:solidFill>
                  <a:prstClr val="black"/>
                </a:solidFill>
              </a:rPr>
              <a:t>31</a:t>
            </a:fld>
            <a:endParaRPr lang="zh-CN" altLang="en-US">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6B6B19A6-BC2E-437A-B922-737363B321B5}" type="slidenum">
              <a:rPr lang="zh-CN" altLang="en-US" smtClean="0"/>
              <a:t>32</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BA23211-66F3-4E52-BE2E-D8A9E8DA1D06}" type="slidenum">
              <a:rPr lang="zh-CN" altLang="en-US" smtClean="0">
                <a:solidFill>
                  <a:prstClr val="black"/>
                </a:solidFill>
              </a:rPr>
              <a:t>2</a:t>
            </a:fld>
            <a:endParaRPr lang="zh-CN" alt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6B6B19A6-BC2E-437A-B922-737363B321B5}" type="slidenum">
              <a:rPr lang="zh-CN" altLang="en-US" smtClean="0"/>
              <a:t>6</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BA23211-66F3-4E52-BE2E-D8A9E8DA1D06}" type="slidenum">
              <a:rPr lang="zh-CN" altLang="en-US" smtClean="0">
                <a:solidFill>
                  <a:prstClr val="black"/>
                </a:solidFill>
              </a:rPr>
              <a:t>8</a:t>
            </a:fld>
            <a:endParaRPr lang="zh-CN" altLang="en-US">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1B2E3864-CA18-44A9-BBAD-40D2449FD0AC}" type="slidenum">
              <a:rPr lang="zh-CN" altLang="en-US" smtClean="0"/>
              <a:t>10</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AC77BDF-CA09-44A9-AC8A-20BD43FF1E97}" type="slidenum">
              <a:rPr lang="zh-CN" altLang="en-US" smtClean="0"/>
              <a:t>12</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xfrm>
            <a:off x="381000" y="685800"/>
            <a:ext cx="6096000" cy="3429000"/>
          </a:xfrm>
        </p:spPr>
      </p:sp>
      <p:sp>
        <p:nvSpPr>
          <p:cNvPr id="43011" name="Rectangle 3"/>
          <p:cNvSpPr>
            <a:spLocks noGrp="1" noChangeArrowheads="1"/>
          </p:cNvSpPr>
          <p:nvPr>
            <p:ph type="body" idx="1"/>
          </p:nvPr>
        </p:nvSpPr>
        <p:spPr/>
        <p:txBody>
          <a:bodyPr/>
          <a:lstStyle/>
          <a:p>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BA23211-66F3-4E52-BE2E-D8A9E8DA1D06}" type="slidenum">
              <a:rPr lang="zh-CN" altLang="en-US" smtClean="0">
                <a:solidFill>
                  <a:prstClr val="black"/>
                </a:solidFill>
              </a:rPr>
              <a:t>15</a:t>
            </a:fld>
            <a:endParaRPr lang="zh-CN" alt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eft side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88" name="think-cell Slide" r:id="rId4" imgW="12700" imgH="12700" progId="TCLayout.ActiveDocument.1">
                  <p:embed/>
                </p:oleObj>
              </mc:Choice>
              <mc:Fallback>
                <p:oleObj name="think-cell Slide" r:id="rId4" imgW="12700" imgH="12700" progId="TCLayout.ActiveDocument.1">
                  <p:embed/>
                  <p:pic>
                    <p:nvPicPr>
                      <p:cNvPr id="0" name="图片 9676"/>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icture Placeholder 13"/>
          <p:cNvSpPr>
            <a:spLocks noGrp="1"/>
          </p:cNvSpPr>
          <p:nvPr>
            <p:ph type="pic" sz="quarter" idx="10"/>
          </p:nvPr>
        </p:nvSpPr>
        <p:spPr>
          <a:xfrm>
            <a:off x="0" y="0"/>
            <a:ext cx="4773386" cy="6858000"/>
          </a:xfrm>
          <a:prstGeom prst="rect">
            <a:avLst/>
          </a:prstGeom>
          <a:pattFill prst="lgCheck">
            <a:fgClr>
              <a:schemeClr val="bg1">
                <a:lumMod val="85000"/>
              </a:schemeClr>
            </a:fgClr>
            <a:bgClr>
              <a:schemeClr val="bg1"/>
            </a:bgClr>
          </a:pattFill>
        </p:spPr>
        <p:txBody>
          <a:bodyPr anchor="ctr"/>
          <a:lstStyle>
            <a:lvl1pPr marL="228600" indent="-228600" algn="ctr">
              <a:buNone/>
              <a:defRPr lang="en-US" sz="3200" i="1" baseline="0" dirty="0">
                <a:solidFill>
                  <a:schemeClr val="bg1">
                    <a:lumMod val="65000"/>
                  </a:schemeClr>
                </a:solidFill>
                <a:latin typeface="Arial" panose="020B0604020202020204"/>
              </a:defRPr>
            </a:lvl1pPr>
          </a:lstStyle>
          <a:p>
            <a:r>
              <a:rPr lang="en-US" dirty="0"/>
              <a:t>Click icon to add picture</a:t>
            </a:r>
          </a:p>
          <a:p>
            <a:endParaRPr lang="en-US" dirty="0"/>
          </a:p>
        </p:txBody>
      </p:sp>
      <p:sp>
        <p:nvSpPr>
          <p:cNvPr id="21" name="Slide Number Placeholder 5"/>
          <p:cNvSpPr>
            <a:spLocks noGrp="1"/>
          </p:cNvSpPr>
          <p:nvPr>
            <p:ph type="sldNum" sz="quarter" idx="4"/>
          </p:nvPr>
        </p:nvSpPr>
        <p:spPr>
          <a:xfrm>
            <a:off x="11533122" y="6382206"/>
            <a:ext cx="358840" cy="215444"/>
          </a:xfrm>
          <a:prstGeom prst="rect">
            <a:avLst/>
          </a:prstGeom>
        </p:spPr>
        <p:txBody>
          <a:bodyPr vert="horz" lIns="0" tIns="0" rIns="0" bIns="0" rtlCol="0" anchor="ctr">
            <a:spAutoFit/>
          </a:bodyPr>
          <a:lstStyle>
            <a:lvl1pPr algn="l">
              <a:defRPr sz="1400" b="1">
                <a:solidFill>
                  <a:schemeClr val="accent1"/>
                </a:solidFill>
                <a:latin typeface="Arial" panose="020B0604020202020204"/>
              </a:defRPr>
            </a:lvl1pPr>
          </a:lstStyle>
          <a:p>
            <a:fld id="{9EE92F51-9D7A-4895-B642-F19EBC2F5403}" type="slidenum">
              <a:rPr lang="en-US" smtClean="0"/>
              <a:t>‹#›</a:t>
            </a:fld>
            <a:endParaRPr lang="en-US" dirty="0"/>
          </a:p>
        </p:txBody>
      </p:sp>
      <p:sp>
        <p:nvSpPr>
          <p:cNvPr id="22" name="Rectangle 21"/>
          <p:cNvSpPr/>
          <p:nvPr userDrawn="1"/>
        </p:nvSpPr>
        <p:spPr>
          <a:xfrm>
            <a:off x="10946383" y="6382206"/>
            <a:ext cx="628465"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latin typeface="Arial" panose="020B0604020202020204"/>
              </a:rPr>
              <a:t>SLIDE </a:t>
            </a:r>
            <a:r>
              <a:rPr lang="en-US" sz="1400" b="1" dirty="0">
                <a:solidFill>
                  <a:schemeClr val="accent1"/>
                </a:solidFill>
                <a:latin typeface="Arial" panose="020B0604020202020204"/>
              </a:rPr>
              <a:t>/</a:t>
            </a:r>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783772" y="3744686"/>
            <a:ext cx="4034971" cy="2438400"/>
          </a:xfrm>
          <a:custGeom>
            <a:avLst/>
            <a:gdLst>
              <a:gd name="connsiteX0" fmla="*/ 0 w 4034971"/>
              <a:gd name="connsiteY0" fmla="*/ 0 h 2438400"/>
              <a:gd name="connsiteX1" fmla="*/ 4034971 w 4034971"/>
              <a:gd name="connsiteY1" fmla="*/ 0 h 2438400"/>
              <a:gd name="connsiteX2" fmla="*/ 4034971 w 4034971"/>
              <a:gd name="connsiteY2" fmla="*/ 2438400 h 2438400"/>
              <a:gd name="connsiteX3" fmla="*/ 0 w 4034971"/>
              <a:gd name="connsiteY3" fmla="*/ 2438400 h 2438400"/>
            </a:gdLst>
            <a:ahLst/>
            <a:cxnLst>
              <a:cxn ang="0">
                <a:pos x="connsiteX0" y="connsiteY0"/>
              </a:cxn>
              <a:cxn ang="0">
                <a:pos x="connsiteX1" y="connsiteY1"/>
              </a:cxn>
              <a:cxn ang="0">
                <a:pos x="connsiteX2" y="connsiteY2"/>
              </a:cxn>
              <a:cxn ang="0">
                <a:pos x="connsiteX3" y="connsiteY3"/>
              </a:cxn>
            </a:cxnLst>
            <a:rect l="l" t="t" r="r" b="b"/>
            <a:pathLst>
              <a:path w="4034971" h="2438400">
                <a:moveTo>
                  <a:pt x="0" y="0"/>
                </a:moveTo>
                <a:lnTo>
                  <a:pt x="4034971" y="0"/>
                </a:lnTo>
                <a:lnTo>
                  <a:pt x="4034971" y="2438400"/>
                </a:lnTo>
                <a:lnTo>
                  <a:pt x="0" y="2438400"/>
                </a:lnTo>
                <a:close/>
              </a:path>
            </a:pathLst>
          </a:custGeom>
        </p:spPr>
        <p:txBody>
          <a:bodyPr wrap="square">
            <a:noAutofit/>
          </a:bodyPr>
          <a:lstStyle>
            <a:lvl1pPr>
              <a:defRPr>
                <a:latin typeface="Arial" panose="020B0604020202020204"/>
              </a:defRPr>
            </a:lvl1pPr>
          </a:lstStyle>
          <a:p>
            <a:endParaRPr lang="id-ID" dirty="0"/>
          </a:p>
        </p:txBody>
      </p:sp>
      <p:sp>
        <p:nvSpPr>
          <p:cNvPr id="14" name="Picture Placeholder 13"/>
          <p:cNvSpPr>
            <a:spLocks noGrp="1"/>
          </p:cNvSpPr>
          <p:nvPr>
            <p:ph type="pic" sz="quarter" idx="11"/>
          </p:nvPr>
        </p:nvSpPr>
        <p:spPr>
          <a:xfrm>
            <a:off x="5733143" y="537028"/>
            <a:ext cx="3541486" cy="4949372"/>
          </a:xfrm>
          <a:custGeom>
            <a:avLst/>
            <a:gdLst>
              <a:gd name="connsiteX0" fmla="*/ 0 w 3541486"/>
              <a:gd name="connsiteY0" fmla="*/ 0 h 4949372"/>
              <a:gd name="connsiteX1" fmla="*/ 3541486 w 3541486"/>
              <a:gd name="connsiteY1" fmla="*/ 0 h 4949372"/>
              <a:gd name="connsiteX2" fmla="*/ 3541486 w 3541486"/>
              <a:gd name="connsiteY2" fmla="*/ 4949372 h 4949372"/>
              <a:gd name="connsiteX3" fmla="*/ 0 w 3541486"/>
              <a:gd name="connsiteY3" fmla="*/ 4949372 h 4949372"/>
            </a:gdLst>
            <a:ahLst/>
            <a:cxnLst>
              <a:cxn ang="0">
                <a:pos x="connsiteX0" y="connsiteY0"/>
              </a:cxn>
              <a:cxn ang="0">
                <a:pos x="connsiteX1" y="connsiteY1"/>
              </a:cxn>
              <a:cxn ang="0">
                <a:pos x="connsiteX2" y="connsiteY2"/>
              </a:cxn>
              <a:cxn ang="0">
                <a:pos x="connsiteX3" y="connsiteY3"/>
              </a:cxn>
            </a:cxnLst>
            <a:rect l="l" t="t" r="r" b="b"/>
            <a:pathLst>
              <a:path w="3541486" h="4949372">
                <a:moveTo>
                  <a:pt x="0" y="0"/>
                </a:moveTo>
                <a:lnTo>
                  <a:pt x="3541486" y="0"/>
                </a:lnTo>
                <a:lnTo>
                  <a:pt x="3541486" y="4949372"/>
                </a:lnTo>
                <a:lnTo>
                  <a:pt x="0" y="4949372"/>
                </a:lnTo>
                <a:close/>
              </a:path>
            </a:pathLst>
          </a:custGeom>
        </p:spPr>
        <p:txBody>
          <a:bodyPr wrap="square">
            <a:noAutofit/>
          </a:bodyPr>
          <a:lstStyle>
            <a:lvl1pPr>
              <a:defRPr>
                <a:latin typeface="Arial" panose="020B0604020202020204"/>
              </a:defRPr>
            </a:lvl1pPr>
          </a:lstStyle>
          <a:p>
            <a:endParaRPr lang="id-ID" dirty="0"/>
          </a:p>
        </p:txBody>
      </p:sp>
      <p:sp>
        <p:nvSpPr>
          <p:cNvPr id="17" name="Picture Placeholder 16"/>
          <p:cNvSpPr>
            <a:spLocks noGrp="1"/>
          </p:cNvSpPr>
          <p:nvPr>
            <p:ph type="pic" sz="quarter" idx="12"/>
          </p:nvPr>
        </p:nvSpPr>
        <p:spPr>
          <a:xfrm>
            <a:off x="11030857" y="3541486"/>
            <a:ext cx="1161143" cy="2844800"/>
          </a:xfrm>
          <a:custGeom>
            <a:avLst/>
            <a:gdLst>
              <a:gd name="connsiteX0" fmla="*/ 0 w 1161143"/>
              <a:gd name="connsiteY0" fmla="*/ 0 h 2844800"/>
              <a:gd name="connsiteX1" fmla="*/ 1161143 w 1161143"/>
              <a:gd name="connsiteY1" fmla="*/ 0 h 2844800"/>
              <a:gd name="connsiteX2" fmla="*/ 1161143 w 1161143"/>
              <a:gd name="connsiteY2" fmla="*/ 2844800 h 2844800"/>
              <a:gd name="connsiteX3" fmla="*/ 0 w 1161143"/>
              <a:gd name="connsiteY3" fmla="*/ 2844800 h 2844800"/>
            </a:gdLst>
            <a:ahLst/>
            <a:cxnLst>
              <a:cxn ang="0">
                <a:pos x="connsiteX0" y="connsiteY0"/>
              </a:cxn>
              <a:cxn ang="0">
                <a:pos x="connsiteX1" y="connsiteY1"/>
              </a:cxn>
              <a:cxn ang="0">
                <a:pos x="connsiteX2" y="connsiteY2"/>
              </a:cxn>
              <a:cxn ang="0">
                <a:pos x="connsiteX3" y="connsiteY3"/>
              </a:cxn>
            </a:cxnLst>
            <a:rect l="l" t="t" r="r" b="b"/>
            <a:pathLst>
              <a:path w="1161143" h="2844800">
                <a:moveTo>
                  <a:pt x="0" y="0"/>
                </a:moveTo>
                <a:lnTo>
                  <a:pt x="1161143" y="0"/>
                </a:lnTo>
                <a:lnTo>
                  <a:pt x="1161143" y="2844800"/>
                </a:lnTo>
                <a:lnTo>
                  <a:pt x="0" y="2844800"/>
                </a:lnTo>
                <a:close/>
              </a:path>
            </a:pathLst>
          </a:custGeom>
        </p:spPr>
        <p:txBody>
          <a:bodyPr wrap="square">
            <a:noAutofit/>
          </a:bodyPr>
          <a:lstStyle>
            <a:lvl1pPr>
              <a:defRPr>
                <a:latin typeface="Arial" panose="020B0604020202020204"/>
              </a:defRPr>
            </a:lvl1pPr>
          </a:lstStyle>
          <a:p>
            <a:endParaRPr lang="id-ID"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551543" y="435429"/>
            <a:ext cx="4078514" cy="2481942"/>
          </a:xfrm>
          <a:custGeom>
            <a:avLst/>
            <a:gdLst>
              <a:gd name="connsiteX0" fmla="*/ 0 w 4078514"/>
              <a:gd name="connsiteY0" fmla="*/ 0 h 2481942"/>
              <a:gd name="connsiteX1" fmla="*/ 4078514 w 4078514"/>
              <a:gd name="connsiteY1" fmla="*/ 0 h 2481942"/>
              <a:gd name="connsiteX2" fmla="*/ 4078514 w 4078514"/>
              <a:gd name="connsiteY2" fmla="*/ 2481942 h 2481942"/>
              <a:gd name="connsiteX3" fmla="*/ 0 w 4078514"/>
              <a:gd name="connsiteY3" fmla="*/ 2481942 h 2481942"/>
            </a:gdLst>
            <a:ahLst/>
            <a:cxnLst>
              <a:cxn ang="0">
                <a:pos x="connsiteX0" y="connsiteY0"/>
              </a:cxn>
              <a:cxn ang="0">
                <a:pos x="connsiteX1" y="connsiteY1"/>
              </a:cxn>
              <a:cxn ang="0">
                <a:pos x="connsiteX2" y="connsiteY2"/>
              </a:cxn>
              <a:cxn ang="0">
                <a:pos x="connsiteX3" y="connsiteY3"/>
              </a:cxn>
            </a:cxnLst>
            <a:rect l="l" t="t" r="r" b="b"/>
            <a:pathLst>
              <a:path w="4078514" h="2481942">
                <a:moveTo>
                  <a:pt x="0" y="0"/>
                </a:moveTo>
                <a:lnTo>
                  <a:pt x="4078514" y="0"/>
                </a:lnTo>
                <a:lnTo>
                  <a:pt x="4078514" y="2481942"/>
                </a:lnTo>
                <a:lnTo>
                  <a:pt x="0" y="2481942"/>
                </a:lnTo>
                <a:close/>
              </a:path>
            </a:pathLst>
          </a:custGeom>
        </p:spPr>
        <p:txBody>
          <a:bodyPr wrap="square">
            <a:noAutofit/>
          </a:bodyPr>
          <a:lstStyle>
            <a:lvl1pPr>
              <a:defRPr>
                <a:latin typeface="Arial" panose="020B0604020202020204"/>
              </a:defRPr>
            </a:lvl1pPr>
          </a:lstStyle>
          <a:p>
            <a:endParaRPr lang="id-ID" dirty="0"/>
          </a:p>
        </p:txBody>
      </p:sp>
      <p:sp>
        <p:nvSpPr>
          <p:cNvPr id="12" name="Picture Placeholder 11"/>
          <p:cNvSpPr>
            <a:spLocks noGrp="1"/>
          </p:cNvSpPr>
          <p:nvPr>
            <p:ph type="pic" sz="quarter" idx="11"/>
          </p:nvPr>
        </p:nvSpPr>
        <p:spPr>
          <a:xfrm>
            <a:off x="551543" y="3933372"/>
            <a:ext cx="4078514" cy="2481942"/>
          </a:xfrm>
          <a:custGeom>
            <a:avLst/>
            <a:gdLst>
              <a:gd name="connsiteX0" fmla="*/ 0 w 4078514"/>
              <a:gd name="connsiteY0" fmla="*/ 0 h 2481942"/>
              <a:gd name="connsiteX1" fmla="*/ 4078514 w 4078514"/>
              <a:gd name="connsiteY1" fmla="*/ 0 h 2481942"/>
              <a:gd name="connsiteX2" fmla="*/ 4078514 w 4078514"/>
              <a:gd name="connsiteY2" fmla="*/ 2481942 h 2481942"/>
              <a:gd name="connsiteX3" fmla="*/ 0 w 4078514"/>
              <a:gd name="connsiteY3" fmla="*/ 2481942 h 2481942"/>
            </a:gdLst>
            <a:ahLst/>
            <a:cxnLst>
              <a:cxn ang="0">
                <a:pos x="connsiteX0" y="connsiteY0"/>
              </a:cxn>
              <a:cxn ang="0">
                <a:pos x="connsiteX1" y="connsiteY1"/>
              </a:cxn>
              <a:cxn ang="0">
                <a:pos x="connsiteX2" y="connsiteY2"/>
              </a:cxn>
              <a:cxn ang="0">
                <a:pos x="connsiteX3" y="connsiteY3"/>
              </a:cxn>
            </a:cxnLst>
            <a:rect l="l" t="t" r="r" b="b"/>
            <a:pathLst>
              <a:path w="4078514" h="2481942">
                <a:moveTo>
                  <a:pt x="0" y="0"/>
                </a:moveTo>
                <a:lnTo>
                  <a:pt x="4078514" y="0"/>
                </a:lnTo>
                <a:lnTo>
                  <a:pt x="4078514" y="2481942"/>
                </a:lnTo>
                <a:lnTo>
                  <a:pt x="0" y="2481942"/>
                </a:lnTo>
                <a:close/>
              </a:path>
            </a:pathLst>
          </a:custGeom>
        </p:spPr>
        <p:txBody>
          <a:bodyPr wrap="square">
            <a:noAutofit/>
          </a:bodyPr>
          <a:lstStyle>
            <a:lvl1pPr>
              <a:defRPr>
                <a:latin typeface="Arial" panose="020B0604020202020204"/>
              </a:defRPr>
            </a:lvl1pPr>
          </a:lstStyle>
          <a:p>
            <a:endParaRPr lang="id-ID"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1" y="365129"/>
            <a:ext cx="10515600" cy="1325563"/>
          </a:xfrm>
          <a:prstGeom prst="rect">
            <a:avLst/>
          </a:prstGeom>
        </p:spPr>
        <p:txBody>
          <a:bodyPr/>
          <a:lstStyle/>
          <a:p>
            <a:r>
              <a:rPr lang="zh-CN" altLang="en-US"/>
              <a:t>单击此处编辑母版标题样式</a:t>
            </a:r>
          </a:p>
        </p:txBody>
      </p:sp>
      <p:sp>
        <p:nvSpPr>
          <p:cNvPr id="3" name="内容占位符 2"/>
          <p:cNvSpPr>
            <a:spLocks noGrp="1"/>
          </p:cNvSpPr>
          <p:nvPr>
            <p:ph idx="1" hasCustomPrompt="1"/>
          </p:nvPr>
        </p:nvSpPr>
        <p:spPr>
          <a:xfrm>
            <a:off x="838201" y="1825625"/>
            <a:ext cx="10515600" cy="4351338"/>
          </a:xfrm>
          <a:prstGeom prst="rect">
            <a:avLst/>
          </a:prstGeo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202" y="6356353"/>
            <a:ext cx="2743200" cy="365125"/>
          </a:xfrm>
          <a:prstGeom prst="rect">
            <a:avLst/>
          </a:prstGeom>
        </p:spPr>
        <p:txBody>
          <a:bodyPr/>
          <a:lstStyle/>
          <a:p>
            <a:fld id="{FAD86C3E-8D65-4D9D-A1C7-D2E100528256}" type="datetimeFigureOut">
              <a:rPr lang="zh-CN" altLang="en-US" smtClean="0"/>
              <a:t>2022/4/26</a:t>
            </a:fld>
            <a:endParaRPr lang="zh-CN" altLang="en-US"/>
          </a:p>
        </p:txBody>
      </p:sp>
      <p:sp>
        <p:nvSpPr>
          <p:cNvPr id="5" name="页脚占位符 4"/>
          <p:cNvSpPr>
            <a:spLocks noGrp="1"/>
          </p:cNvSpPr>
          <p:nvPr>
            <p:ph type="ftr" sz="quarter" idx="11"/>
          </p:nvPr>
        </p:nvSpPr>
        <p:spPr>
          <a:xfrm>
            <a:off x="4038601" y="6356353"/>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3" y="6356353"/>
            <a:ext cx="2743200" cy="365125"/>
          </a:xfrm>
          <a:prstGeom prst="rect">
            <a:avLst/>
          </a:prstGeom>
        </p:spPr>
        <p:txBody>
          <a:bodyPr/>
          <a:lstStyle/>
          <a:p>
            <a:fld id="{A5A1EB79-54E6-4B00-855E-245F40EEE6E1}" type="slidenum">
              <a:rPr lang="zh-CN" altLang="en-US" smtClean="0"/>
              <a:t>‹#›</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a:defRPr/>
            </a:lvl1pPr>
          </a:lstStyle>
          <a:p>
            <a:pPr>
              <a:defRPr/>
            </a:pPr>
            <a:fld id="{407590A0-97A2-4517-BFC1-DA1C46303EEB}" type="datetimeFigureOut">
              <a:rPr lang="zh-CN" altLang="en-US"/>
              <a:t>2022/4/26</a:t>
            </a:fld>
            <a:endParaRPr lang="zh-CN" altLang="en-US" dirty="0"/>
          </a:p>
        </p:txBody>
      </p:sp>
      <p:sp>
        <p:nvSpPr>
          <p:cNvPr id="3" name="页脚占位符 4"/>
          <p:cNvSpPr>
            <a:spLocks noGrp="1"/>
          </p:cNvSpPr>
          <p:nvPr>
            <p:ph type="ftr" sz="quarter" idx="11"/>
          </p:nvPr>
        </p:nvSpPr>
        <p:spPr/>
        <p:txBody>
          <a:bodyPr/>
          <a:lstStyle>
            <a:lvl1pPr>
              <a:defRPr/>
            </a:lvl1pPr>
          </a:lstStyle>
          <a:p>
            <a:pPr>
              <a:defRPr/>
            </a:pPr>
            <a:endParaRPr lang="zh-CN" altLang="en-US"/>
          </a:p>
        </p:txBody>
      </p:sp>
      <p:sp>
        <p:nvSpPr>
          <p:cNvPr id="4" name="灯片编号占位符 5"/>
          <p:cNvSpPr>
            <a:spLocks noGrp="1"/>
          </p:cNvSpPr>
          <p:nvPr>
            <p:ph type="sldNum" sz="quarter" idx="12"/>
          </p:nvPr>
        </p:nvSpPr>
        <p:spPr/>
        <p:txBody>
          <a:bodyPr/>
          <a:lstStyle>
            <a:lvl1pPr>
              <a:defRPr/>
            </a:lvl1pPr>
          </a:lstStyle>
          <a:p>
            <a:fld id="{51FA8FF1-C04D-4AC7-9F88-BD619313F620}" type="slidenum">
              <a:rPr lang="zh-CN" altLang="en-US"/>
              <a:t>‹#›</a:t>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p>
        </p:txBody>
      </p:sp>
      <p:sp>
        <p:nvSpPr>
          <p:cNvPr id="3" name="日期占位符 3"/>
          <p:cNvSpPr>
            <a:spLocks noGrp="1"/>
          </p:cNvSpPr>
          <p:nvPr>
            <p:ph type="dt" sz="half" idx="10"/>
          </p:nvPr>
        </p:nvSpPr>
        <p:spPr/>
        <p:txBody>
          <a:bodyPr/>
          <a:lstStyle>
            <a:lvl1pPr>
              <a:defRPr/>
            </a:lvl1pPr>
          </a:lstStyle>
          <a:p>
            <a:pPr>
              <a:defRPr/>
            </a:pPr>
            <a:fld id="{88003C18-B6E7-4A91-A84A-48F5712C382B}" type="datetimeFigureOut">
              <a:rPr lang="zh-CN" altLang="en-US"/>
              <a:t>2022/4/26</a:t>
            </a:fld>
            <a:endParaRPr lang="zh-CN" altLang="en-US" dirty="0"/>
          </a:p>
        </p:txBody>
      </p:sp>
      <p:sp>
        <p:nvSpPr>
          <p:cNvPr id="4" name="页脚占位符 4"/>
          <p:cNvSpPr>
            <a:spLocks noGrp="1"/>
          </p:cNvSpPr>
          <p:nvPr>
            <p:ph type="ftr" sz="quarter" idx="11"/>
          </p:nvPr>
        </p:nvSpPr>
        <p:spPr/>
        <p:txBody>
          <a:bodyPr/>
          <a:lstStyle>
            <a:lvl1pPr>
              <a:defRPr/>
            </a:lvl1pPr>
          </a:lstStyle>
          <a:p>
            <a:pPr>
              <a:defRPr/>
            </a:pPr>
            <a:endParaRPr lang="zh-CN" altLang="en-US"/>
          </a:p>
        </p:txBody>
      </p:sp>
      <p:sp>
        <p:nvSpPr>
          <p:cNvPr id="5" name="灯片编号占位符 5"/>
          <p:cNvSpPr>
            <a:spLocks noGrp="1"/>
          </p:cNvSpPr>
          <p:nvPr>
            <p:ph type="sldNum" sz="quarter" idx="12"/>
          </p:nvPr>
        </p:nvSpPr>
        <p:spPr/>
        <p:txBody>
          <a:bodyPr/>
          <a:lstStyle>
            <a:lvl1pPr>
              <a:defRPr/>
            </a:lvl1pPr>
          </a:lstStyle>
          <a:p>
            <a:fld id="{441E8104-E6D2-495D-AD35-62DB55AF6DD4}" type="slidenum">
              <a:rPr lang="zh-CN" altLang="en-US"/>
              <a:t>‹#›</a:t>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1_空白">
    <p:spTree>
      <p:nvGrpSpPr>
        <p:cNvPr id="1" name=""/>
        <p:cNvGrpSpPr/>
        <p:nvPr/>
      </p:nvGrpSpPr>
      <p:grpSpPr>
        <a:xfrm>
          <a:off x="0" y="0"/>
          <a:ext cx="0" cy="0"/>
          <a:chOff x="0" y="0"/>
          <a:chExt cx="0" cy="0"/>
        </a:xfrm>
      </p:grpSpPr>
      <p:sp>
        <p:nvSpPr>
          <p:cNvPr id="19" name="幻灯片编号"/>
          <p:cNvSpPr txBox="1">
            <a:spLocks noGrp="1"/>
          </p:cNvSpPr>
          <p:nvPr>
            <p:ph type="sldNum" sz="quarter" idx="2"/>
          </p:nvPr>
        </p:nvSpPr>
        <p:spPr>
          <a:xfrm>
            <a:off x="8610600" y="6356350"/>
            <a:ext cx="2743200" cy="365125"/>
          </a:xfrm>
          <a:prstGeom prst="rect">
            <a:avLst/>
          </a:prstGeom>
        </p:spPr>
        <p:txBody>
          <a:bodyPr/>
          <a:lstStyle/>
          <a:p>
            <a:fld id="{86CB4B4D-7CA3-9044-876B-883B54F8677D}" type="slidenum">
              <a:rPr/>
              <a:t>‹#›</a:t>
            </a:fld>
            <a:endParaRPr/>
          </a:p>
        </p:txBody>
      </p:sp>
    </p:spTree>
  </p:cSld>
  <p:clrMapOvr>
    <a:masterClrMapping/>
  </p:clrMapOvr>
  <mc:AlternateContent xmlns:mc="http://schemas.openxmlformats.org/markup-compatibility/2006" xmlns:p14="http://schemas.microsoft.com/office/powerpoint/2010/main">
    <mc:Choice Requires="p14">
      <p:transition p14:dur="10">
        <p14:vortex dir="r"/>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a:xfrm>
            <a:off x="838200" y="6356350"/>
            <a:ext cx="2743200" cy="365125"/>
          </a:xfrm>
        </p:spPr>
        <p:txBody>
          <a:bodyPr/>
          <a:lstStyle/>
          <a:p>
            <a:fld id="{851456EF-EDA7-466D-90A9-97D47B7037CB}" type="datetimeFigureOut">
              <a:rPr lang="zh-CN" altLang="en-US" smtClean="0"/>
              <a:t>2022/4/26</a:t>
            </a:fld>
            <a:endParaRPr lang="zh-CN" altLang="en-US"/>
          </a:p>
        </p:txBody>
      </p:sp>
      <p:sp>
        <p:nvSpPr>
          <p:cNvPr id="5" name="页脚占位符 4"/>
          <p:cNvSpPr>
            <a:spLocks noGrp="1"/>
          </p:cNvSpPr>
          <p:nvPr>
            <p:ph type="ftr" sz="quarter" idx="11"/>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p:spPr>
        <p:txBody>
          <a:bodyPr/>
          <a:lstStyle/>
          <a:p>
            <a:fld id="{1A7D73ED-7EBB-4E11-B60B-79773C5177D3}" type="slidenum">
              <a:rPr lang="zh-CN" altLang="en-US" smtClean="0"/>
              <a:t>‹#›</a:t>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400" advTm="0">
        <p:blinds/>
      </p:transition>
    </mc:Choice>
    <mc:Fallback xmlns="">
      <p:transition spd="slow" advTm="0">
        <p:blind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9" name="矩形 8"/>
          <p:cNvSpPr/>
          <p:nvPr userDrawn="1"/>
        </p:nvSpPr>
        <p:spPr>
          <a:xfrm>
            <a:off x="0" y="0"/>
            <a:ext cx="12192000" cy="68580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500" advTm="2000">
        <p:random/>
      </p:transition>
    </mc:Choice>
    <mc:Fallback xmlns="">
      <p:transition spd="slow" advTm="2000">
        <p:random/>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rner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12" name="think-cell Slide" r:id="rId4" imgW="12700" imgH="12700" progId="TCLayout.ActiveDocument.1">
                  <p:embed/>
                </p:oleObj>
              </mc:Choice>
              <mc:Fallback>
                <p:oleObj name="think-cell Slide" r:id="rId4" imgW="12700" imgH="12700" progId="TCLayout.ActiveDocument.1">
                  <p:embed/>
                  <p:pic>
                    <p:nvPicPr>
                      <p:cNvPr id="0" name="图片 10700"/>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Picture Placeholder 13"/>
          <p:cNvSpPr>
            <a:spLocks noGrp="1"/>
          </p:cNvSpPr>
          <p:nvPr>
            <p:ph type="pic" sz="quarter" idx="10"/>
          </p:nvPr>
        </p:nvSpPr>
        <p:spPr>
          <a:xfrm>
            <a:off x="5477906" y="0"/>
            <a:ext cx="6714093" cy="44704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latin typeface="Arial" panose="020B0604020202020204"/>
              </a:defRPr>
            </a:lvl1pPr>
          </a:lstStyle>
          <a:p>
            <a:r>
              <a:rPr lang="en-US" dirty="0"/>
              <a:t>Click icon to add picture</a:t>
            </a:r>
          </a:p>
          <a:p>
            <a:endParaRPr lang="en-US" dirty="0"/>
          </a:p>
        </p:txBody>
      </p:sp>
      <p:sp>
        <p:nvSpPr>
          <p:cNvPr id="22"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latin typeface="Arial" panose="020B0604020202020204"/>
              </a:defRPr>
            </a:lvl1pPr>
          </a:lstStyle>
          <a:p>
            <a:fld id="{9EE92F51-9D7A-4895-B642-F19EBC2F5403}" type="slidenum">
              <a:rPr lang="en-US" smtClean="0"/>
              <a:t>‹#›</a:t>
            </a:fld>
            <a:endParaRPr lang="en-US" dirty="0"/>
          </a:p>
        </p:txBody>
      </p:sp>
      <p:sp>
        <p:nvSpPr>
          <p:cNvPr id="23" name="Rectangle 22"/>
          <p:cNvSpPr/>
          <p:nvPr userDrawn="1"/>
        </p:nvSpPr>
        <p:spPr>
          <a:xfrm>
            <a:off x="300038" y="6382206"/>
            <a:ext cx="628465"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latin typeface="Arial" panose="020B0604020202020204"/>
              </a:rPr>
              <a:t>SLIDE </a:t>
            </a:r>
            <a:r>
              <a:rPr lang="en-US" sz="1400" b="1" dirty="0">
                <a:solidFill>
                  <a:schemeClr val="accent1"/>
                </a:solidFill>
                <a:latin typeface="Arial" panose="020B0604020202020204"/>
              </a:rPr>
              <a:t>/</a:t>
            </a:r>
          </a:p>
        </p:txBody>
      </p:sp>
      <p:sp>
        <p:nvSpPr>
          <p:cNvPr id="25" name="Content Placeholder 15"/>
          <p:cNvSpPr>
            <a:spLocks noGrp="1"/>
          </p:cNvSpPr>
          <p:nvPr>
            <p:ph sz="quarter" idx="14" hasCustomPrompt="1"/>
          </p:nvPr>
        </p:nvSpPr>
        <p:spPr>
          <a:xfrm>
            <a:off x="5330807" y="4722585"/>
            <a:ext cx="6561156" cy="923330"/>
          </a:xfrm>
          <a:prstGeom prst="rect">
            <a:avLst/>
          </a:prstGeom>
        </p:spPr>
        <p:txBody>
          <a:bodyPr wrap="square" lIns="0" tIns="0" rIns="0" bIns="0">
            <a:spAutoFit/>
          </a:bodyPr>
          <a:lstStyle>
            <a:lvl1pPr marL="0" indent="0" algn="l" defTabSz="848995" rtl="0" eaLnBrk="1" latinLnBrk="0" hangingPunct="1">
              <a:lnSpc>
                <a:spcPct val="100000"/>
              </a:lnSpc>
              <a:spcBef>
                <a:spcPct val="0"/>
              </a:spcBef>
              <a:buNone/>
              <a:defRPr lang="pl-PL" sz="6000" b="1" i="0" kern="1200" cap="all" spc="-30" baseline="0" dirty="0" smtClean="0">
                <a:solidFill>
                  <a:schemeClr val="tx1"/>
                </a:solidFill>
                <a:uFillTx/>
                <a:latin typeface="Arial" panose="020B0604020202020204"/>
                <a:ea typeface="+mj-ea"/>
                <a:cs typeface="+mj-cs"/>
              </a:defRPr>
            </a:lvl1pPr>
          </a:lstStyle>
          <a:p>
            <a:pPr marL="0" lvl="0" indent="0" algn="l" defTabSz="848995" rtl="0" eaLnBrk="1" latinLnBrk="0" hangingPunct="1">
              <a:lnSpc>
                <a:spcPct val="100000"/>
              </a:lnSpc>
              <a:spcBef>
                <a:spcPct val="0"/>
              </a:spcBef>
              <a:buFont typeface="Arial" panose="020B0604020202020204" pitchFamily="34" charset="0"/>
              <a:buNone/>
            </a:pPr>
            <a:r>
              <a:rPr lang="en-US" dirty="0"/>
              <a:t>Text</a:t>
            </a:r>
          </a:p>
        </p:txBody>
      </p:sp>
      <p:sp>
        <p:nvSpPr>
          <p:cNvPr id="26" name="Content Placeholder 15"/>
          <p:cNvSpPr>
            <a:spLocks noGrp="1"/>
          </p:cNvSpPr>
          <p:nvPr>
            <p:ph sz="quarter" idx="12" hasCustomPrompt="1"/>
          </p:nvPr>
        </p:nvSpPr>
        <p:spPr>
          <a:xfrm>
            <a:off x="5330807" y="5752957"/>
            <a:ext cx="6561784" cy="430887"/>
          </a:xfrm>
          <a:prstGeom prst="rect">
            <a:avLst/>
          </a:prstGeom>
        </p:spPr>
        <p:txBody>
          <a:bodyPr wrap="square" lIns="0" tIns="0" rIns="0" bIns="0">
            <a:spAutoFit/>
          </a:bodyPr>
          <a:lstStyle>
            <a:lvl1pPr marL="0" indent="0" algn="l" defTabSz="848995" rtl="0" eaLnBrk="1" latinLnBrk="0" hangingPunct="1">
              <a:lnSpc>
                <a:spcPct val="100000"/>
              </a:lnSpc>
              <a:spcBef>
                <a:spcPct val="0"/>
              </a:spcBef>
              <a:buNone/>
              <a:defRPr lang="pl-PL" sz="2800" b="0" i="0" kern="1200" spc="-30" baseline="0" dirty="0" smtClean="0">
                <a:solidFill>
                  <a:schemeClr val="tx1"/>
                </a:solidFill>
                <a:uFillTx/>
                <a:latin typeface="Source Sans Pro Light" panose="020B0403030403020204" pitchFamily="34" charset="-18"/>
                <a:ea typeface="+mj-ea"/>
                <a:cs typeface="+mj-cs"/>
              </a:defRPr>
            </a:lvl1pPr>
          </a:lstStyle>
          <a:p>
            <a:pPr lvl="0"/>
            <a:r>
              <a:rPr lang="en-US" dirty="0"/>
              <a:t>Your text </a:t>
            </a:r>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rner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72" name="think-cell Slide" r:id="rId4" imgW="12700" imgH="12700" progId="TCLayout.ActiveDocument.1">
                  <p:embed/>
                </p:oleObj>
              </mc:Choice>
              <mc:Fallback>
                <p:oleObj name="think-cell Slide" r:id="rId4" imgW="12700" imgH="12700" progId="TCLayout.ActiveDocument.1">
                  <p:embed/>
                  <p:pic>
                    <p:nvPicPr>
                      <p:cNvPr id="0" name="图片 17860"/>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191912" y="0"/>
            <a:ext cx="3589866"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a:endParaRPr>
          </a:p>
        </p:txBody>
      </p:sp>
      <p:sp>
        <p:nvSpPr>
          <p:cNvPr id="11" name="Rectangle 10"/>
          <p:cNvSpPr/>
          <p:nvPr userDrawn="1"/>
        </p:nvSpPr>
        <p:spPr>
          <a:xfrm>
            <a:off x="3781778" y="0"/>
            <a:ext cx="84102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a:endParaRPr>
          </a:p>
        </p:txBody>
      </p:sp>
      <p:sp>
        <p:nvSpPr>
          <p:cNvPr id="7"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latin typeface="Arial" panose="020B0604020202020204"/>
              </a:defRPr>
            </a:lvl1pPr>
          </a:lstStyle>
          <a:p>
            <a:fld id="{9EE92F51-9D7A-4895-B642-F19EBC2F5403}" type="slidenum">
              <a:rPr lang="en-US" smtClean="0"/>
              <a:t>‹#›</a:t>
            </a:fld>
            <a:endParaRPr lang="en-US" dirty="0"/>
          </a:p>
        </p:txBody>
      </p:sp>
      <p:sp>
        <p:nvSpPr>
          <p:cNvPr id="8" name="Rectangle 7"/>
          <p:cNvSpPr/>
          <p:nvPr userDrawn="1"/>
        </p:nvSpPr>
        <p:spPr>
          <a:xfrm>
            <a:off x="300038" y="6382206"/>
            <a:ext cx="628465"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latin typeface="Arial" panose="020B0604020202020204"/>
              </a:rPr>
              <a:t>SLIDE </a:t>
            </a:r>
            <a:r>
              <a:rPr lang="en-US" sz="1400" b="1" dirty="0">
                <a:solidFill>
                  <a:schemeClr val="accent1"/>
                </a:solidFill>
                <a:latin typeface="Arial" panose="020B0604020202020204"/>
              </a:rPr>
              <a:t>/</a:t>
            </a: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orner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614" name="think-cell Slide" r:id="rId4" imgW="12700" imgH="12700" progId="TCLayout.ActiveDocument.1">
                  <p:embed/>
                </p:oleObj>
              </mc:Choice>
              <mc:Fallback>
                <p:oleObj name="think-cell Slide" r:id="rId4" imgW="12700" imgH="12700" progId="TCLayout.ActiveDocument.1">
                  <p:embed/>
                  <p:pic>
                    <p:nvPicPr>
                      <p:cNvPr id="0" name="图片 50602"/>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flipH="1">
            <a:off x="8410222" y="0"/>
            <a:ext cx="3589866"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a:endParaRPr>
          </a:p>
        </p:txBody>
      </p:sp>
      <p:sp>
        <p:nvSpPr>
          <p:cNvPr id="11" name="Rectangle 10"/>
          <p:cNvSpPr/>
          <p:nvPr userDrawn="1"/>
        </p:nvSpPr>
        <p:spPr>
          <a:xfrm>
            <a:off x="0" y="0"/>
            <a:ext cx="84102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a:endParaRPr>
          </a:p>
        </p:txBody>
      </p:sp>
      <p:sp>
        <p:nvSpPr>
          <p:cNvPr id="7" name="Slide Number Placeholder 5"/>
          <p:cNvSpPr>
            <a:spLocks noGrp="1"/>
          </p:cNvSpPr>
          <p:nvPr>
            <p:ph type="sldNum" sz="quarter" idx="4"/>
          </p:nvPr>
        </p:nvSpPr>
        <p:spPr>
          <a:xfrm flipH="1">
            <a:off x="11521834" y="6382206"/>
            <a:ext cx="358840" cy="215444"/>
          </a:xfrm>
          <a:prstGeom prst="rect">
            <a:avLst/>
          </a:prstGeom>
        </p:spPr>
        <p:txBody>
          <a:bodyPr vert="horz" lIns="0" tIns="0" rIns="0" bIns="0" rtlCol="0" anchor="ctr">
            <a:spAutoFit/>
          </a:bodyPr>
          <a:lstStyle>
            <a:lvl1pPr algn="l">
              <a:defRPr sz="1400" b="1">
                <a:solidFill>
                  <a:schemeClr val="accent1"/>
                </a:solidFill>
                <a:latin typeface="Arial" panose="020B0604020202020204"/>
              </a:defRPr>
            </a:lvl1pPr>
          </a:lstStyle>
          <a:p>
            <a:fld id="{9EE92F51-9D7A-4895-B642-F19EBC2F5403}" type="slidenum">
              <a:rPr lang="en-US" smtClean="0"/>
              <a:t>‹#›</a:t>
            </a:fld>
            <a:endParaRPr lang="en-US" dirty="0"/>
          </a:p>
        </p:txBody>
      </p:sp>
      <p:sp>
        <p:nvSpPr>
          <p:cNvPr id="8" name="Rectangle 7"/>
          <p:cNvSpPr/>
          <p:nvPr userDrawn="1"/>
        </p:nvSpPr>
        <p:spPr>
          <a:xfrm flipH="1">
            <a:off x="10935095" y="6382206"/>
            <a:ext cx="628465"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latin typeface="Arial" panose="020B0604020202020204"/>
              </a:rPr>
              <a:t>SLIDE </a:t>
            </a:r>
            <a:r>
              <a:rPr lang="en-US" sz="1400" b="1" dirty="0">
                <a:solidFill>
                  <a:schemeClr val="accent1"/>
                </a:solidFill>
                <a:latin typeface="Arial" panose="020B0604020202020204"/>
              </a:rPr>
              <a:t>/</a:t>
            </a:r>
          </a:p>
        </p:txBody>
      </p:sp>
    </p:spTree>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57" name="think-cell Slide" r:id="rId4" imgW="12700" imgH="12700" progId="TCLayout.ActiveDocument.1">
                  <p:embed/>
                </p:oleObj>
              </mc:Choice>
              <mc:Fallback>
                <p:oleObj name="think-cell Slide" r:id="rId4" imgW="12700" imgH="12700" progId="TCLayout.ActiveDocument.1">
                  <p:embed/>
                  <p:pic>
                    <p:nvPicPr>
                      <p:cNvPr id="0" name="图片 12745"/>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latin typeface="Arial" panose="020B0604020202020204"/>
              </a:defRPr>
            </a:lvl1pPr>
          </a:lstStyle>
          <a:p>
            <a:r>
              <a:rPr lang="en-US" dirty="0"/>
              <a:t>Click icon to add picture</a:t>
            </a:r>
          </a:p>
          <a:p>
            <a:endParaRPr lang="en-US" dirty="0"/>
          </a:p>
        </p:txBody>
      </p:sp>
      <p:sp>
        <p:nvSpPr>
          <p:cNvPr id="8"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latin typeface="Arial" panose="020B0604020202020204"/>
              </a:defRPr>
            </a:lvl1pPr>
          </a:lstStyle>
          <a:p>
            <a:fld id="{9EE92F51-9D7A-4895-B642-F19EBC2F5403}" type="slidenum">
              <a:rPr lang="en-US" smtClean="0"/>
              <a:t>‹#›</a:t>
            </a:fld>
            <a:endParaRPr lang="en-US" dirty="0"/>
          </a:p>
        </p:txBody>
      </p:sp>
      <p:sp>
        <p:nvSpPr>
          <p:cNvPr id="9" name="Rectangle 8"/>
          <p:cNvSpPr/>
          <p:nvPr userDrawn="1"/>
        </p:nvSpPr>
        <p:spPr>
          <a:xfrm>
            <a:off x="300038" y="6382206"/>
            <a:ext cx="628465"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latin typeface="Arial" panose="020B0604020202020204"/>
              </a:rPr>
              <a:t>SLIDE </a:t>
            </a:r>
            <a:r>
              <a:rPr lang="en-US" sz="1400" b="1" dirty="0">
                <a:solidFill>
                  <a:schemeClr val="accent1"/>
                </a:solidFill>
                <a:latin typeface="Arial" panose="020B0604020202020204"/>
              </a:rPr>
              <a:t>/</a:t>
            </a:r>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ffee brea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452" name="think-cell Slide" r:id="rId4" imgW="12700" imgH="12700" progId="TCLayout.ActiveDocument.1">
                  <p:embed/>
                </p:oleObj>
              </mc:Choice>
              <mc:Fallback>
                <p:oleObj name="think-cell Slide" r:id="rId4" imgW="12700" imgH="12700" progId="TCLayout.ActiveDocument.1">
                  <p:embed/>
                  <p:pic>
                    <p:nvPicPr>
                      <p:cNvPr id="0" name="图片 43440"/>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latin typeface="Arial" panose="020B0604020202020204"/>
              </a:defRPr>
            </a:lvl1pPr>
          </a:lstStyle>
          <a:p>
            <a:r>
              <a:rPr lang="en-US" dirty="0"/>
              <a:t>Click icon to add picture</a:t>
            </a:r>
          </a:p>
          <a:p>
            <a:endParaRPr lang="en-US" dirty="0"/>
          </a:p>
        </p:txBody>
      </p:sp>
      <p:sp>
        <p:nvSpPr>
          <p:cNvPr id="8"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latin typeface="Arial" panose="020B0604020202020204"/>
              </a:defRPr>
            </a:lvl1pPr>
          </a:lstStyle>
          <a:p>
            <a:fld id="{9EE92F51-9D7A-4895-B642-F19EBC2F5403}" type="slidenum">
              <a:rPr lang="en-US" smtClean="0"/>
              <a:t>‹#›</a:t>
            </a:fld>
            <a:endParaRPr lang="en-US" dirty="0"/>
          </a:p>
        </p:txBody>
      </p:sp>
      <p:sp>
        <p:nvSpPr>
          <p:cNvPr id="9" name="Rectangle 8"/>
          <p:cNvSpPr/>
          <p:nvPr userDrawn="1"/>
        </p:nvSpPr>
        <p:spPr>
          <a:xfrm>
            <a:off x="300038" y="6382206"/>
            <a:ext cx="628465"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latin typeface="Arial" panose="020B0604020202020204"/>
              </a:rPr>
              <a:t>SLIDE </a:t>
            </a:r>
            <a:r>
              <a:rPr lang="en-US" sz="1400" b="1" dirty="0">
                <a:solidFill>
                  <a:schemeClr val="accent1"/>
                </a:solidFill>
                <a:latin typeface="Arial" panose="020B0604020202020204"/>
              </a:rPr>
              <a:t>/</a:t>
            </a:r>
          </a:p>
        </p:txBody>
      </p:sp>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82" name="think-cell Slide" r:id="rId4" imgW="12700" imgH="12700" progId="TCLayout.ActiveDocument.1">
                  <p:embed/>
                </p:oleObj>
              </mc:Choice>
              <mc:Fallback>
                <p:oleObj name="think-cell Slide" r:id="rId4" imgW="12700" imgH="12700" progId="TCLayout.ActiveDocument.1">
                  <p:embed/>
                  <p:pic>
                    <p:nvPicPr>
                      <p:cNvPr id="0" name="图片 13770"/>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Picture Placeholder 13"/>
          <p:cNvSpPr>
            <a:spLocks noGrp="1"/>
          </p:cNvSpPr>
          <p:nvPr>
            <p:ph type="pic" sz="quarter" idx="10"/>
          </p:nvPr>
        </p:nvSpPr>
        <p:spPr>
          <a:xfrm>
            <a:off x="7344229" y="0"/>
            <a:ext cx="4847770" cy="6858000"/>
          </a:xfrm>
          <a:prstGeom prst="rect">
            <a:avLst/>
          </a:prstGeom>
          <a:pattFill prst="lgCheck">
            <a:fgClr>
              <a:schemeClr val="bg1">
                <a:lumMod val="85000"/>
              </a:schemeClr>
            </a:fgClr>
            <a:bgClr>
              <a:schemeClr val="bg1"/>
            </a:bgClr>
          </a:pattFill>
        </p:spPr>
        <p:txBody>
          <a:bodyPr anchor="ctr"/>
          <a:lstStyle>
            <a:lvl1pPr marL="0" indent="0" algn="ctr">
              <a:buNone/>
              <a:defRPr sz="3200" i="1" baseline="0">
                <a:solidFill>
                  <a:schemeClr val="bg1">
                    <a:lumMod val="65000"/>
                  </a:schemeClr>
                </a:solidFill>
                <a:latin typeface="Arial" panose="020B0604020202020204"/>
              </a:defRPr>
            </a:lvl1pPr>
          </a:lstStyle>
          <a:p>
            <a:r>
              <a:rPr lang="en-US" dirty="0"/>
              <a:t>Click icon to add picture</a:t>
            </a:r>
          </a:p>
          <a:p>
            <a:endParaRPr lang="en-US" dirty="0"/>
          </a:p>
        </p:txBody>
      </p:sp>
      <p:sp>
        <p:nvSpPr>
          <p:cNvPr id="6"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latin typeface="Arial" panose="020B0604020202020204"/>
              </a:defRPr>
            </a:lvl1pPr>
          </a:lstStyle>
          <a:p>
            <a:fld id="{9EE92F51-9D7A-4895-B642-F19EBC2F5403}" type="slidenum">
              <a:rPr lang="en-US" smtClean="0"/>
              <a:t>‹#›</a:t>
            </a:fld>
            <a:endParaRPr lang="en-US" dirty="0"/>
          </a:p>
        </p:txBody>
      </p:sp>
      <p:sp>
        <p:nvSpPr>
          <p:cNvPr id="7" name="Rectangle 6"/>
          <p:cNvSpPr/>
          <p:nvPr userDrawn="1"/>
        </p:nvSpPr>
        <p:spPr>
          <a:xfrm>
            <a:off x="300038" y="6382206"/>
            <a:ext cx="628465"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latin typeface="Arial" panose="020B0604020202020204"/>
              </a:rPr>
              <a:t>SLIDE </a:t>
            </a:r>
            <a:r>
              <a:rPr lang="en-US" sz="1400" b="1" dirty="0">
                <a:solidFill>
                  <a:schemeClr val="accent1"/>
                </a:solidFill>
                <a:latin typeface="Arial" panose="020B0604020202020204"/>
              </a:rPr>
              <a:t>/</a:t>
            </a:r>
          </a:p>
        </p:txBody>
      </p:sp>
    </p:spTree>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latin typeface="Arial" panose="020B0604020202020204"/>
              </a:defRPr>
            </a:lvl1pPr>
          </a:lstStyle>
          <a:p>
            <a:r>
              <a:rPr lang="en-US" dirty="0"/>
              <a:t>Click icon to add picture</a:t>
            </a:r>
          </a:p>
          <a:p>
            <a:endParaRPr lang="en-US" dirty="0"/>
          </a:p>
        </p:txBody>
      </p:sp>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25" name="think-cell Slide" r:id="rId4" imgW="12700" imgH="12700" progId="TCLayout.ActiveDocument.1">
                  <p:embed/>
                </p:oleObj>
              </mc:Choice>
              <mc:Fallback>
                <p:oleObj name="think-cell Slide" r:id="rId4" imgW="12700" imgH="12700" progId="TCLayout.ActiveDocument.1">
                  <p:embed/>
                  <p:pic>
                    <p:nvPicPr>
                      <p:cNvPr id="0" name="图片 15813"/>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latin typeface="Arial" panose="020B0604020202020204"/>
              </a:defRPr>
            </a:lvl1pPr>
          </a:lstStyle>
          <a:p>
            <a:fld id="{9EE92F51-9D7A-4895-B642-F19EBC2F5403}" type="slidenum">
              <a:rPr lang="en-US" smtClean="0"/>
              <a:t>‹#›</a:t>
            </a:fld>
            <a:endParaRPr lang="en-US" dirty="0"/>
          </a:p>
        </p:txBody>
      </p:sp>
      <p:sp>
        <p:nvSpPr>
          <p:cNvPr id="9" name="Rectangle 8"/>
          <p:cNvSpPr/>
          <p:nvPr userDrawn="1"/>
        </p:nvSpPr>
        <p:spPr>
          <a:xfrm>
            <a:off x="300038" y="6382206"/>
            <a:ext cx="628465"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latin typeface="Arial" panose="020B0604020202020204"/>
              </a:rPr>
              <a:t>SLIDE </a:t>
            </a:r>
            <a:r>
              <a:rPr lang="en-US" sz="1400" b="1" dirty="0">
                <a:solidFill>
                  <a:schemeClr val="accent1"/>
                </a:solidFill>
                <a:latin typeface="Arial" panose="020B0604020202020204"/>
              </a:rPr>
              <a:t>/</a:t>
            </a:r>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576943" y="803664"/>
            <a:ext cx="10778412" cy="829193"/>
          </a:xfrm>
          <a:prstGeom prst="rect">
            <a:avLst/>
          </a:prstGeom>
        </p:spPr>
        <p:txBody>
          <a:bodyPr/>
          <a:lstStyle>
            <a:lvl1pPr>
              <a:defRPr sz="5400" b="0">
                <a:solidFill>
                  <a:schemeClr val="bg1">
                    <a:lumMod val="65000"/>
                    <a:lumOff val="35000"/>
                  </a:schemeClr>
                </a:solidFill>
                <a:effectLst/>
                <a:latin typeface="Odessa LET" pitchFamily="2" charset="0"/>
                <a:ea typeface="★日文毛笔" panose="02000609000000000000" pitchFamily="49" charset="-128"/>
              </a:defRPr>
            </a:lvl1pPr>
          </a:lstStyle>
          <a:p>
            <a:r>
              <a:rPr kumimoji="1" lang="en-US" altLang="zh-CN" dirty="0"/>
              <a:t>Historical Inheritance</a:t>
            </a:r>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 name="think-cell Slide" r:id="rId23" imgW="12700" imgH="12700" progId="TCLayout.ActiveDocument.1">
                  <p:embed/>
                </p:oleObj>
              </mc:Choice>
              <mc:Fallback>
                <p:oleObj name="think-cell Slide" r:id="rId23" imgW="12700" imgH="12700" progId="TCLayout.ActiveDocument.1">
                  <p:embed/>
                  <p:pic>
                    <p:nvPicPr>
                      <p:cNvPr id="0" name="图片 1514"/>
                      <p:cNvPicPr/>
                      <p:nvPr/>
                    </p:nvPicPr>
                    <p:blipFill>
                      <a:blip r:embed="rId24"/>
                      <a:stretch>
                        <a:fillRect/>
                      </a:stretch>
                    </p:blipFill>
                    <p:spPr>
                      <a:xfrm>
                        <a:off x="1588" y="1588"/>
                        <a:ext cx="1587" cy="1587"/>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16.xml"/><Relationship Id="rId5" Type="http://schemas.openxmlformats.org/officeDocument/2006/relationships/image" Target="../media/image13.png"/><Relationship Id="rId4" Type="http://schemas.openxmlformats.org/officeDocument/2006/relationships/image" Target="../media/image29.jpeg"/></Relationships>
</file>

<file path=ppt/slides/_rels/slide11.xml.rels><?xml version="1.0" encoding="UTF-8" standalone="yes"?>
<Relationships xmlns="http://schemas.openxmlformats.org/package/2006/relationships"><Relationship Id="rId3" Type="http://schemas.openxmlformats.org/officeDocument/2006/relationships/image" Target="../media/image1.svg"/><Relationship Id="rId2" Type="http://schemas.openxmlformats.org/officeDocument/2006/relationships/image" Target="../media/image30.png"/><Relationship Id="rId1" Type="http://schemas.openxmlformats.org/officeDocument/2006/relationships/slideLayout" Target="../slideLayouts/slideLayout13.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13.png"/><Relationship Id="rId4" Type="http://schemas.openxmlformats.org/officeDocument/2006/relationships/image" Target="../media/image32.jpeg"/></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3.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13.png"/><Relationship Id="rId4" Type="http://schemas.openxmlformats.org/officeDocument/2006/relationships/image" Target="../media/image36.jpeg"/></Relationships>
</file>

<file path=ppt/slides/_rels/slide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9.xml"/><Relationship Id="rId1" Type="http://schemas.openxmlformats.org/officeDocument/2006/relationships/slideLayout" Target="../slideLayouts/slideLayout19.xml"/><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17.xml"/><Relationship Id="rId7" Type="http://schemas.openxmlformats.org/officeDocument/2006/relationships/image" Target="../media/image2.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7.png"/><Relationship Id="rId5" Type="http://schemas.openxmlformats.org/officeDocument/2006/relationships/image" Target="../media/image13.png"/><Relationship Id="rId4"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4.xml"/><Relationship Id="rId1" Type="http://schemas.openxmlformats.org/officeDocument/2006/relationships/tags" Target="../tags/tag18.xml"/><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42.png"/><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13.xml"/><Relationship Id="rId7" Type="http://schemas.openxmlformats.org/officeDocument/2006/relationships/image" Target="../media/image45.png"/><Relationship Id="rId12" Type="http://schemas.openxmlformats.org/officeDocument/2006/relationships/image" Target="../media/image48.emf"/><Relationship Id="rId2" Type="http://schemas.openxmlformats.org/officeDocument/2006/relationships/slideLayout" Target="../slideLayouts/slideLayout14.xml"/><Relationship Id="rId1" Type="http://schemas.openxmlformats.org/officeDocument/2006/relationships/tags" Target="../tags/tag21.xml"/><Relationship Id="rId6" Type="http://schemas.openxmlformats.org/officeDocument/2006/relationships/image" Target="../media/image42.png"/><Relationship Id="rId11" Type="http://schemas.openxmlformats.org/officeDocument/2006/relationships/image" Target="../media/image4.svg"/><Relationship Id="rId5" Type="http://schemas.openxmlformats.org/officeDocument/2006/relationships/image" Target="../media/image44.png"/><Relationship Id="rId10" Type="http://schemas.openxmlformats.org/officeDocument/2006/relationships/image" Target="../media/image47.png"/><Relationship Id="rId4" Type="http://schemas.openxmlformats.org/officeDocument/2006/relationships/image" Target="../media/image43.png"/><Relationship Id="rId9" Type="http://schemas.openxmlformats.org/officeDocument/2006/relationships/image" Target="../media/image3.svg"/></Relationships>
</file>

<file path=ppt/slides/_rels/slide22.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7.svg"/><Relationship Id="rId3" Type="http://schemas.openxmlformats.org/officeDocument/2006/relationships/notesSlide" Target="../notesSlides/notesSlide14.xml"/><Relationship Id="rId7" Type="http://schemas.openxmlformats.org/officeDocument/2006/relationships/image" Target="../media/image48.emf"/><Relationship Id="rId12" Type="http://schemas.openxmlformats.org/officeDocument/2006/relationships/image" Target="../media/image51.png"/><Relationship Id="rId2" Type="http://schemas.openxmlformats.org/officeDocument/2006/relationships/slideLayout" Target="../slideLayouts/slideLayout14.xml"/><Relationship Id="rId1" Type="http://schemas.openxmlformats.org/officeDocument/2006/relationships/tags" Target="../tags/tag22.xml"/><Relationship Id="rId6" Type="http://schemas.openxmlformats.org/officeDocument/2006/relationships/image" Target="../media/image45.png"/><Relationship Id="rId11" Type="http://schemas.openxmlformats.org/officeDocument/2006/relationships/image" Target="../media/image6.svg"/><Relationship Id="rId5" Type="http://schemas.openxmlformats.org/officeDocument/2006/relationships/image" Target="../media/image42.png"/><Relationship Id="rId15" Type="http://schemas.openxmlformats.org/officeDocument/2006/relationships/image" Target="../media/image8.sv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5.svg"/><Relationship Id="rId14" Type="http://schemas.openxmlformats.org/officeDocument/2006/relationships/image" Target="../media/image52.png"/></Relationships>
</file>

<file path=ppt/slides/_rels/slide2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25.xml"/><Relationship Id="rId7" Type="http://schemas.microsoft.com/office/2007/relationships/hdphoto" Target="../media/hdphoto2.wdp"/><Relationship Id="rId12" Type="http://schemas.openxmlformats.org/officeDocument/2006/relationships/image" Target="../media/image55.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53.png"/><Relationship Id="rId11" Type="http://schemas.openxmlformats.org/officeDocument/2006/relationships/image" Target="../media/image48.emf"/><Relationship Id="rId5" Type="http://schemas.openxmlformats.org/officeDocument/2006/relationships/notesSlide" Target="../notesSlides/notesSlide15.xml"/><Relationship Id="rId10" Type="http://schemas.openxmlformats.org/officeDocument/2006/relationships/hyperlink" Target="http://study.edu.sh.gov.cn/" TargetMode="External"/><Relationship Id="rId4" Type="http://schemas.openxmlformats.org/officeDocument/2006/relationships/slideLayout" Target="../slideLayouts/slideLayout14.xml"/><Relationship Id="rId9" Type="http://schemas.openxmlformats.org/officeDocument/2006/relationships/hyperlink" Target="http://www.apply.shu.edu.cn/"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15.xml"/><Relationship Id="rId5" Type="http://schemas.openxmlformats.org/officeDocument/2006/relationships/image" Target="../media/image59.jpeg"/><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7.xml"/><Relationship Id="rId1" Type="http://schemas.openxmlformats.org/officeDocument/2006/relationships/slideLayout" Target="../slideLayouts/slideLayout16.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jpeg"/></Relationships>
</file>

<file path=ppt/slides/_rels/slide27.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16.xml"/><Relationship Id="rId5" Type="http://schemas.openxmlformats.org/officeDocument/2006/relationships/image" Target="../media/image71.jpeg"/><Relationship Id="rId4" Type="http://schemas.openxmlformats.org/officeDocument/2006/relationships/image" Target="../media/image70.jpeg"/></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15.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image" Target="../media/image75.png"/></Relationships>
</file>

<file path=ppt/slides/_rels/slide3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14.xml"/><Relationship Id="rId7" Type="http://schemas.openxmlformats.org/officeDocument/2006/relationships/image" Target="../media/image77.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3.png"/><Relationship Id="rId5" Type="http://schemas.openxmlformats.org/officeDocument/2006/relationships/image" Target="../media/image76.png"/><Relationship Id="rId4" Type="http://schemas.openxmlformats.org/officeDocument/2006/relationships/notesSlide" Target="../notesSlides/notesSlide19.xml"/><Relationship Id="rId9" Type="http://schemas.openxmlformats.org/officeDocument/2006/relationships/image" Target="../media/image78.png"/></Relationships>
</file>

<file path=ppt/slides/_rels/slide33.xml.rels><?xml version="1.0" encoding="UTF-8" standalone="yes"?>
<Relationships xmlns="http://schemas.openxmlformats.org/package/2006/relationships"><Relationship Id="rId13" Type="http://schemas.openxmlformats.org/officeDocument/2006/relationships/image" Target="../media/image90.jpeg"/><Relationship Id="rId18" Type="http://schemas.openxmlformats.org/officeDocument/2006/relationships/image" Target="../media/image95.jpeg"/><Relationship Id="rId26" Type="http://schemas.openxmlformats.org/officeDocument/2006/relationships/image" Target="../media/image103.jpeg"/><Relationship Id="rId21" Type="http://schemas.openxmlformats.org/officeDocument/2006/relationships/image" Target="../media/image98.jpeg"/><Relationship Id="rId34" Type="http://schemas.openxmlformats.org/officeDocument/2006/relationships/image" Target="../media/image111.jpeg"/><Relationship Id="rId7" Type="http://schemas.openxmlformats.org/officeDocument/2006/relationships/image" Target="../media/image84.jpeg"/><Relationship Id="rId12" Type="http://schemas.openxmlformats.org/officeDocument/2006/relationships/image" Target="../media/image89.jpeg"/><Relationship Id="rId17" Type="http://schemas.openxmlformats.org/officeDocument/2006/relationships/image" Target="../media/image94.jpeg"/><Relationship Id="rId25" Type="http://schemas.openxmlformats.org/officeDocument/2006/relationships/image" Target="../media/image102.jpeg"/><Relationship Id="rId33" Type="http://schemas.openxmlformats.org/officeDocument/2006/relationships/image" Target="../media/image110.jpeg"/><Relationship Id="rId38" Type="http://schemas.openxmlformats.org/officeDocument/2006/relationships/image" Target="../media/image115.jpeg"/><Relationship Id="rId2" Type="http://schemas.openxmlformats.org/officeDocument/2006/relationships/image" Target="../media/image79.jpeg"/><Relationship Id="rId16" Type="http://schemas.openxmlformats.org/officeDocument/2006/relationships/image" Target="../media/image93.png"/><Relationship Id="rId20" Type="http://schemas.openxmlformats.org/officeDocument/2006/relationships/image" Target="../media/image97.jpeg"/><Relationship Id="rId29" Type="http://schemas.openxmlformats.org/officeDocument/2006/relationships/image" Target="../media/image106.png"/><Relationship Id="rId1" Type="http://schemas.openxmlformats.org/officeDocument/2006/relationships/slideLayout" Target="../slideLayouts/slideLayout16.xml"/><Relationship Id="rId6" Type="http://schemas.openxmlformats.org/officeDocument/2006/relationships/image" Target="../media/image83.jpeg"/><Relationship Id="rId11" Type="http://schemas.openxmlformats.org/officeDocument/2006/relationships/image" Target="../media/image88.jpeg"/><Relationship Id="rId24" Type="http://schemas.openxmlformats.org/officeDocument/2006/relationships/image" Target="../media/image101.jpeg"/><Relationship Id="rId32" Type="http://schemas.openxmlformats.org/officeDocument/2006/relationships/image" Target="../media/image109.jpeg"/><Relationship Id="rId37" Type="http://schemas.openxmlformats.org/officeDocument/2006/relationships/image" Target="../media/image114.jpeg"/><Relationship Id="rId5" Type="http://schemas.openxmlformats.org/officeDocument/2006/relationships/image" Target="../media/image82.jpeg"/><Relationship Id="rId15" Type="http://schemas.openxmlformats.org/officeDocument/2006/relationships/image" Target="../media/image92.png"/><Relationship Id="rId23" Type="http://schemas.openxmlformats.org/officeDocument/2006/relationships/image" Target="../media/image100.png"/><Relationship Id="rId28" Type="http://schemas.openxmlformats.org/officeDocument/2006/relationships/image" Target="../media/image105.jpeg"/><Relationship Id="rId36" Type="http://schemas.openxmlformats.org/officeDocument/2006/relationships/image" Target="../media/image113.jpeg"/><Relationship Id="rId10" Type="http://schemas.openxmlformats.org/officeDocument/2006/relationships/image" Target="../media/image87.jpeg"/><Relationship Id="rId19" Type="http://schemas.openxmlformats.org/officeDocument/2006/relationships/image" Target="../media/image96.jpeg"/><Relationship Id="rId31" Type="http://schemas.openxmlformats.org/officeDocument/2006/relationships/image" Target="../media/image108.jpeg"/><Relationship Id="rId4" Type="http://schemas.openxmlformats.org/officeDocument/2006/relationships/image" Target="../media/image81.jpeg"/><Relationship Id="rId9" Type="http://schemas.openxmlformats.org/officeDocument/2006/relationships/image" Target="../media/image86.jpeg"/><Relationship Id="rId14" Type="http://schemas.openxmlformats.org/officeDocument/2006/relationships/image" Target="../media/image91.jpeg"/><Relationship Id="rId22" Type="http://schemas.openxmlformats.org/officeDocument/2006/relationships/image" Target="../media/image99.jpeg"/><Relationship Id="rId27" Type="http://schemas.openxmlformats.org/officeDocument/2006/relationships/image" Target="../media/image104.jpeg"/><Relationship Id="rId30" Type="http://schemas.openxmlformats.org/officeDocument/2006/relationships/image" Target="../media/image107.jpeg"/><Relationship Id="rId35" Type="http://schemas.openxmlformats.org/officeDocument/2006/relationships/image" Target="../media/image112.jpeg"/><Relationship Id="rId8" Type="http://schemas.openxmlformats.org/officeDocument/2006/relationships/image" Target="../media/image85.jpeg"/><Relationship Id="rId3" Type="http://schemas.openxmlformats.org/officeDocument/2006/relationships/image" Target="../media/image80.jpeg"/></Relationships>
</file>

<file path=ppt/slides/_rels/slide4.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9.xml"/><Relationship Id="rId6" Type="http://schemas.openxmlformats.org/officeDocument/2006/relationships/image" Target="../media/image18.png"/><Relationship Id="rId11" Type="http://schemas.openxmlformats.org/officeDocument/2006/relationships/image" Target="../media/image13.png"/><Relationship Id="rId5" Type="http://schemas.openxmlformats.org/officeDocument/2006/relationships/image" Target="../media/image17.png"/><Relationship Id="rId10" Type="http://schemas.openxmlformats.org/officeDocument/2006/relationships/image" Target="../media/image22.jpeg"/><Relationship Id="rId4" Type="http://schemas.openxmlformats.org/officeDocument/2006/relationships/image" Target="../media/image16.png"/><Relationship Id="rId9"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3.png"/><Relationship Id="rId5" Type="http://schemas.openxmlformats.org/officeDocument/2006/relationships/image" Target="../media/image23.jpeg"/><Relationship Id="rId4"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14.xml"/><Relationship Id="rId5" Type="http://schemas.openxmlformats.org/officeDocument/2006/relationships/image" Target="../media/image13.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2.xml"/><Relationship Id="rId5" Type="http://schemas.openxmlformats.org/officeDocument/2006/relationships/image" Target="../media/image13.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19.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rotWithShape="1">
          <a:blip r:embed="rId3" cstate="print">
            <a:extLst>
              <a:ext uri="{28A0092B-C50C-407E-A947-70E740481C1C}">
                <a14:useLocalDpi xmlns:a14="http://schemas.microsoft.com/office/drawing/2010/main" val="0"/>
              </a:ext>
            </a:extLst>
          </a:blip>
          <a:srcRect t="8857" r="9860"/>
          <a:stretch>
            <a:fillRect/>
          </a:stretch>
        </p:blipFill>
        <p:spPr>
          <a:xfrm>
            <a:off x="0" y="0"/>
            <a:ext cx="12192000" cy="6858000"/>
          </a:xfrm>
          <a:prstGeom prst="rect">
            <a:avLst/>
          </a:prstGeom>
        </p:spPr>
      </p:pic>
      <p:sp>
        <p:nvSpPr>
          <p:cNvPr id="13" name="矩形 12"/>
          <p:cNvSpPr/>
          <p:nvPr/>
        </p:nvSpPr>
        <p:spPr>
          <a:xfrm>
            <a:off x="0" y="0"/>
            <a:ext cx="12192000" cy="6858000"/>
          </a:xfrm>
          <a:prstGeom prst="rect">
            <a:avLst/>
          </a:prstGeom>
          <a:gradFill>
            <a:gsLst>
              <a:gs pos="0">
                <a:srgbClr val="FF8D00">
                  <a:alpha val="58000"/>
                </a:srgbClr>
              </a:gs>
              <a:gs pos="38000">
                <a:srgbClr val="6C3255">
                  <a:alpha val="70000"/>
                </a:srgbClr>
              </a:gs>
              <a:gs pos="79000">
                <a:srgbClr val="002060">
                  <a:alpha val="87000"/>
                </a:srgb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dist"/>
            <a:endParaRPr lang="zh-CN" altLang="en-US"/>
          </a:p>
        </p:txBody>
      </p:sp>
      <p:pic>
        <p:nvPicPr>
          <p:cNvPr id="2" name="图片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32365" y="240665"/>
            <a:ext cx="1955800" cy="537845"/>
          </a:xfrm>
          <a:prstGeom prst="rect">
            <a:avLst/>
          </a:prstGeom>
        </p:spPr>
      </p:pic>
      <p:grpSp>
        <p:nvGrpSpPr>
          <p:cNvPr id="10" name="组合 9"/>
          <p:cNvGrpSpPr/>
          <p:nvPr/>
        </p:nvGrpSpPr>
        <p:grpSpPr>
          <a:xfrm>
            <a:off x="4055799" y="1239195"/>
            <a:ext cx="4161456" cy="1239455"/>
            <a:chOff x="4130040" y="1439550"/>
            <a:chExt cx="3601849" cy="1072782"/>
          </a:xfrm>
        </p:grpSpPr>
        <p:cxnSp>
          <p:nvCxnSpPr>
            <p:cNvPr id="11" name="直接连接符 10"/>
            <p:cNvCxnSpPr/>
            <p:nvPr/>
          </p:nvCxnSpPr>
          <p:spPr>
            <a:xfrm>
              <a:off x="4130040" y="1467766"/>
              <a:ext cx="3601849" cy="0"/>
            </a:xfrm>
            <a:prstGeom prst="line">
              <a:avLst/>
            </a:prstGeom>
            <a:ln w="1016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4137246" y="1439550"/>
              <a:ext cx="0" cy="1072781"/>
            </a:xfrm>
            <a:prstGeom prst="line">
              <a:avLst/>
            </a:prstGeom>
            <a:ln w="1016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7706765" y="1439551"/>
              <a:ext cx="0" cy="1072781"/>
            </a:xfrm>
            <a:prstGeom prst="line">
              <a:avLst/>
            </a:prstGeom>
            <a:ln w="1016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grpSp>
        <p:nvGrpSpPr>
          <p:cNvPr id="16" name="组合 15"/>
          <p:cNvGrpSpPr/>
          <p:nvPr/>
        </p:nvGrpSpPr>
        <p:grpSpPr>
          <a:xfrm>
            <a:off x="4055799" y="4384018"/>
            <a:ext cx="4161456" cy="1239456"/>
            <a:chOff x="4130040" y="4471254"/>
            <a:chExt cx="3601849" cy="1072782"/>
          </a:xfrm>
        </p:grpSpPr>
        <p:cxnSp>
          <p:nvCxnSpPr>
            <p:cNvPr id="17" name="直接连接符 16"/>
            <p:cNvCxnSpPr/>
            <p:nvPr/>
          </p:nvCxnSpPr>
          <p:spPr>
            <a:xfrm>
              <a:off x="4130040" y="5511285"/>
              <a:ext cx="3601849" cy="0"/>
            </a:xfrm>
            <a:prstGeom prst="line">
              <a:avLst/>
            </a:prstGeom>
            <a:ln w="1016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4149809" y="4471255"/>
              <a:ext cx="0" cy="1072781"/>
            </a:xfrm>
            <a:prstGeom prst="line">
              <a:avLst/>
            </a:prstGeom>
            <a:ln w="1016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7694203" y="4471254"/>
              <a:ext cx="0" cy="1072781"/>
            </a:xfrm>
            <a:prstGeom prst="line">
              <a:avLst/>
            </a:prstGeom>
            <a:ln w="1016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sp>
        <p:nvSpPr>
          <p:cNvPr id="3" name="文本框 2"/>
          <p:cNvSpPr txBox="1"/>
          <p:nvPr/>
        </p:nvSpPr>
        <p:spPr>
          <a:xfrm>
            <a:off x="4193262" y="1578861"/>
            <a:ext cx="3939909" cy="922020"/>
          </a:xfrm>
          <a:prstGeom prst="rect">
            <a:avLst/>
          </a:prstGeom>
          <a:noFill/>
        </p:spPr>
        <p:txBody>
          <a:bodyPr wrap="square" rtlCol="0">
            <a:spAutoFit/>
            <a:scene3d>
              <a:camera prst="orthographicFront"/>
              <a:lightRig rig="threePt" dir="t"/>
            </a:scene3d>
            <a:sp3d contourW="12700"/>
          </a:bodyPr>
          <a:lstStyle/>
          <a:p>
            <a:pPr algn="dist"/>
            <a:r>
              <a:rPr lang="en-US" altLang="zh-CN" sz="5400" b="1" dirty="0">
                <a:solidFill>
                  <a:prstClr val="white">
                    <a:lumMod val="95000"/>
                  </a:prstClr>
                </a:solidFill>
                <a:latin typeface="Arial" panose="020B0604020202020204" pitchFamily="34" charset="0"/>
                <a:ea typeface="微软雅黑" panose="020B0503020204020204" pitchFamily="34" charset="-122"/>
                <a:cs typeface="+mn-ea"/>
                <a:sym typeface="Arial" panose="020B0604020202020204" pitchFamily="34" charset="0"/>
              </a:rPr>
              <a:t>Welcome </a:t>
            </a:r>
          </a:p>
        </p:txBody>
      </p:sp>
      <p:sp>
        <p:nvSpPr>
          <p:cNvPr id="4" name="文本框 3"/>
          <p:cNvSpPr txBox="1"/>
          <p:nvPr/>
        </p:nvSpPr>
        <p:spPr>
          <a:xfrm>
            <a:off x="5487035" y="2640965"/>
            <a:ext cx="1033780" cy="922020"/>
          </a:xfrm>
          <a:prstGeom prst="rect">
            <a:avLst/>
          </a:prstGeom>
          <a:noFill/>
        </p:spPr>
        <p:txBody>
          <a:bodyPr wrap="square" rtlCol="0">
            <a:spAutoFit/>
            <a:scene3d>
              <a:camera prst="orthographicFront"/>
              <a:lightRig rig="threePt" dir="t"/>
            </a:scene3d>
            <a:sp3d contourW="12700"/>
          </a:bodyPr>
          <a:lstStyle/>
          <a:p>
            <a:pPr algn="dist"/>
            <a:r>
              <a:rPr lang="en-US" altLang="zh-CN" sz="5400" b="1" dirty="0">
                <a:solidFill>
                  <a:prstClr val="white">
                    <a:lumMod val="95000"/>
                  </a:prstClr>
                </a:solidFill>
                <a:latin typeface="Arial" panose="020B0604020202020204" pitchFamily="34" charset="0"/>
                <a:ea typeface="微软雅黑" panose="020B0503020204020204" pitchFamily="34" charset="-122"/>
                <a:cs typeface="+mn-ea"/>
                <a:sym typeface="Arial" panose="020B0604020202020204" pitchFamily="34" charset="0"/>
              </a:rPr>
              <a:t>to </a:t>
            </a:r>
          </a:p>
        </p:txBody>
      </p:sp>
      <p:sp>
        <p:nvSpPr>
          <p:cNvPr id="5" name="文本框 4"/>
          <p:cNvSpPr txBox="1"/>
          <p:nvPr/>
        </p:nvSpPr>
        <p:spPr>
          <a:xfrm>
            <a:off x="2512060" y="3562985"/>
            <a:ext cx="6655435" cy="922020"/>
          </a:xfrm>
          <a:prstGeom prst="rect">
            <a:avLst/>
          </a:prstGeom>
          <a:noFill/>
        </p:spPr>
        <p:txBody>
          <a:bodyPr wrap="square" rtlCol="0">
            <a:spAutoFit/>
            <a:scene3d>
              <a:camera prst="orthographicFront"/>
              <a:lightRig rig="threePt" dir="t"/>
            </a:scene3d>
            <a:sp3d contourW="12700"/>
          </a:bodyPr>
          <a:lstStyle/>
          <a:p>
            <a:pPr lvl="0" algn="dist"/>
            <a:r>
              <a:rPr lang="en-US" altLang="zh-CN" sz="5400" b="1" kern="0" spc="-100" dirty="0">
                <a:solidFill>
                  <a:prstClr val="white">
                    <a:lumMod val="95000"/>
                  </a:prstClr>
                </a:solidFill>
                <a:uFillTx/>
                <a:latin typeface="Arial" panose="020B0604020202020204" pitchFamily="34" charset="0"/>
                <a:ea typeface="微软雅黑" panose="020B0503020204020204" pitchFamily="34" charset="-122"/>
                <a:cs typeface="+mn-ea"/>
                <a:sym typeface="Arial" panose="020B0604020202020204" pitchFamily="34" charset="0"/>
              </a:rPr>
              <a:t>Shanghai University</a:t>
            </a:r>
          </a:p>
        </p:txBody>
      </p:sp>
    </p:spTree>
  </p:cSld>
  <p:clrMapOvr>
    <a:masterClrMapping/>
  </p:clrMapOvr>
  <mc:AlternateContent xmlns:mc="http://schemas.openxmlformats.org/markup-compatibility/2006" xmlns:p14="http://schemas.microsoft.com/office/powerpoint/2010/main">
    <mc:Choice Requires="p14">
      <p:transition spd="slow" p14:dur="4000">
        <p14:vortex dir="r"/>
      </p:transition>
    </mc:Choice>
    <mc:Fallback xmlns="">
      <p:transition spd="slow">
        <p:fade/>
      </p:transition>
    </mc:Fallback>
  </mc:AlternateContent>
  <p:timing>
    <p:tnLst>
      <p:par>
        <p:cTn id="1" dur="indefinite" restart="never" nodeType="tmRoot"/>
      </p:par>
    </p:tnLst>
    <p:bldLst>
      <p:bldP spid="3" grpId="0"/>
      <p:bldP spid="4" grpId="0"/>
      <p:bldP spid="5"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p:cNvSpPr>
            <a:spLocks noChangeArrowheads="1"/>
          </p:cNvSpPr>
          <p:nvPr/>
        </p:nvSpPr>
        <p:spPr bwMode="auto">
          <a:xfrm>
            <a:off x="1100442" y="2054889"/>
            <a:ext cx="3551767" cy="1536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08" tIns="60953" rIns="121908" bIns="60953" anchor="ctr"/>
          <a:lstStyle/>
          <a:p>
            <a:pPr>
              <a:lnSpc>
                <a:spcPct val="120000"/>
              </a:lnSpc>
            </a:pPr>
            <a:endParaRPr lang="en-US" altLang="zh-CN" sz="16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12" name="Rectangle 13"/>
          <p:cNvSpPr>
            <a:spLocks noChangeArrowheads="1"/>
          </p:cNvSpPr>
          <p:nvPr/>
        </p:nvSpPr>
        <p:spPr bwMode="auto">
          <a:xfrm>
            <a:off x="7503664" y="2054889"/>
            <a:ext cx="3197979" cy="1536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08" tIns="60953" rIns="121908" bIns="60953" anchor="ctr"/>
          <a:lstStyle/>
          <a:p>
            <a:pPr>
              <a:lnSpc>
                <a:spcPct val="120000"/>
              </a:lnSpc>
            </a:pPr>
            <a:endParaRPr lang="en-US" altLang="zh-CN" sz="16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13" name="Rectangle 14"/>
          <p:cNvSpPr>
            <a:spLocks noChangeArrowheads="1"/>
          </p:cNvSpPr>
          <p:nvPr/>
        </p:nvSpPr>
        <p:spPr bwMode="auto">
          <a:xfrm>
            <a:off x="857707" y="4575939"/>
            <a:ext cx="5596171" cy="1536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08" tIns="60953" rIns="121908" bIns="60953" anchor="ctr"/>
          <a:lstStyle/>
          <a:p>
            <a:pPr algn="just"/>
            <a:r>
              <a:rPr lang="en-US" altLang="zh-CN" b="1" dirty="0">
                <a:solidFill>
                  <a:srgbClr val="002060"/>
                </a:solidFill>
                <a:latin typeface="Arial" panose="020B0604020202020204" pitchFamily="34" charset="0"/>
                <a:ea typeface="微软雅黑" panose="020B0503020204020204" pitchFamily="34" charset="-122"/>
                <a:cs typeface="Arial" panose="020B0604020202020204" pitchFamily="34" charset="0"/>
              </a:rPr>
              <a:t>Chinese language  </a:t>
            </a:r>
          </a:p>
          <a:p>
            <a:pPr algn="just"/>
            <a:r>
              <a:rPr lang="en-US" altLang="zh-CN" dirty="0">
                <a:solidFill>
                  <a:srgbClr val="002060"/>
                </a:solidFill>
                <a:latin typeface="Arial" panose="020B0604020202020204" pitchFamily="34" charset="0"/>
                <a:ea typeface="微软雅黑" panose="020B0503020204020204" pitchFamily="34" charset="-122"/>
                <a:cs typeface="Arial" panose="020B0604020202020204" pitchFamily="34" charset="0"/>
              </a:rPr>
              <a:t>The major mainly cultivate versatile and compound talents with international vision and proficiency in Chinese. Through systematic professional learning, students are equipped with solid basic knowledge of Chinese and basic knowledge of Chinese humanistic knowledge, and become talents who are familiar with China's national conditions and cultural background, adapt to the needs of modern international society.</a:t>
            </a:r>
          </a:p>
          <a:p>
            <a:endParaRPr lang="zh-CN" altLang="en-US" sz="1600" dirty="0">
              <a:solidFill>
                <a:schemeClr val="tx1">
                  <a:lumMod val="75000"/>
                  <a:lumOff val="25000"/>
                </a:schemeClr>
              </a:solidFill>
              <a:latin typeface="Arial" panose="020B0604020202020204" pitchFamily="34" charset="0"/>
              <a:ea typeface="微软雅黑" panose="020B0503020204020204" pitchFamily="34" charset="-122"/>
              <a:cs typeface="Arial" panose="020B0604020202020204" pitchFamily="34" charset="0"/>
            </a:endParaRPr>
          </a:p>
          <a:p>
            <a:pPr>
              <a:lnSpc>
                <a:spcPct val="120000"/>
              </a:lnSpc>
            </a:pPr>
            <a:endParaRPr lang="en-US" altLang="zh-CN" sz="1600" dirty="0">
              <a:solidFill>
                <a:schemeClr val="tx1">
                  <a:lumMod val="85000"/>
                  <a:lumOff val="15000"/>
                </a:schemeClr>
              </a:solidFill>
              <a:latin typeface="Arial" panose="020B0604020202020204" pitchFamily="34" charset="0"/>
              <a:ea typeface="微软雅黑" panose="020B0503020204020204" pitchFamily="34" charset="-122"/>
              <a:cs typeface="Arial" panose="020B0604020202020204" pitchFamily="34" charset="0"/>
            </a:endParaRPr>
          </a:p>
        </p:txBody>
      </p:sp>
      <p:pic>
        <p:nvPicPr>
          <p:cNvPr id="17" name="Picture Placeholder 5"/>
          <p:cNvPicPr>
            <a:picLocks noChangeAspect="1"/>
          </p:cNvPicPr>
          <p:nvPr/>
        </p:nvPicPr>
        <p:blipFill>
          <a:blip r:embed="rId3">
            <a:extLst>
              <a:ext uri="{28A0092B-C50C-407E-A947-70E740481C1C}">
                <a14:useLocalDpi xmlns:a14="http://schemas.microsoft.com/office/drawing/2010/main" val="0"/>
              </a:ext>
            </a:extLst>
          </a:blip>
          <a:srcRect t="7757" b="7757"/>
          <a:stretch>
            <a:fillRect/>
          </a:stretch>
        </p:blipFill>
        <p:spPr>
          <a:xfrm>
            <a:off x="1100455" y="1239520"/>
            <a:ext cx="3846830" cy="2303145"/>
          </a:xfrm>
          <a:prstGeom prst="rect">
            <a:avLst/>
          </a:prstGeom>
        </p:spPr>
      </p:pic>
      <p:pic>
        <p:nvPicPr>
          <p:cNvPr id="18" name="图片占位符 4"/>
          <p:cNvPicPr>
            <a:picLocks noChangeAspect="1"/>
          </p:cNvPicPr>
          <p:nvPr/>
        </p:nvPicPr>
        <p:blipFill>
          <a:blip r:embed="rId4"/>
          <a:stretch>
            <a:fillRect/>
          </a:stretch>
        </p:blipFill>
        <p:spPr>
          <a:xfrm>
            <a:off x="7232015" y="1156970"/>
            <a:ext cx="3824605" cy="2376805"/>
          </a:xfrm>
          <a:prstGeom prst="rect">
            <a:avLst/>
          </a:prstGeom>
        </p:spPr>
      </p:pic>
      <p:sp>
        <p:nvSpPr>
          <p:cNvPr id="19" name="Rectangle 89" descr="e7d195523061f1c0205959036996ad55c215b892a7aac5c0B9ADEF7896FB48F2EF97163A2DE1401E1875DEDC438B7864AD24CA23553DBBBD975DAF4CAD4A2592689FFB6CEE59FFA55B2702D0E5EE29CDDE744B5A58D848E290B0F3363EEEFF85AEACDB2C4783B3CFD20D9E72AC2F528B09A88B84C6E73CDEC5D6CB26D43C2398027A14BE9DBFE415"/>
          <p:cNvSpPr/>
          <p:nvPr/>
        </p:nvSpPr>
        <p:spPr>
          <a:xfrm>
            <a:off x="7019925" y="3591560"/>
            <a:ext cx="5011420" cy="3136900"/>
          </a:xfrm>
          <a:prstGeom prst="rect">
            <a:avLst/>
          </a:prstGeom>
        </p:spPr>
        <p:txBody>
          <a:bodyPr wrap="square" lIns="91412" tIns="45706" rIns="91412" bIns="45706">
            <a:spAutoFit/>
          </a:bodyPr>
          <a:lstStyle/>
          <a:p>
            <a:r>
              <a:rPr lang="en-US" altLang="zh-CN" b="1" dirty="0">
                <a:solidFill>
                  <a:srgbClr val="002060"/>
                </a:solidFill>
                <a:latin typeface="Arial" panose="020B0604020202020204" pitchFamily="34" charset="0"/>
                <a:ea typeface="微软雅黑" panose="020B0503020204020204" pitchFamily="34" charset="-122"/>
                <a:cs typeface="Arial" panose="020B0604020202020204" pitchFamily="34" charset="0"/>
              </a:rPr>
              <a:t>Teaching Chinese as a Second Language</a:t>
            </a:r>
          </a:p>
          <a:p>
            <a:pPr algn="just"/>
            <a:r>
              <a:rPr lang="en-US" altLang="zh-CN" dirty="0">
                <a:solidFill>
                  <a:srgbClr val="002060"/>
                </a:solidFill>
                <a:latin typeface="Arial" panose="020B0604020202020204" pitchFamily="34" charset="0"/>
                <a:ea typeface="微软雅黑" panose="020B0503020204020204" pitchFamily="34" charset="-122"/>
                <a:cs typeface="Arial" panose="020B0604020202020204" pitchFamily="34" charset="0"/>
              </a:rPr>
              <a:t>This major aims to cultivate talents who have an international perspective and can teach Chinese and spread Chinese culture at home country. Through systematic professional learning, students are equipped with solid basic knowledge of Chinese and professional education theory, rich knowledge of Chinese humanities, good written and oral Chinese expression skills. Graduates can be competent for Chinese teaching.</a:t>
            </a:r>
          </a:p>
        </p:txBody>
      </p:sp>
      <p:sp>
        <p:nvSpPr>
          <p:cNvPr id="1117" name="等腰三角形 1116"/>
          <p:cNvSpPr/>
          <p:nvPr/>
        </p:nvSpPr>
        <p:spPr>
          <a:xfrm rot="5400000">
            <a:off x="-174172" y="174171"/>
            <a:ext cx="841829" cy="493486"/>
          </a:xfrm>
          <a:prstGeom prst="triangle">
            <a:avLst/>
          </a:prstGeom>
          <a:gradFill>
            <a:gsLst>
              <a:gs pos="0">
                <a:srgbClr val="007BD3"/>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14" name="图片 13" descr="上大logo最新"/>
          <p:cNvPicPr>
            <a:picLocks noChangeAspect="1"/>
          </p:cNvPicPr>
          <p:nvPr/>
        </p:nvPicPr>
        <p:blipFill>
          <a:blip r:embed="rId5">
            <a:clrChange>
              <a:clrFrom>
                <a:srgbClr val="F6F5F6">
                  <a:alpha val="100000"/>
                </a:srgbClr>
              </a:clrFrom>
              <a:clrTo>
                <a:srgbClr val="F6F5F6">
                  <a:alpha val="100000"/>
                  <a:alpha val="0"/>
                </a:srgbClr>
              </a:clrTo>
            </a:clrChange>
          </a:blip>
          <a:stretch>
            <a:fillRect/>
          </a:stretch>
        </p:blipFill>
        <p:spPr>
          <a:xfrm>
            <a:off x="9591675" y="69850"/>
            <a:ext cx="2439670" cy="702310"/>
          </a:xfrm>
          <a:prstGeom prst="rect">
            <a:avLst/>
          </a:prstGeom>
        </p:spPr>
      </p:pic>
      <p:sp>
        <p:nvSpPr>
          <p:cNvPr id="1118" name="矩形 1117"/>
          <p:cNvSpPr/>
          <p:nvPr/>
        </p:nvSpPr>
        <p:spPr>
          <a:xfrm>
            <a:off x="562861" y="159657"/>
            <a:ext cx="3819525" cy="583565"/>
          </a:xfrm>
          <a:prstGeom prst="rect">
            <a:avLst/>
          </a:prstGeom>
        </p:spPr>
        <p:txBody>
          <a:bodyPr wrap="none">
            <a:spAutoFit/>
          </a:bodyPr>
          <a:lstStyle/>
          <a:p>
            <a:pPr algn="l" defTabSz="1218565">
              <a:defRPr/>
            </a:pPr>
            <a:r>
              <a:rPr lang="en-US" altLang="zh-CN" sz="3200" b="1" kern="0" dirty="0">
                <a:solidFill>
                  <a:srgbClr val="376092"/>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Arial" panose="020B0604020202020204" pitchFamily="34" charset="0"/>
              </a:rPr>
              <a:t>Popular Programs</a:t>
            </a:r>
            <a:r>
              <a:rPr lang="en-US" altLang="zh-CN" sz="3200" b="1" i="1" kern="0" dirty="0">
                <a:solidFill>
                  <a:srgbClr val="376092"/>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Arial" panose="020B0604020202020204" pitchFamily="34" charset="0"/>
              </a:rPr>
              <a:t> </a:t>
            </a: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bldLst>
      <p:bldP spid="4" grpId="0" bldLvl="0" animBg="1"/>
      <p:bldP spid="12" grpId="0" bldLvl="0" animBg="1"/>
      <p:bldP spid="13" grpId="0" bldLvl="0" animBg="1"/>
      <p:bldP spid="1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矩形: 对角圆角 18"/>
          <p:cNvSpPr/>
          <p:nvPr/>
        </p:nvSpPr>
        <p:spPr>
          <a:xfrm>
            <a:off x="6685377" y="1364216"/>
            <a:ext cx="4655122" cy="5142608"/>
          </a:xfrm>
          <a:prstGeom prst="round2DiagRect">
            <a:avLst>
              <a:gd name="adj1" fmla="val 7407"/>
              <a:gd name="adj2" fmla="val 0"/>
            </a:avLst>
          </a:prstGeom>
          <a:solidFill>
            <a:schemeClr val="bg1"/>
          </a:solidFill>
          <a:ln>
            <a:noFill/>
          </a:ln>
          <a:effectLst>
            <a:outerShdw blurRad="635000" sx="108000" sy="108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文本框 55"/>
          <p:cNvSpPr txBox="1"/>
          <p:nvPr/>
        </p:nvSpPr>
        <p:spPr>
          <a:xfrm>
            <a:off x="7317105" y="1680845"/>
            <a:ext cx="4120515" cy="398780"/>
          </a:xfrm>
          <a:prstGeom prst="rect">
            <a:avLst/>
          </a:prstGeom>
          <a:noFill/>
        </p:spPr>
        <p:txBody>
          <a:bodyPr wrap="square" rtlCol="0">
            <a:spAutoFit/>
          </a:bodyPr>
          <a:lstStyle/>
          <a:p>
            <a:r>
              <a:rPr lang="en-US" altLang="zh-CN" sz="2000" b="1">
                <a:solidFill>
                  <a:srgbClr val="91A7C1"/>
                </a:solidFill>
                <a:latin typeface="+mn-ea"/>
              </a:rPr>
              <a:t>Journalism and Communication</a:t>
            </a:r>
            <a:endParaRPr lang="zh-CN" altLang="en-US" sz="2000" b="1" dirty="0">
              <a:solidFill>
                <a:srgbClr val="91A7C1"/>
              </a:solidFill>
              <a:latin typeface="+mn-ea"/>
            </a:endParaRPr>
          </a:p>
        </p:txBody>
      </p:sp>
      <p:sp>
        <p:nvSpPr>
          <p:cNvPr id="57" name="文本框 56"/>
          <p:cNvSpPr txBox="1"/>
          <p:nvPr/>
        </p:nvSpPr>
        <p:spPr>
          <a:xfrm>
            <a:off x="6883561" y="2124869"/>
            <a:ext cx="4259634" cy="4572000"/>
          </a:xfrm>
          <a:prstGeom prst="rect">
            <a:avLst/>
          </a:prstGeom>
          <a:noFill/>
        </p:spPr>
        <p:txBody>
          <a:bodyPr wrap="square" rtlCol="0">
            <a:spAutoFit/>
          </a:bodyPr>
          <a:lstStyle/>
          <a:p>
            <a:pPr lvl="0">
              <a:lnSpc>
                <a:spcPct val="150000"/>
              </a:lnSpc>
            </a:pPr>
            <a:r>
              <a:rPr lang="en-US" altLang="zh-CN" sz="1400" b="1" dirty="0">
                <a:solidFill>
                  <a:srgbClr val="E7E6E6">
                    <a:lumMod val="50000"/>
                  </a:srgbClr>
                </a:solidFill>
                <a:latin typeface="Arial" panose="020B0604020202020204" pitchFamily="34" charset="0"/>
                <a:cs typeface="Arial" panose="020B0604020202020204" pitchFamily="34" charset="0"/>
              </a:rPr>
              <a:t>Practice-oriented.</a:t>
            </a:r>
            <a:r>
              <a:rPr lang="zh-CN" altLang="en-US" sz="1400" b="1" dirty="0">
                <a:solidFill>
                  <a:prstClr val="black"/>
                </a:solidFill>
                <a:latin typeface="Arial" panose="020B0604020202020204" pitchFamily="34" charset="0"/>
                <a:cs typeface="Arial" panose="020B0604020202020204" pitchFamily="34" charset="0"/>
              </a:rPr>
              <a:t> </a:t>
            </a:r>
            <a:r>
              <a:rPr lang="en-US" altLang="zh-CN" sz="1400" b="1" dirty="0">
                <a:solidFill>
                  <a:srgbClr val="E7E6E6">
                    <a:lumMod val="50000"/>
                  </a:srgbClr>
                </a:solidFill>
                <a:latin typeface="Arial" panose="020B0604020202020204" pitchFamily="34" charset="0"/>
                <a:cs typeface="Arial" panose="020B0604020202020204" pitchFamily="34" charset="0"/>
              </a:rPr>
              <a:t>Under the background of the continuous deepening of media integration, more emphasis will be placed on theoretical knowledge and practical innovation of omnimedia news communication. </a:t>
            </a:r>
          </a:p>
          <a:p>
            <a:pPr lvl="0">
              <a:lnSpc>
                <a:spcPct val="150000"/>
              </a:lnSpc>
            </a:pPr>
            <a:r>
              <a:rPr lang="en-US" altLang="zh-CN" sz="1400" b="1" dirty="0">
                <a:solidFill>
                  <a:srgbClr val="E7E6E6">
                    <a:lumMod val="50000"/>
                  </a:srgbClr>
                </a:solidFill>
                <a:latin typeface="Arial" panose="020B0604020202020204" pitchFamily="34" charset="0"/>
                <a:cs typeface="Arial" panose="020B0604020202020204" pitchFamily="34" charset="0"/>
              </a:rPr>
              <a:t>Research directions : 1</a:t>
            </a:r>
            <a:r>
              <a:rPr lang="zh-CN" altLang="en-US" sz="1400" b="1" dirty="0">
                <a:solidFill>
                  <a:srgbClr val="E7E6E6">
                    <a:lumMod val="50000"/>
                  </a:srgbClr>
                </a:solidFill>
                <a:latin typeface="Arial" panose="020B0604020202020204" pitchFamily="34" charset="0"/>
                <a:cs typeface="Arial" panose="020B0604020202020204" pitchFamily="34" charset="0"/>
              </a:rPr>
              <a:t>）</a:t>
            </a:r>
            <a:r>
              <a:rPr lang="en-US" altLang="zh-CN" sz="1400" b="1" dirty="0">
                <a:solidFill>
                  <a:srgbClr val="E7E6E6">
                    <a:lumMod val="50000"/>
                  </a:srgbClr>
                </a:solidFill>
                <a:latin typeface="Arial" panose="020B0604020202020204" pitchFamily="34" charset="0"/>
                <a:cs typeface="Arial" panose="020B0604020202020204" pitchFamily="34" charset="0"/>
              </a:rPr>
              <a:t>News and communication;</a:t>
            </a:r>
          </a:p>
          <a:p>
            <a:pPr lvl="0">
              <a:lnSpc>
                <a:spcPct val="150000"/>
              </a:lnSpc>
            </a:pPr>
            <a:r>
              <a:rPr lang="en-US" altLang="zh-CN" sz="1400" b="1" dirty="0">
                <a:solidFill>
                  <a:srgbClr val="E7E6E6">
                    <a:lumMod val="50000"/>
                  </a:srgbClr>
                </a:solidFill>
                <a:latin typeface="Arial" panose="020B0604020202020204" pitchFamily="34" charset="0"/>
                <a:cs typeface="Arial" panose="020B0604020202020204" pitchFamily="34" charset="0"/>
              </a:rPr>
              <a:t>2</a:t>
            </a:r>
            <a:r>
              <a:rPr lang="zh-CN" altLang="en-US" sz="1400" b="1" dirty="0">
                <a:solidFill>
                  <a:srgbClr val="E7E6E6">
                    <a:lumMod val="50000"/>
                  </a:srgbClr>
                </a:solidFill>
                <a:latin typeface="Arial" panose="020B0604020202020204" pitchFamily="34" charset="0"/>
                <a:cs typeface="Arial" panose="020B0604020202020204" pitchFamily="34" charset="0"/>
              </a:rPr>
              <a:t>）</a:t>
            </a:r>
            <a:r>
              <a:rPr lang="en-US" altLang="zh-CN" sz="1400" b="1" dirty="0">
                <a:solidFill>
                  <a:srgbClr val="E7E6E6">
                    <a:lumMod val="50000"/>
                  </a:srgbClr>
                </a:solidFill>
                <a:latin typeface="Arial" panose="020B0604020202020204" pitchFamily="34" charset="0"/>
                <a:cs typeface="Arial" panose="020B0604020202020204" pitchFamily="34" charset="0"/>
              </a:rPr>
              <a:t>Advertising exhibition;</a:t>
            </a:r>
          </a:p>
          <a:p>
            <a:pPr lvl="0">
              <a:lnSpc>
                <a:spcPct val="150000"/>
              </a:lnSpc>
            </a:pPr>
            <a:r>
              <a:rPr lang="en-US" altLang="zh-CN" sz="1400" b="1" dirty="0">
                <a:solidFill>
                  <a:srgbClr val="E7E6E6">
                    <a:lumMod val="50000"/>
                  </a:srgbClr>
                </a:solidFill>
                <a:latin typeface="Arial" panose="020B0604020202020204" pitchFamily="34" charset="0"/>
                <a:cs typeface="Arial" panose="020B0604020202020204" pitchFamily="34" charset="0"/>
              </a:rPr>
              <a:t>3</a:t>
            </a:r>
            <a:r>
              <a:rPr lang="zh-CN" altLang="en-US" sz="1400" b="1" dirty="0">
                <a:solidFill>
                  <a:srgbClr val="E7E6E6">
                    <a:lumMod val="50000"/>
                  </a:srgbClr>
                </a:solidFill>
                <a:latin typeface="Arial" panose="020B0604020202020204" pitchFamily="34" charset="0"/>
                <a:cs typeface="Arial" panose="020B0604020202020204" pitchFamily="34" charset="0"/>
              </a:rPr>
              <a:t>）</a:t>
            </a:r>
            <a:r>
              <a:rPr lang="en-US" altLang="zh-CN" sz="1400" b="1" dirty="0">
                <a:solidFill>
                  <a:srgbClr val="E7E6E6">
                    <a:lumMod val="50000"/>
                  </a:srgbClr>
                </a:solidFill>
                <a:latin typeface="Arial" panose="020B0604020202020204" pitchFamily="34" charset="0"/>
                <a:cs typeface="Arial" panose="020B0604020202020204" pitchFamily="34" charset="0"/>
              </a:rPr>
              <a:t>Research on new media.</a:t>
            </a:r>
          </a:p>
          <a:p>
            <a:pPr lvl="0">
              <a:lnSpc>
                <a:spcPct val="150000"/>
              </a:lnSpc>
            </a:pPr>
            <a:r>
              <a:rPr lang="en-US" altLang="zh-CN" sz="1400" b="1" dirty="0">
                <a:solidFill>
                  <a:srgbClr val="E7E6E6">
                    <a:lumMod val="50000"/>
                  </a:srgbClr>
                </a:solidFill>
                <a:latin typeface="Arial" panose="020B0604020202020204" pitchFamily="34" charset="0"/>
                <a:cs typeface="Arial" panose="020B0604020202020204" pitchFamily="34" charset="0"/>
              </a:rPr>
              <a:t>Language of Instruction</a:t>
            </a:r>
            <a:r>
              <a:rPr lang="zh-CN" altLang="en-US" sz="1400" b="1" dirty="0">
                <a:solidFill>
                  <a:srgbClr val="E7E6E6">
                    <a:lumMod val="50000"/>
                  </a:srgbClr>
                </a:solidFill>
                <a:latin typeface="Arial" panose="020B0604020202020204" pitchFamily="34" charset="0"/>
                <a:cs typeface="Arial" panose="020B0604020202020204" pitchFamily="34" charset="0"/>
              </a:rPr>
              <a:t>：</a:t>
            </a:r>
            <a:r>
              <a:rPr lang="en-US" altLang="zh-CN" sz="1400" b="1" dirty="0">
                <a:solidFill>
                  <a:srgbClr val="E7E6E6">
                    <a:lumMod val="50000"/>
                  </a:srgbClr>
                </a:solidFill>
                <a:latin typeface="Arial" panose="020B0604020202020204" pitchFamily="34" charset="0"/>
                <a:cs typeface="Arial" panose="020B0604020202020204" pitchFamily="34" charset="0"/>
              </a:rPr>
              <a:t>Chinese</a:t>
            </a:r>
          </a:p>
          <a:p>
            <a:pPr lvl="0">
              <a:lnSpc>
                <a:spcPct val="150000"/>
              </a:lnSpc>
            </a:pPr>
            <a:r>
              <a:rPr lang="en-US" altLang="zh-CN" sz="1400" b="1" dirty="0">
                <a:solidFill>
                  <a:srgbClr val="E7E6E6">
                    <a:lumMod val="50000"/>
                  </a:srgbClr>
                </a:solidFill>
                <a:latin typeface="Arial" panose="020B0604020202020204" pitchFamily="34" charset="0"/>
                <a:cs typeface="Arial" panose="020B0604020202020204" pitchFamily="34" charset="0"/>
              </a:rPr>
              <a:t>Duration: 2 years</a:t>
            </a:r>
            <a:r>
              <a:rPr lang="zh-CN" altLang="en-US" sz="1400" b="1" dirty="0">
                <a:solidFill>
                  <a:srgbClr val="E7E6E6">
                    <a:lumMod val="50000"/>
                  </a:srgbClr>
                </a:solidFill>
                <a:latin typeface="Arial" panose="020B0604020202020204" pitchFamily="34" charset="0"/>
                <a:cs typeface="Arial" panose="020B0604020202020204" pitchFamily="34" charset="0"/>
              </a:rPr>
              <a:t> </a:t>
            </a:r>
          </a:p>
          <a:p>
            <a:pPr lvl="0">
              <a:lnSpc>
                <a:spcPct val="150000"/>
              </a:lnSpc>
            </a:pPr>
            <a:r>
              <a:rPr lang="en-US" altLang="zh-CN" sz="1400" b="1" dirty="0">
                <a:solidFill>
                  <a:srgbClr val="FF0000"/>
                </a:solidFill>
                <a:latin typeface="Arial" panose="020B0604020202020204" pitchFamily="34" charset="0"/>
                <a:cs typeface="Arial" panose="020B0604020202020204" pitchFamily="34" charset="0"/>
              </a:rPr>
              <a:t>Scholarship: CSC (one belt one road program)</a:t>
            </a:r>
            <a:endParaRPr lang="zh-CN" altLang="zh-CN" sz="1400" b="1" dirty="0">
              <a:solidFill>
                <a:srgbClr val="FF0000"/>
              </a:solidFill>
              <a:latin typeface="Arial" panose="020B0604020202020204" pitchFamily="34" charset="0"/>
              <a:cs typeface="Arial" panose="020B0604020202020204" pitchFamily="34" charset="0"/>
            </a:endParaRPr>
          </a:p>
          <a:p>
            <a:pPr>
              <a:lnSpc>
                <a:spcPct val="150000"/>
              </a:lnSpc>
            </a:pPr>
            <a:endParaRPr lang="zh-CN" altLang="zh-CN" sz="1400" b="1" dirty="0">
              <a:solidFill>
                <a:schemeClr val="bg2">
                  <a:lumMod val="50000"/>
                </a:schemeClr>
              </a:solidFill>
              <a:latin typeface="Arial" panose="020B0604020202020204" pitchFamily="34" charset="0"/>
              <a:cs typeface="Arial" panose="020B0604020202020204" pitchFamily="34" charset="0"/>
            </a:endParaRPr>
          </a:p>
          <a:p>
            <a:pPr algn="just">
              <a:lnSpc>
                <a:spcPct val="130000"/>
              </a:lnSpc>
            </a:pPr>
            <a:endParaRPr lang="en-US" altLang="zh-CN" sz="1400" b="1" dirty="0">
              <a:solidFill>
                <a:schemeClr val="bg2">
                  <a:lumMod val="50000"/>
                </a:schemeClr>
              </a:solidFill>
              <a:latin typeface="Arial" panose="020B0604020202020204" pitchFamily="34" charset="0"/>
              <a:ea typeface="苹方 常规" panose="020B0300000000000000" pitchFamily="34" charset="-122"/>
              <a:cs typeface="Arial" panose="020B0604020202020204" pitchFamily="34" charset="0"/>
            </a:endParaRPr>
          </a:p>
        </p:txBody>
      </p:sp>
      <p:sp>
        <p:nvSpPr>
          <p:cNvPr id="42" name="矩形: 对角圆角 18"/>
          <p:cNvSpPr/>
          <p:nvPr/>
        </p:nvSpPr>
        <p:spPr>
          <a:xfrm>
            <a:off x="1293838" y="1557451"/>
            <a:ext cx="4207618" cy="4755739"/>
          </a:xfrm>
          <a:prstGeom prst="round2DiagRect">
            <a:avLst>
              <a:gd name="adj1" fmla="val 7407"/>
              <a:gd name="adj2" fmla="val 0"/>
            </a:avLst>
          </a:prstGeom>
          <a:solidFill>
            <a:schemeClr val="bg1"/>
          </a:solidFill>
          <a:ln>
            <a:noFill/>
          </a:ln>
          <a:effectLst>
            <a:outerShdw blurRad="635000" sx="108000" sy="108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文本框 42"/>
          <p:cNvSpPr txBox="1"/>
          <p:nvPr/>
        </p:nvSpPr>
        <p:spPr>
          <a:xfrm>
            <a:off x="1731482" y="1711364"/>
            <a:ext cx="3705730" cy="645160"/>
          </a:xfrm>
          <a:prstGeom prst="rect">
            <a:avLst/>
          </a:prstGeom>
          <a:noFill/>
        </p:spPr>
        <p:txBody>
          <a:bodyPr wrap="square" rtlCol="0">
            <a:spAutoFit/>
          </a:bodyPr>
          <a:lstStyle/>
          <a:p>
            <a:r>
              <a:rPr lang="en-US" altLang="zh-CN" b="1" dirty="0">
                <a:solidFill>
                  <a:srgbClr val="91A7C1"/>
                </a:solidFill>
                <a:latin typeface="Arial" panose="020B0604020202020204" pitchFamily="34" charset="0"/>
                <a:cs typeface="Arial" panose="020B0604020202020204" pitchFamily="34" charset="0"/>
              </a:rPr>
              <a:t>Teaching Chinese to Speakers of Other </a:t>
            </a:r>
            <a:r>
              <a:rPr lang="en-US" altLang="zh-CN" b="1" dirty="0" smtClean="0">
                <a:solidFill>
                  <a:srgbClr val="91A7C1"/>
                </a:solidFill>
                <a:latin typeface="Arial" panose="020B0604020202020204" pitchFamily="34" charset="0"/>
                <a:cs typeface="Arial" panose="020B0604020202020204" pitchFamily="34" charset="0"/>
              </a:rPr>
              <a:t>Languages</a:t>
            </a:r>
            <a:endParaRPr lang="zh-CN" altLang="en-US" b="1" dirty="0">
              <a:solidFill>
                <a:srgbClr val="91A7C1"/>
              </a:solidFill>
              <a:latin typeface="Arial" panose="020B0604020202020204" pitchFamily="34" charset="0"/>
              <a:cs typeface="Arial" panose="020B0604020202020204" pitchFamily="34" charset="0"/>
            </a:endParaRPr>
          </a:p>
        </p:txBody>
      </p:sp>
      <p:sp>
        <p:nvSpPr>
          <p:cNvPr id="44" name="文本框 43"/>
          <p:cNvSpPr txBox="1"/>
          <p:nvPr/>
        </p:nvSpPr>
        <p:spPr>
          <a:xfrm>
            <a:off x="1458595" y="2668905"/>
            <a:ext cx="3978910" cy="3322955"/>
          </a:xfrm>
          <a:prstGeom prst="rect">
            <a:avLst/>
          </a:prstGeom>
          <a:noFill/>
        </p:spPr>
        <p:txBody>
          <a:bodyPr wrap="square" rtlCol="0">
            <a:spAutoFit/>
          </a:bodyPr>
          <a:lstStyle/>
          <a:p>
            <a:pPr algn="just">
              <a:lnSpc>
                <a:spcPct val="150000"/>
              </a:lnSpc>
            </a:pPr>
            <a:r>
              <a:rPr lang="en-US" altLang="zh-CN" sz="1400" b="1" dirty="0">
                <a:solidFill>
                  <a:schemeClr val="bg2">
                    <a:lumMod val="50000"/>
                  </a:schemeClr>
                </a:solidFill>
                <a:latin typeface="Arial" panose="020B0604020202020204" pitchFamily="34" charset="0"/>
                <a:cs typeface="Arial" panose="020B0604020202020204" pitchFamily="34" charset="0"/>
              </a:rPr>
              <a:t>This program aims to cultivate proficient skills of teaching Chinese as a second language, help non-native Chinese students to develop Chinese communication skill, Chinese teaching methods and cultivate the abilities competent to a variety of teaching tasks. </a:t>
            </a:r>
          </a:p>
          <a:p>
            <a:pPr algn="just">
              <a:lnSpc>
                <a:spcPct val="150000"/>
              </a:lnSpc>
            </a:pPr>
            <a:r>
              <a:rPr lang="en-US" altLang="zh-CN" sz="1400" b="1" dirty="0" smtClean="0">
                <a:solidFill>
                  <a:schemeClr val="bg2">
                    <a:lumMod val="50000"/>
                  </a:schemeClr>
                </a:solidFill>
                <a:latin typeface="Arial" panose="020B0604020202020204" pitchFamily="34" charset="0"/>
                <a:cs typeface="Arial" panose="020B0604020202020204" pitchFamily="34" charset="0"/>
              </a:rPr>
              <a:t>Language </a:t>
            </a:r>
            <a:r>
              <a:rPr lang="en-US" altLang="zh-CN" sz="1400" b="1" dirty="0">
                <a:solidFill>
                  <a:schemeClr val="bg2">
                    <a:lumMod val="50000"/>
                  </a:schemeClr>
                </a:solidFill>
                <a:latin typeface="Arial" panose="020B0604020202020204" pitchFamily="34" charset="0"/>
                <a:cs typeface="Arial" panose="020B0604020202020204" pitchFamily="34" charset="0"/>
              </a:rPr>
              <a:t>of </a:t>
            </a:r>
            <a:r>
              <a:rPr lang="en-US" altLang="zh-CN" sz="1400" b="1" dirty="0" smtClean="0">
                <a:solidFill>
                  <a:schemeClr val="bg2">
                    <a:lumMod val="50000"/>
                  </a:schemeClr>
                </a:solidFill>
                <a:latin typeface="Arial" panose="020B0604020202020204" pitchFamily="34" charset="0"/>
                <a:cs typeface="Arial" panose="020B0604020202020204" pitchFamily="34" charset="0"/>
              </a:rPr>
              <a:t>Instruction</a:t>
            </a:r>
            <a:r>
              <a:rPr lang="zh-CN" altLang="en-US" sz="1400" b="1" dirty="0" smtClean="0">
                <a:solidFill>
                  <a:schemeClr val="bg2">
                    <a:lumMod val="50000"/>
                  </a:schemeClr>
                </a:solidFill>
                <a:latin typeface="Arial" panose="020B0604020202020204" pitchFamily="34" charset="0"/>
                <a:cs typeface="Arial" panose="020B0604020202020204" pitchFamily="34" charset="0"/>
              </a:rPr>
              <a:t>：</a:t>
            </a:r>
            <a:r>
              <a:rPr lang="en-US" altLang="zh-CN" sz="1400" b="1" dirty="0" smtClean="0">
                <a:solidFill>
                  <a:schemeClr val="bg2">
                    <a:lumMod val="50000"/>
                  </a:schemeClr>
                </a:solidFill>
                <a:latin typeface="Arial" panose="020B0604020202020204" pitchFamily="34" charset="0"/>
                <a:cs typeface="Arial" panose="020B0604020202020204" pitchFamily="34" charset="0"/>
              </a:rPr>
              <a:t>Chinese</a:t>
            </a:r>
          </a:p>
          <a:p>
            <a:pPr algn="just">
              <a:lnSpc>
                <a:spcPct val="150000"/>
              </a:lnSpc>
            </a:pPr>
            <a:r>
              <a:rPr lang="en-US" altLang="zh-CN" sz="1400" b="1" dirty="0">
                <a:solidFill>
                  <a:schemeClr val="bg2">
                    <a:lumMod val="50000"/>
                  </a:schemeClr>
                </a:solidFill>
                <a:latin typeface="Arial" panose="020B0604020202020204" pitchFamily="34" charset="0"/>
                <a:cs typeface="Arial" panose="020B0604020202020204" pitchFamily="34" charset="0"/>
              </a:rPr>
              <a:t>Duration: </a:t>
            </a:r>
            <a:r>
              <a:rPr lang="en-US" altLang="zh-CN" sz="1400" b="1" dirty="0" smtClean="0">
                <a:solidFill>
                  <a:schemeClr val="bg2">
                    <a:lumMod val="50000"/>
                  </a:schemeClr>
                </a:solidFill>
                <a:latin typeface="Arial" panose="020B0604020202020204" pitchFamily="34" charset="0"/>
                <a:cs typeface="Arial" panose="020B0604020202020204" pitchFamily="34" charset="0"/>
              </a:rPr>
              <a:t>2 </a:t>
            </a:r>
            <a:r>
              <a:rPr lang="en-US" altLang="zh-CN" sz="1400" b="1" dirty="0">
                <a:solidFill>
                  <a:schemeClr val="bg2">
                    <a:lumMod val="50000"/>
                  </a:schemeClr>
                </a:solidFill>
                <a:latin typeface="Arial" panose="020B0604020202020204" pitchFamily="34" charset="0"/>
                <a:cs typeface="Arial" panose="020B0604020202020204" pitchFamily="34" charset="0"/>
              </a:rPr>
              <a:t>years</a:t>
            </a:r>
            <a:endParaRPr lang="zh-CN" altLang="zh-CN" sz="1400" b="1" dirty="0">
              <a:solidFill>
                <a:schemeClr val="bg2">
                  <a:lumMod val="50000"/>
                </a:schemeClr>
              </a:solidFill>
              <a:latin typeface="Arial" panose="020B0604020202020204" pitchFamily="34" charset="0"/>
              <a:cs typeface="Arial" panose="020B0604020202020204" pitchFamily="34" charset="0"/>
            </a:endParaRPr>
          </a:p>
          <a:p>
            <a:pPr algn="just">
              <a:lnSpc>
                <a:spcPct val="150000"/>
              </a:lnSpc>
            </a:pPr>
            <a:r>
              <a:rPr lang="en-US" altLang="zh-CN" sz="1400" b="1" dirty="0">
                <a:solidFill>
                  <a:srgbClr val="FF0000"/>
                </a:solidFill>
                <a:latin typeface="Arial" panose="020B0604020202020204" pitchFamily="34" charset="0"/>
                <a:cs typeface="Arial" panose="020B0604020202020204" pitchFamily="34" charset="0"/>
              </a:rPr>
              <a:t>Scholarship:</a:t>
            </a:r>
            <a:r>
              <a:rPr lang="en-US" altLang="zh-CN" sz="1400" b="1" dirty="0" smtClean="0">
                <a:solidFill>
                  <a:srgbClr val="FF0000"/>
                </a:solidFill>
                <a:latin typeface="Arial" panose="020B0604020202020204" pitchFamily="34" charset="0"/>
                <a:cs typeface="Arial" panose="020B0604020202020204" pitchFamily="34" charset="0"/>
              </a:rPr>
              <a:t> Confucius Scholarship</a:t>
            </a:r>
          </a:p>
        </p:txBody>
      </p:sp>
      <p:grpSp>
        <p:nvGrpSpPr>
          <p:cNvPr id="2" name="组 1"/>
          <p:cNvGrpSpPr/>
          <p:nvPr/>
        </p:nvGrpSpPr>
        <p:grpSpPr>
          <a:xfrm>
            <a:off x="1547690" y="1830563"/>
            <a:ext cx="165471" cy="315522"/>
            <a:chOff x="1878631" y="1739487"/>
            <a:chExt cx="165471" cy="315522"/>
          </a:xfrm>
        </p:grpSpPr>
        <p:sp>
          <p:nvSpPr>
            <p:cNvPr id="45" name="矩形: 圆角 35"/>
            <p:cNvSpPr/>
            <p:nvPr/>
          </p:nvSpPr>
          <p:spPr>
            <a:xfrm>
              <a:off x="1878631" y="1739487"/>
              <a:ext cx="45719" cy="315522"/>
            </a:xfrm>
            <a:prstGeom prst="roundRect">
              <a:avLst>
                <a:gd name="adj" fmla="val 50000"/>
              </a:avLst>
            </a:prstGeom>
            <a:solidFill>
              <a:srgbClr val="1344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6" name="组 45"/>
            <p:cNvGrpSpPr/>
            <p:nvPr/>
          </p:nvGrpSpPr>
          <p:grpSpPr>
            <a:xfrm>
              <a:off x="1938507" y="1739487"/>
              <a:ext cx="105595" cy="229972"/>
              <a:chOff x="1256200" y="2644197"/>
              <a:chExt cx="105595" cy="229972"/>
            </a:xfrm>
          </p:grpSpPr>
          <p:sp>
            <p:nvSpPr>
              <p:cNvPr id="47" name="矩形: 圆角 36"/>
              <p:cNvSpPr/>
              <p:nvPr/>
            </p:nvSpPr>
            <p:spPr>
              <a:xfrm>
                <a:off x="1256200" y="2644197"/>
                <a:ext cx="45719" cy="229972"/>
              </a:xfrm>
              <a:prstGeom prst="roundRect">
                <a:avLst>
                  <a:gd name="adj" fmla="val 50000"/>
                </a:avLst>
              </a:prstGeom>
              <a:solidFill>
                <a:srgbClr val="1344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矩形: 圆角 37"/>
              <p:cNvSpPr/>
              <p:nvPr/>
            </p:nvSpPr>
            <p:spPr>
              <a:xfrm>
                <a:off x="1316076" y="2644197"/>
                <a:ext cx="45719" cy="170441"/>
              </a:xfrm>
              <a:prstGeom prst="roundRect">
                <a:avLst>
                  <a:gd name="adj" fmla="val 50000"/>
                </a:avLst>
              </a:prstGeom>
              <a:solidFill>
                <a:srgbClr val="1344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64" name="组 63"/>
          <p:cNvGrpSpPr/>
          <p:nvPr/>
        </p:nvGrpSpPr>
        <p:grpSpPr>
          <a:xfrm>
            <a:off x="6952254" y="1765419"/>
            <a:ext cx="165471" cy="315522"/>
            <a:chOff x="1878631" y="1739487"/>
            <a:chExt cx="165471" cy="315522"/>
          </a:xfrm>
        </p:grpSpPr>
        <p:sp>
          <p:nvSpPr>
            <p:cNvPr id="65" name="矩形: 圆角 35"/>
            <p:cNvSpPr/>
            <p:nvPr/>
          </p:nvSpPr>
          <p:spPr>
            <a:xfrm>
              <a:off x="1878631" y="1739487"/>
              <a:ext cx="45719" cy="315522"/>
            </a:xfrm>
            <a:prstGeom prst="roundRect">
              <a:avLst>
                <a:gd name="adj" fmla="val 50000"/>
              </a:avLst>
            </a:prstGeom>
            <a:solidFill>
              <a:srgbClr val="1344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6" name="组 65"/>
            <p:cNvGrpSpPr/>
            <p:nvPr/>
          </p:nvGrpSpPr>
          <p:grpSpPr>
            <a:xfrm>
              <a:off x="1938507" y="1739487"/>
              <a:ext cx="105595" cy="229972"/>
              <a:chOff x="1256200" y="2644197"/>
              <a:chExt cx="105595" cy="229972"/>
            </a:xfrm>
          </p:grpSpPr>
          <p:sp>
            <p:nvSpPr>
              <p:cNvPr id="67" name="矩形: 圆角 36"/>
              <p:cNvSpPr/>
              <p:nvPr/>
            </p:nvSpPr>
            <p:spPr>
              <a:xfrm>
                <a:off x="1256200" y="2644197"/>
                <a:ext cx="45719" cy="229972"/>
              </a:xfrm>
              <a:prstGeom prst="roundRect">
                <a:avLst>
                  <a:gd name="adj" fmla="val 50000"/>
                </a:avLst>
              </a:prstGeom>
              <a:solidFill>
                <a:srgbClr val="1344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矩形: 圆角 37"/>
              <p:cNvSpPr/>
              <p:nvPr/>
            </p:nvSpPr>
            <p:spPr>
              <a:xfrm>
                <a:off x="1316076" y="2644197"/>
                <a:ext cx="45719" cy="170441"/>
              </a:xfrm>
              <a:prstGeom prst="roundRect">
                <a:avLst>
                  <a:gd name="adj" fmla="val 50000"/>
                </a:avLst>
              </a:prstGeom>
              <a:solidFill>
                <a:srgbClr val="1344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34" name="文本框 33"/>
          <p:cNvSpPr txBox="1"/>
          <p:nvPr/>
        </p:nvSpPr>
        <p:spPr>
          <a:xfrm>
            <a:off x="-271145" y="86360"/>
            <a:ext cx="2538095" cy="1076325"/>
          </a:xfrm>
          <a:prstGeom prst="rect">
            <a:avLst/>
          </a:prstGeom>
          <a:noFill/>
        </p:spPr>
        <p:txBody>
          <a:bodyPr wrap="square" rtlCol="0">
            <a:spAutoFit/>
          </a:bodyPr>
          <a:lstStyle/>
          <a:p>
            <a:r>
              <a:rPr kumimoji="1" lang="en-US" altLang="zh-CN" sz="3200" b="1" dirty="0" smtClean="0">
                <a:solidFill>
                  <a:schemeClr val="bg1"/>
                </a:solidFill>
                <a:latin typeface="+mn-ea"/>
              </a:rPr>
              <a:t>POPULAR</a:t>
            </a:r>
            <a:r>
              <a:rPr kumimoji="1" lang="zh-CN" altLang="en-US" sz="3200" b="1" dirty="0" smtClean="0">
                <a:solidFill>
                  <a:schemeClr val="bg1"/>
                </a:solidFill>
                <a:latin typeface="+mn-ea"/>
              </a:rPr>
              <a:t> </a:t>
            </a:r>
            <a:r>
              <a:rPr kumimoji="1" lang="en-US" altLang="zh-CN" sz="3200" b="1" dirty="0" smtClean="0">
                <a:solidFill>
                  <a:schemeClr val="bg1"/>
                </a:solidFill>
                <a:latin typeface="+mn-ea"/>
              </a:rPr>
              <a:t>MAJORS</a:t>
            </a:r>
            <a:endParaRPr kumimoji="1" lang="zh-CN" altLang="en-US" sz="3200" b="1" dirty="0">
              <a:solidFill>
                <a:schemeClr val="bg1"/>
              </a:solidFill>
              <a:latin typeface="+mn-ea"/>
            </a:endParaRPr>
          </a:p>
        </p:txBody>
      </p:sp>
      <p:sp>
        <p:nvSpPr>
          <p:cNvPr id="36" name="矩形 35"/>
          <p:cNvSpPr/>
          <p:nvPr/>
        </p:nvSpPr>
        <p:spPr>
          <a:xfrm>
            <a:off x="2774950" y="880110"/>
            <a:ext cx="7988935" cy="460375"/>
          </a:xfrm>
          <a:prstGeom prst="rect">
            <a:avLst/>
          </a:prstGeom>
        </p:spPr>
        <p:txBody>
          <a:bodyPr wrap="square">
            <a:spAutoFit/>
          </a:bodyPr>
          <a:lstStyle/>
          <a:p>
            <a:pPr lvl="0"/>
            <a:r>
              <a:rPr lang="en-US" altLang="zh-CN" sz="2400" b="1" dirty="0" smtClean="0">
                <a:solidFill>
                  <a:schemeClr val="bg2">
                    <a:lumMod val="50000"/>
                  </a:schemeClr>
                </a:solidFill>
                <a:latin typeface="Arial" panose="020B0604020202020204" pitchFamily="34" charset="0"/>
                <a:cs typeface="Arial" panose="020B0604020202020204" pitchFamily="34" charset="0"/>
              </a:rPr>
              <a:t>Chinese Languaage        MASTER</a:t>
            </a:r>
            <a:r>
              <a:rPr lang="zh-CN" altLang="en-US" sz="2400" b="1" dirty="0" smtClean="0">
                <a:solidFill>
                  <a:schemeClr val="bg2">
                    <a:lumMod val="50000"/>
                  </a:schemeClr>
                </a:solidFill>
                <a:latin typeface="Arial" panose="020B0604020202020204" pitchFamily="34" charset="0"/>
                <a:cs typeface="Arial" panose="020B0604020202020204" pitchFamily="34" charset="0"/>
              </a:rPr>
              <a:t> </a:t>
            </a:r>
            <a:r>
              <a:rPr lang="en-US" altLang="zh-CN" sz="2400" b="1" dirty="0" smtClean="0">
                <a:solidFill>
                  <a:schemeClr val="bg2">
                    <a:lumMod val="50000"/>
                  </a:schemeClr>
                </a:solidFill>
                <a:latin typeface="Arial" panose="020B0604020202020204" pitchFamily="34" charset="0"/>
                <a:cs typeface="Arial" panose="020B0604020202020204" pitchFamily="34" charset="0"/>
              </a:rPr>
              <a:t>PROGRAMS</a:t>
            </a:r>
            <a:endParaRPr lang="zh-CN" altLang="en-US" sz="2400" b="1" dirty="0">
              <a:solidFill>
                <a:schemeClr val="bg2">
                  <a:lumMod val="50000"/>
                </a:schemeClr>
              </a:solidFill>
              <a:latin typeface="Arial" panose="020B0604020202020204" pitchFamily="34" charset="0"/>
              <a:cs typeface="Arial" panose="020B0604020202020204" pitchFamily="34" charset="0"/>
            </a:endParaRPr>
          </a:p>
        </p:txBody>
      </p:sp>
      <p:pic>
        <p:nvPicPr>
          <p:cNvPr id="3" name="图片 2" descr="343435383139313b333633363136313bd1e0ceb2d0cebcfdcdb7"/>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5847080" y="934720"/>
            <a:ext cx="498475" cy="351155"/>
          </a:xfrm>
          <a:prstGeom prst="rect">
            <a:avLst/>
          </a:prstGeom>
        </p:spPr>
      </p:pic>
      <p:pic>
        <p:nvPicPr>
          <p:cNvPr id="4" name="图片 3" descr="上大logo最新"/>
          <p:cNvPicPr>
            <a:picLocks noChangeAspect="1"/>
          </p:cNvPicPr>
          <p:nvPr/>
        </p:nvPicPr>
        <p:blipFill>
          <a:blip r:embed="rId4">
            <a:clrChange>
              <a:clrFrom>
                <a:srgbClr val="F6F5F6">
                  <a:alpha val="100000"/>
                </a:srgbClr>
              </a:clrFrom>
              <a:clrTo>
                <a:srgbClr val="F6F5F6">
                  <a:alpha val="100000"/>
                  <a:alpha val="0"/>
                </a:srgbClr>
              </a:clrTo>
            </a:clrChange>
          </a:blip>
          <a:stretch>
            <a:fillRect/>
          </a:stretch>
        </p:blipFill>
        <p:spPr>
          <a:xfrm>
            <a:off x="9591675" y="69850"/>
            <a:ext cx="2439670" cy="702310"/>
          </a:xfrm>
          <a:prstGeom prst="rect">
            <a:avLst/>
          </a:prstGeom>
        </p:spPr>
      </p:pic>
      <p:sp>
        <p:nvSpPr>
          <p:cNvPr id="1117" name="等腰三角形 1116"/>
          <p:cNvSpPr/>
          <p:nvPr/>
        </p:nvSpPr>
        <p:spPr>
          <a:xfrm rot="5400000">
            <a:off x="-174172" y="174171"/>
            <a:ext cx="841829" cy="493486"/>
          </a:xfrm>
          <a:prstGeom prst="triangle">
            <a:avLst/>
          </a:prstGeom>
          <a:gradFill>
            <a:gsLst>
              <a:gs pos="0">
                <a:srgbClr val="007BD3"/>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118" name="矩形 1117"/>
          <p:cNvSpPr/>
          <p:nvPr/>
        </p:nvSpPr>
        <p:spPr>
          <a:xfrm>
            <a:off x="562861" y="159657"/>
            <a:ext cx="3819525" cy="583565"/>
          </a:xfrm>
          <a:prstGeom prst="rect">
            <a:avLst/>
          </a:prstGeom>
        </p:spPr>
        <p:txBody>
          <a:bodyPr wrap="none">
            <a:spAutoFit/>
          </a:bodyPr>
          <a:lstStyle/>
          <a:p>
            <a:pPr algn="l" defTabSz="1218565">
              <a:defRPr/>
            </a:pPr>
            <a:r>
              <a:rPr lang="en-US" altLang="zh-CN" sz="3200" b="1" kern="0" dirty="0">
                <a:solidFill>
                  <a:srgbClr val="376092"/>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Arial" panose="020B0604020202020204" pitchFamily="34" charset="0"/>
              </a:rPr>
              <a:t>Popular Programs </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204470" y="4117975"/>
            <a:ext cx="5600065" cy="2338070"/>
          </a:xfrm>
          <a:prstGeom prst="rect">
            <a:avLst/>
          </a:prstGeom>
          <a:noFill/>
        </p:spPr>
        <p:txBody>
          <a:bodyPr wrap="square">
            <a:spAutoFit/>
          </a:bodyPr>
          <a:lstStyle/>
          <a:p>
            <a:pPr algn="just"/>
            <a:r>
              <a:rPr lang="en-US" altLang="zh-CN" sz="2000" b="1" dirty="0">
                <a:solidFill>
                  <a:srgbClr val="002060"/>
                </a:solidFill>
                <a:latin typeface="Arial" panose="020B0604020202020204" pitchFamily="34" charset="0"/>
                <a:ea typeface="微软雅黑" panose="020B0503020204020204" pitchFamily="34" charset="-122"/>
                <a:cs typeface="Arial" panose="020B0604020202020204" pitchFamily="34" charset="0"/>
              </a:rPr>
              <a:t>Intelligent Manufacturing Engineering</a:t>
            </a:r>
            <a:endParaRPr lang="en-US" altLang="zh-CN" b="1" dirty="0">
              <a:solidFill>
                <a:srgbClr val="002060"/>
              </a:solidFill>
              <a:latin typeface="Arial" panose="020B0604020202020204" pitchFamily="34" charset="0"/>
              <a:ea typeface="微软雅黑" panose="020B0503020204020204" pitchFamily="34" charset="-122"/>
              <a:cs typeface="Arial" panose="020B0604020202020204" pitchFamily="34" charset="0"/>
            </a:endParaRPr>
          </a:p>
          <a:p>
            <a:pPr algn="just"/>
            <a:r>
              <a:rPr lang="en-US" altLang="zh-CN" dirty="0">
                <a:solidFill>
                  <a:srgbClr val="002060"/>
                </a:solidFill>
                <a:latin typeface="Arial" panose="020B0604020202020204" pitchFamily="34" charset="0"/>
                <a:ea typeface="微软雅黑" panose="020B0503020204020204" pitchFamily="34" charset="-122"/>
                <a:cs typeface="Arial" panose="020B0604020202020204" pitchFamily="34" charset="0"/>
              </a:rPr>
              <a:t>Facing the emerging engineering field of intelligent manufacturing, this major takes robots as the carrier and integrating artificial intelligence technology. The curriculum system takes "digitalization" as the core and "intellectualization" as the direction, forming the  learning and research characteristics of  international  talent training"</a:t>
            </a:r>
          </a:p>
        </p:txBody>
      </p:sp>
      <p:sp>
        <p:nvSpPr>
          <p:cNvPr id="16" name="矩形 15"/>
          <p:cNvSpPr/>
          <p:nvPr/>
        </p:nvSpPr>
        <p:spPr>
          <a:xfrm>
            <a:off x="6927215" y="3992880"/>
            <a:ext cx="5264785" cy="2453640"/>
          </a:xfrm>
          <a:prstGeom prst="rect">
            <a:avLst/>
          </a:prstGeom>
          <a:noFill/>
        </p:spPr>
        <p:txBody>
          <a:bodyPr wrap="square">
            <a:spAutoFit/>
          </a:bodyPr>
          <a:lstStyle/>
          <a:p>
            <a:pPr algn="just">
              <a:lnSpc>
                <a:spcPct val="120000"/>
              </a:lnSpc>
            </a:pPr>
            <a:r>
              <a:rPr lang="en-US" altLang="zh-CN" sz="2000" b="1" dirty="0">
                <a:solidFill>
                  <a:srgbClr val="002060"/>
                </a:solidFill>
                <a:latin typeface="Arial" panose="020B0604020202020204" pitchFamily="34" charset="0"/>
                <a:ea typeface="微软雅黑" panose="020B0503020204020204" pitchFamily="34" charset="-122"/>
                <a:cs typeface="Arial" panose="020B0604020202020204" pitchFamily="34" charset="0"/>
              </a:rPr>
              <a:t>Digital Media Art</a:t>
            </a:r>
          </a:p>
          <a:p>
            <a:pPr algn="just">
              <a:lnSpc>
                <a:spcPct val="120000"/>
              </a:lnSpc>
            </a:pPr>
            <a:r>
              <a:rPr lang="en-US" altLang="zh-CN" dirty="0">
                <a:solidFill>
                  <a:srgbClr val="002060"/>
                </a:solidFill>
                <a:latin typeface="Arial" panose="020B0604020202020204" pitchFamily="34" charset="0"/>
                <a:ea typeface="微软雅黑" panose="020B0503020204020204" pitchFamily="34" charset="-122"/>
                <a:cs typeface="Arial" panose="020B0604020202020204" pitchFamily="34" charset="0"/>
              </a:rPr>
              <a:t>Through professional learning and training, students will be able to make innovative designs based on user needs, and have good humanities and social science accomplishment, strong sense of social responsibility, good professional ethics, higher aesthetic ability.</a:t>
            </a:r>
          </a:p>
        </p:txBody>
      </p:sp>
      <p:pic>
        <p:nvPicPr>
          <p:cNvPr id="22" name="图片 21"/>
          <p:cNvPicPr>
            <a:picLocks noChangeAspect="1"/>
          </p:cNvPicPr>
          <p:nvPr/>
        </p:nvPicPr>
        <p:blipFill rotWithShape="1">
          <a:blip r:embed="rId3" cstate="print">
            <a:extLst>
              <a:ext uri="{28A0092B-C50C-407E-A947-70E740481C1C}">
                <a14:useLocalDpi xmlns:a14="http://schemas.microsoft.com/office/drawing/2010/main" val="0"/>
              </a:ext>
            </a:extLst>
          </a:blip>
          <a:srcRect b="13032"/>
          <a:stretch>
            <a:fillRect/>
          </a:stretch>
        </p:blipFill>
        <p:spPr>
          <a:xfrm>
            <a:off x="7242810" y="1271905"/>
            <a:ext cx="4281170" cy="2635885"/>
          </a:xfrm>
          <a:prstGeom prst="rect">
            <a:avLst/>
          </a:prstGeom>
          <a:effectLst>
            <a:outerShdw blurRad="63500" sx="102000" sy="102000" algn="ctr" rotWithShape="0">
              <a:prstClr val="black">
                <a:alpha val="40000"/>
              </a:prstClr>
            </a:outerShdw>
          </a:effectLst>
        </p:spPr>
      </p:pic>
      <p:pic>
        <p:nvPicPr>
          <p:cNvPr id="26" name="图片 25"/>
          <p:cNvPicPr>
            <a:picLocks noChangeAspect="1"/>
          </p:cNvPicPr>
          <p:nvPr/>
        </p:nvPicPr>
        <p:blipFill rotWithShape="1">
          <a:blip r:embed="rId4" cstate="print">
            <a:extLst>
              <a:ext uri="{28A0092B-C50C-407E-A947-70E740481C1C}">
                <a14:useLocalDpi xmlns:a14="http://schemas.microsoft.com/office/drawing/2010/main" val="0"/>
              </a:ext>
            </a:extLst>
          </a:blip>
          <a:srcRect r="2857" b="8863"/>
          <a:stretch>
            <a:fillRect/>
          </a:stretch>
        </p:blipFill>
        <p:spPr>
          <a:xfrm>
            <a:off x="562610" y="1271905"/>
            <a:ext cx="4219575" cy="2665730"/>
          </a:xfrm>
          <a:prstGeom prst="rect">
            <a:avLst/>
          </a:prstGeom>
        </p:spPr>
      </p:pic>
      <p:pic>
        <p:nvPicPr>
          <p:cNvPr id="3" name="图片 2" descr="上大logo最新"/>
          <p:cNvPicPr>
            <a:picLocks noChangeAspect="1"/>
          </p:cNvPicPr>
          <p:nvPr/>
        </p:nvPicPr>
        <p:blipFill>
          <a:blip r:embed="rId5">
            <a:clrChange>
              <a:clrFrom>
                <a:srgbClr val="F6F5F6">
                  <a:alpha val="100000"/>
                </a:srgbClr>
              </a:clrFrom>
              <a:clrTo>
                <a:srgbClr val="F6F5F6">
                  <a:alpha val="100000"/>
                  <a:alpha val="0"/>
                </a:srgbClr>
              </a:clrTo>
            </a:clrChange>
          </a:blip>
          <a:stretch>
            <a:fillRect/>
          </a:stretch>
        </p:blipFill>
        <p:spPr>
          <a:xfrm>
            <a:off x="9613265" y="139065"/>
            <a:ext cx="2439670" cy="702310"/>
          </a:xfrm>
          <a:prstGeom prst="rect">
            <a:avLst/>
          </a:prstGeom>
        </p:spPr>
      </p:pic>
      <p:sp>
        <p:nvSpPr>
          <p:cNvPr id="1118" name="矩形 1117"/>
          <p:cNvSpPr/>
          <p:nvPr/>
        </p:nvSpPr>
        <p:spPr>
          <a:xfrm>
            <a:off x="562861" y="159657"/>
            <a:ext cx="3819525" cy="583565"/>
          </a:xfrm>
          <a:prstGeom prst="rect">
            <a:avLst/>
          </a:prstGeom>
        </p:spPr>
        <p:txBody>
          <a:bodyPr wrap="none">
            <a:spAutoFit/>
          </a:bodyPr>
          <a:lstStyle/>
          <a:p>
            <a:pPr algn="l" defTabSz="1218565">
              <a:defRPr/>
            </a:pPr>
            <a:r>
              <a:rPr lang="en-US" altLang="zh-CN" sz="3200" b="1" kern="0" dirty="0">
                <a:solidFill>
                  <a:srgbClr val="376092"/>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Arial" panose="020B0604020202020204" pitchFamily="34" charset="0"/>
              </a:rPr>
              <a:t>Popular Programs </a:t>
            </a:r>
          </a:p>
        </p:txBody>
      </p:sp>
      <p:sp>
        <p:nvSpPr>
          <p:cNvPr id="1117" name="等腰三角形 1116"/>
          <p:cNvSpPr/>
          <p:nvPr/>
        </p:nvSpPr>
        <p:spPr>
          <a:xfrm rot="5400000">
            <a:off x="-174172" y="174171"/>
            <a:ext cx="841829" cy="493486"/>
          </a:xfrm>
          <a:prstGeom prst="triangle">
            <a:avLst/>
          </a:prstGeom>
          <a:gradFill>
            <a:gsLst>
              <a:gs pos="0">
                <a:srgbClr val="007BD3"/>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bldLst>
      <p:bldP spid="14" grpId="0"/>
      <p:bldP spid="1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p:cNvSpPr/>
          <p:nvPr/>
        </p:nvSpPr>
        <p:spPr>
          <a:xfrm>
            <a:off x="5754024" y="2903540"/>
            <a:ext cx="652173" cy="523064"/>
          </a:xfrm>
          <a:prstGeom prst="rect">
            <a:avLst/>
          </a:prstGeom>
        </p:spPr>
        <p:txBody>
          <a:bodyPr wrap="square" lIns="91412" tIns="45706" rIns="91412" bIns="45706">
            <a:spAutoFit/>
          </a:bodyPr>
          <a:lstStyle/>
          <a:p>
            <a:pPr algn="ctr"/>
            <a:r>
              <a:rPr lang="en-US" altLang="zh-CN"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01</a:t>
            </a:r>
            <a:endParaRPr lang="zh-CN" altLang="en-US" sz="2800" dirty="0">
              <a:solidFill>
                <a:schemeClr val="bg1"/>
              </a:solidFill>
              <a:latin typeface="Open Sans" panose="020B0606030504020204" pitchFamily="34" charset="0"/>
              <a:ea typeface="微软雅黑" panose="020B0503020204020204" pitchFamily="34" charset="-122"/>
              <a:cs typeface="Open Sans" panose="020B0606030504020204" pitchFamily="34" charset="0"/>
            </a:endParaRPr>
          </a:p>
        </p:txBody>
      </p:sp>
      <p:sp>
        <p:nvSpPr>
          <p:cNvPr id="34" name="矩形 33"/>
          <p:cNvSpPr/>
          <p:nvPr/>
        </p:nvSpPr>
        <p:spPr>
          <a:xfrm>
            <a:off x="4839130" y="3820114"/>
            <a:ext cx="652173" cy="523064"/>
          </a:xfrm>
          <a:prstGeom prst="rect">
            <a:avLst/>
          </a:prstGeom>
        </p:spPr>
        <p:txBody>
          <a:bodyPr wrap="square" lIns="91412" tIns="45706" rIns="91412" bIns="45706">
            <a:spAutoFit/>
          </a:bodyPr>
          <a:lstStyle/>
          <a:p>
            <a:pPr algn="ctr"/>
            <a:r>
              <a:rPr lang="en-US" altLang="zh-CN"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04</a:t>
            </a:r>
            <a:endParaRPr lang="zh-CN" altLang="en-US" sz="2800" dirty="0">
              <a:solidFill>
                <a:schemeClr val="bg1"/>
              </a:solidFill>
              <a:latin typeface="Open Sans" panose="020B0606030504020204" pitchFamily="34" charset="0"/>
              <a:ea typeface="微软雅黑" panose="020B0503020204020204" pitchFamily="34" charset="-122"/>
              <a:cs typeface="Open Sans" panose="020B0606030504020204" pitchFamily="34" charset="0"/>
            </a:endParaRPr>
          </a:p>
        </p:txBody>
      </p:sp>
      <p:sp>
        <p:nvSpPr>
          <p:cNvPr id="47" name="Rectangle 89" descr="e7d195523061f1c0205959036996ad55c215b892a7aac5c0B9ADEF7896FB48F2EF97163A2DE1401E1875DEDC438B7864AD24CA23553DBBBD975DAF4CAD4A2592689FFB6CEE59FFA55B2702D0E5EE29CDDE744B5A58D848E290B0F3363EEEFF85AEACDB2C4783B3CFD20D9E72AC2F528B09A88B84C6E73CDEC5D6CB26D43C2398027A14BE9DBFE415"/>
          <p:cNvSpPr/>
          <p:nvPr/>
        </p:nvSpPr>
        <p:spPr>
          <a:xfrm>
            <a:off x="266065" y="3778885"/>
            <a:ext cx="5487670" cy="2747010"/>
          </a:xfrm>
          <a:prstGeom prst="rect">
            <a:avLst/>
          </a:prstGeom>
        </p:spPr>
        <p:txBody>
          <a:bodyPr wrap="square" lIns="91412" tIns="45706" rIns="91412" bIns="45706">
            <a:spAutoFit/>
          </a:bodyPr>
          <a:lstStyle/>
          <a:p>
            <a:pPr>
              <a:lnSpc>
                <a:spcPct val="120000"/>
              </a:lnSpc>
            </a:pPr>
            <a:r>
              <a:rPr lang="en-US" altLang="zh-CN" b="1" dirty="0">
                <a:solidFill>
                  <a:srgbClr val="002060"/>
                </a:solidFill>
                <a:latin typeface="Arial" panose="020B0604020202020204" pitchFamily="34" charset="0"/>
                <a:ea typeface="微软雅黑" panose="020B0503020204020204" pitchFamily="34" charset="-122"/>
                <a:cs typeface="Arial" panose="020B0604020202020204" pitchFamily="34" charset="0"/>
              </a:rPr>
              <a:t>Journalism</a:t>
            </a:r>
          </a:p>
          <a:p>
            <a:pPr algn="just">
              <a:lnSpc>
                <a:spcPct val="120000"/>
              </a:lnSpc>
            </a:pPr>
            <a:r>
              <a:rPr lang="en-US" altLang="zh-CN" dirty="0">
                <a:solidFill>
                  <a:srgbClr val="002060"/>
                </a:solidFill>
                <a:latin typeface="Arial" panose="020B0604020202020204" pitchFamily="34" charset="0"/>
                <a:ea typeface="微软雅黑" panose="020B0503020204020204" pitchFamily="34" charset="-122"/>
                <a:cs typeface="Arial" panose="020B0604020202020204" pitchFamily="34" charset="0"/>
              </a:rPr>
              <a:t>This major aims to train advanced interdisciplinary talents of journalism and communication who meet the needs of the era of intelligent media. It adopts the teaching method of "professional practice + course discussion" to develop the  talent training characteristics of intellectual media direction and practical journalism. </a:t>
            </a:r>
          </a:p>
        </p:txBody>
      </p:sp>
      <p:pic>
        <p:nvPicPr>
          <p:cNvPr id="27" name="图片 26"/>
          <p:cNvPicPr>
            <a:picLocks noChangeAspect="1"/>
          </p:cNvPicPr>
          <p:nvPr/>
        </p:nvPicPr>
        <p:blipFill rotWithShape="1">
          <a:blip r:embed="rId2">
            <a:extLst>
              <a:ext uri="{28A0092B-C50C-407E-A947-70E740481C1C}">
                <a14:useLocalDpi xmlns:a14="http://schemas.microsoft.com/office/drawing/2010/main" val="0"/>
              </a:ext>
            </a:extLst>
          </a:blip>
          <a:srcRect l="5660" t="22416" r="12948" b="8872"/>
          <a:stretch>
            <a:fillRect/>
          </a:stretch>
        </p:blipFill>
        <p:spPr>
          <a:xfrm>
            <a:off x="678815" y="1050925"/>
            <a:ext cx="4269740" cy="2474595"/>
          </a:xfrm>
          <a:custGeom>
            <a:avLst/>
            <a:gdLst>
              <a:gd name="connsiteX0" fmla="*/ 0 w 2435225"/>
              <a:gd name="connsiteY0" fmla="*/ 0 h 1817687"/>
              <a:gd name="connsiteX1" fmla="*/ 2435225 w 2435225"/>
              <a:gd name="connsiteY1" fmla="*/ 0 h 1817687"/>
              <a:gd name="connsiteX2" fmla="*/ 2435225 w 2435225"/>
              <a:gd name="connsiteY2" fmla="*/ 1817687 h 1817687"/>
              <a:gd name="connsiteX3" fmla="*/ 0 w 2435225"/>
              <a:gd name="connsiteY3" fmla="*/ 1817687 h 1817687"/>
            </a:gdLst>
            <a:ahLst/>
            <a:cxnLst>
              <a:cxn ang="0">
                <a:pos x="connsiteX0" y="connsiteY0"/>
              </a:cxn>
              <a:cxn ang="0">
                <a:pos x="connsiteX1" y="connsiteY1"/>
              </a:cxn>
              <a:cxn ang="0">
                <a:pos x="connsiteX2" y="connsiteY2"/>
              </a:cxn>
              <a:cxn ang="0">
                <a:pos x="connsiteX3" y="connsiteY3"/>
              </a:cxn>
            </a:cxnLst>
            <a:rect l="l" t="t" r="r" b="b"/>
            <a:pathLst>
              <a:path w="2435225" h="1817687">
                <a:moveTo>
                  <a:pt x="0" y="0"/>
                </a:moveTo>
                <a:lnTo>
                  <a:pt x="2435225" y="0"/>
                </a:lnTo>
                <a:lnTo>
                  <a:pt x="2435225" y="1817687"/>
                </a:lnTo>
                <a:lnTo>
                  <a:pt x="0" y="1817687"/>
                </a:lnTo>
                <a:close/>
              </a:path>
            </a:pathLst>
          </a:custGeom>
        </p:spPr>
      </p:pic>
      <p:pic>
        <p:nvPicPr>
          <p:cNvPr id="35" name="图片 34"/>
          <p:cNvPicPr>
            <a:picLocks noChangeAspect="1"/>
          </p:cNvPicPr>
          <p:nvPr/>
        </p:nvPicPr>
        <p:blipFill rotWithShape="1">
          <a:blip r:embed="rId3">
            <a:extLst>
              <a:ext uri="{28A0092B-C50C-407E-A947-70E740481C1C}">
                <a14:useLocalDpi xmlns:a14="http://schemas.microsoft.com/office/drawing/2010/main" val="0"/>
              </a:ext>
            </a:extLst>
          </a:blip>
          <a:srcRect l="12471" t="25136" r="4333" b="4286"/>
          <a:stretch>
            <a:fillRect/>
          </a:stretch>
        </p:blipFill>
        <p:spPr>
          <a:xfrm>
            <a:off x="6901815" y="1050925"/>
            <a:ext cx="4520565" cy="2516505"/>
          </a:xfrm>
          <a:custGeom>
            <a:avLst/>
            <a:gdLst>
              <a:gd name="connsiteX0" fmla="*/ 0 w 2435225"/>
              <a:gd name="connsiteY0" fmla="*/ 0 h 1817687"/>
              <a:gd name="connsiteX1" fmla="*/ 2435225 w 2435225"/>
              <a:gd name="connsiteY1" fmla="*/ 0 h 1817687"/>
              <a:gd name="connsiteX2" fmla="*/ 2435225 w 2435225"/>
              <a:gd name="connsiteY2" fmla="*/ 1817687 h 1817687"/>
              <a:gd name="connsiteX3" fmla="*/ 0 w 2435225"/>
              <a:gd name="connsiteY3" fmla="*/ 1817687 h 1817687"/>
            </a:gdLst>
            <a:ahLst/>
            <a:cxnLst>
              <a:cxn ang="0">
                <a:pos x="connsiteX0" y="connsiteY0"/>
              </a:cxn>
              <a:cxn ang="0">
                <a:pos x="connsiteX1" y="connsiteY1"/>
              </a:cxn>
              <a:cxn ang="0">
                <a:pos x="connsiteX2" y="connsiteY2"/>
              </a:cxn>
              <a:cxn ang="0">
                <a:pos x="connsiteX3" y="connsiteY3"/>
              </a:cxn>
            </a:cxnLst>
            <a:rect l="l" t="t" r="r" b="b"/>
            <a:pathLst>
              <a:path w="2435225" h="1817687">
                <a:moveTo>
                  <a:pt x="0" y="0"/>
                </a:moveTo>
                <a:lnTo>
                  <a:pt x="2435225" y="0"/>
                </a:lnTo>
                <a:lnTo>
                  <a:pt x="2435225" y="1817687"/>
                </a:lnTo>
                <a:lnTo>
                  <a:pt x="0" y="1817687"/>
                </a:lnTo>
                <a:close/>
              </a:path>
            </a:pathLst>
          </a:custGeom>
        </p:spPr>
      </p:pic>
      <p:sp>
        <p:nvSpPr>
          <p:cNvPr id="44" name="Rectangle 15"/>
          <p:cNvSpPr>
            <a:spLocks noChangeArrowheads="1"/>
          </p:cNvSpPr>
          <p:nvPr/>
        </p:nvSpPr>
        <p:spPr bwMode="auto">
          <a:xfrm>
            <a:off x="6678295" y="4060190"/>
            <a:ext cx="5513705" cy="1631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1908" tIns="60953" rIns="121908" bIns="60953" anchor="ctr"/>
          <a:lstStyle/>
          <a:p>
            <a:endParaRPr lang="en-US" altLang="zh-CN" sz="1600" b="1" dirty="0"/>
          </a:p>
          <a:p>
            <a:pPr>
              <a:lnSpc>
                <a:spcPct val="120000"/>
              </a:lnSpc>
            </a:pPr>
            <a:endParaRPr lang="en-US" altLang="zh-CN" b="1" dirty="0">
              <a:solidFill>
                <a:schemeClr val="tx1">
                  <a:lumMod val="75000"/>
                  <a:lumOff val="25000"/>
                </a:schemeClr>
              </a:solidFill>
              <a:latin typeface="微软雅黑" panose="020B0503020204020204" pitchFamily="34" charset="-122"/>
              <a:ea typeface="微软雅黑" panose="020B0503020204020204" pitchFamily="34" charset="-122"/>
            </a:endParaRPr>
          </a:p>
          <a:p>
            <a:pPr algn="just">
              <a:lnSpc>
                <a:spcPct val="120000"/>
              </a:lnSpc>
            </a:pPr>
            <a:r>
              <a:rPr lang="en-US" altLang="zh-CN" b="1" dirty="0">
                <a:solidFill>
                  <a:srgbClr val="002060"/>
                </a:solidFill>
                <a:latin typeface="Arial" panose="020B0604020202020204" pitchFamily="34" charset="0"/>
                <a:ea typeface="微软雅黑" panose="020B0503020204020204" pitchFamily="34" charset="-122"/>
                <a:cs typeface="Arial" panose="020B0604020202020204" pitchFamily="34" charset="0"/>
              </a:rPr>
              <a:t>Network and New Media</a:t>
            </a:r>
          </a:p>
          <a:p>
            <a:pPr algn="just">
              <a:lnSpc>
                <a:spcPct val="120000"/>
              </a:lnSpc>
            </a:pPr>
            <a:r>
              <a:rPr lang="en-US" altLang="zh-CN" dirty="0">
                <a:solidFill>
                  <a:srgbClr val="002060"/>
                </a:solidFill>
                <a:latin typeface="Arial" panose="020B0604020202020204" pitchFamily="34" charset="0"/>
                <a:ea typeface="微软雅黑" panose="020B0503020204020204" pitchFamily="34" charset="-122"/>
                <a:cs typeface="Arial" panose="020B0604020202020204" pitchFamily="34" charset="0"/>
              </a:rPr>
              <a:t>This major cultivates interdisciplinary news communication talents who meet the requirements of the era of intelligent media, have the basic network and new media thinking mode, systematically master the theoretical knowledge of network and new media communication, and master the basic network communication technology and application development ability.</a:t>
            </a:r>
          </a:p>
        </p:txBody>
      </p:sp>
      <p:pic>
        <p:nvPicPr>
          <p:cNvPr id="4" name="图片 3" descr="上大logo最新"/>
          <p:cNvPicPr>
            <a:picLocks noChangeAspect="1"/>
          </p:cNvPicPr>
          <p:nvPr/>
        </p:nvPicPr>
        <p:blipFill>
          <a:blip r:embed="rId4">
            <a:clrChange>
              <a:clrFrom>
                <a:srgbClr val="F6F5F6">
                  <a:alpha val="100000"/>
                </a:srgbClr>
              </a:clrFrom>
              <a:clrTo>
                <a:srgbClr val="F6F5F6">
                  <a:alpha val="100000"/>
                  <a:alpha val="0"/>
                </a:srgbClr>
              </a:clrTo>
            </a:clrChange>
          </a:blip>
          <a:stretch>
            <a:fillRect/>
          </a:stretch>
        </p:blipFill>
        <p:spPr>
          <a:xfrm>
            <a:off x="9585960" y="125095"/>
            <a:ext cx="2439670" cy="702310"/>
          </a:xfrm>
          <a:prstGeom prst="rect">
            <a:avLst/>
          </a:prstGeom>
        </p:spPr>
      </p:pic>
      <p:sp>
        <p:nvSpPr>
          <p:cNvPr id="1117" name="等腰三角形 1116"/>
          <p:cNvSpPr/>
          <p:nvPr/>
        </p:nvSpPr>
        <p:spPr>
          <a:xfrm rot="5400000">
            <a:off x="-174172" y="174171"/>
            <a:ext cx="841829" cy="493486"/>
          </a:xfrm>
          <a:prstGeom prst="triangle">
            <a:avLst/>
          </a:prstGeom>
          <a:gradFill>
            <a:gsLst>
              <a:gs pos="0">
                <a:srgbClr val="007BD3"/>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118" name="矩形 1117"/>
          <p:cNvSpPr/>
          <p:nvPr/>
        </p:nvSpPr>
        <p:spPr>
          <a:xfrm>
            <a:off x="562861" y="159657"/>
            <a:ext cx="3819525" cy="583565"/>
          </a:xfrm>
          <a:prstGeom prst="rect">
            <a:avLst/>
          </a:prstGeom>
        </p:spPr>
        <p:txBody>
          <a:bodyPr wrap="none">
            <a:spAutoFit/>
          </a:bodyPr>
          <a:lstStyle/>
          <a:p>
            <a:pPr algn="l" defTabSz="1218565">
              <a:defRPr/>
            </a:pPr>
            <a:r>
              <a:rPr lang="en-US" altLang="zh-CN" sz="3200" b="1" kern="0" dirty="0">
                <a:solidFill>
                  <a:srgbClr val="376092"/>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Arial" panose="020B0604020202020204" pitchFamily="34" charset="0"/>
              </a:rPr>
              <a:t>Popular Programs</a:t>
            </a:r>
            <a:r>
              <a:rPr lang="en-US" altLang="zh-CN" sz="3200" b="1" i="1" kern="0" dirty="0">
                <a:solidFill>
                  <a:srgbClr val="376092"/>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Arial" panose="020B0604020202020204" pitchFamily="34" charset="0"/>
              </a:rPr>
              <a:t> </a:t>
            </a: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bldLst>
      <p:bldP spid="31" grpId="0"/>
      <p:bldP spid="34" grpId="0"/>
      <p:bldP spid="47" grpId="0"/>
      <p:bldP spid="44" grpId="0" bldLvl="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išľíďè"/>
          <p:cNvSpPr/>
          <p:nvPr/>
        </p:nvSpPr>
        <p:spPr bwMode="auto">
          <a:xfrm>
            <a:off x="311150" y="3751580"/>
            <a:ext cx="5296535" cy="610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lvl="0" defTabSz="913765">
              <a:lnSpc>
                <a:spcPct val="120000"/>
              </a:lnSpc>
              <a:spcBef>
                <a:spcPct val="0"/>
              </a:spcBef>
              <a:defRPr/>
            </a:pPr>
            <a:r>
              <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rPr>
              <a:t> </a:t>
            </a:r>
          </a:p>
          <a:p>
            <a:pPr lvl="0" defTabSz="913765">
              <a:lnSpc>
                <a:spcPct val="120000"/>
              </a:lnSpc>
              <a:spcBef>
                <a:spcPct val="0"/>
              </a:spcBef>
              <a:defRPr/>
            </a:pPr>
            <a:r>
              <a:rPr lang="en-US" altLang="zh-CN" sz="1600" dirty="0">
                <a:solidFill>
                  <a:srgbClr val="002060"/>
                </a:solidFill>
                <a:latin typeface="微软雅黑" panose="020B0503020204020204" pitchFamily="34" charset="-122"/>
                <a:ea typeface="微软雅黑" panose="020B0503020204020204" pitchFamily="34" charset="-122"/>
              </a:rPr>
              <a:t> </a:t>
            </a:r>
          </a:p>
          <a:p>
            <a:pPr lvl="0" defTabSz="913765">
              <a:lnSpc>
                <a:spcPct val="120000"/>
              </a:lnSpc>
              <a:spcBef>
                <a:spcPct val="0"/>
              </a:spcBef>
              <a:defRPr/>
            </a:pPr>
            <a:r>
              <a:rPr lang="en-US" altLang="zh-CN" b="1" dirty="0">
                <a:solidFill>
                  <a:srgbClr val="002060"/>
                </a:solidFill>
                <a:latin typeface="Arial" panose="020B0604020202020204" pitchFamily="34" charset="0"/>
                <a:ea typeface="微软雅黑" panose="020B0503020204020204" pitchFamily="34" charset="-122"/>
                <a:cs typeface="Arial" panose="020B0604020202020204" pitchFamily="34" charset="0"/>
              </a:rPr>
              <a:t>Objectives</a:t>
            </a:r>
            <a:endParaRPr lang="en-US" altLang="zh-CN" dirty="0">
              <a:solidFill>
                <a:srgbClr val="002060"/>
              </a:solidFill>
              <a:latin typeface="Arial" panose="020B0604020202020204" pitchFamily="34" charset="0"/>
              <a:ea typeface="微软雅黑" panose="020B0503020204020204" pitchFamily="34" charset="-122"/>
              <a:cs typeface="Arial" panose="020B0604020202020204" pitchFamily="34" charset="0"/>
            </a:endParaRPr>
          </a:p>
          <a:p>
            <a:pPr lvl="0" defTabSz="913765">
              <a:lnSpc>
                <a:spcPct val="120000"/>
              </a:lnSpc>
              <a:spcBef>
                <a:spcPct val="0"/>
              </a:spcBef>
              <a:defRPr/>
            </a:pPr>
            <a:r>
              <a:rPr lang="en-US" altLang="zh-CN" dirty="0">
                <a:solidFill>
                  <a:srgbClr val="002060"/>
                </a:solidFill>
                <a:latin typeface="Arial" panose="020B0604020202020204" pitchFamily="34" charset="0"/>
                <a:ea typeface="微软雅黑" panose="020B0503020204020204" pitchFamily="34" charset="-122"/>
                <a:cs typeface="Arial" panose="020B0604020202020204" pitchFamily="34" charset="0"/>
              </a:rPr>
              <a:t>develop a systematic grasp of the basic principles and methods of economics ,</a:t>
            </a:r>
            <a:endParaRPr lang="en-US" altLang="zh-CN" b="1" dirty="0">
              <a:solidFill>
                <a:srgbClr val="002060"/>
              </a:solidFill>
              <a:latin typeface="Arial" panose="020B0604020202020204" pitchFamily="34" charset="0"/>
              <a:ea typeface="微软雅黑" panose="020B0503020204020204" pitchFamily="34" charset="-122"/>
              <a:cs typeface="Arial" panose="020B0604020202020204" pitchFamily="34" charset="0"/>
            </a:endParaRPr>
          </a:p>
          <a:p>
            <a:pPr lvl="0" defTabSz="913765">
              <a:lnSpc>
                <a:spcPct val="120000"/>
              </a:lnSpc>
              <a:spcBef>
                <a:spcPct val="0"/>
              </a:spcBef>
              <a:defRPr/>
            </a:pPr>
            <a:r>
              <a:rPr lang="en-US" altLang="zh-CN" b="1" dirty="0">
                <a:solidFill>
                  <a:srgbClr val="002060"/>
                </a:solidFill>
                <a:latin typeface="Arial" panose="020B0604020202020204" pitchFamily="34" charset="0"/>
                <a:ea typeface="微软雅黑" panose="020B0503020204020204" pitchFamily="34" charset="-122"/>
                <a:cs typeface="Arial" panose="020B0604020202020204" pitchFamily="34" charset="0"/>
              </a:rPr>
              <a:t> Main coures:</a:t>
            </a:r>
          </a:p>
          <a:p>
            <a:pPr lvl="0" defTabSz="913765">
              <a:lnSpc>
                <a:spcPct val="120000"/>
              </a:lnSpc>
              <a:spcBef>
                <a:spcPct val="0"/>
              </a:spcBef>
              <a:defRPr/>
            </a:pPr>
            <a:r>
              <a:rPr lang="en-US" altLang="zh-CN" dirty="0">
                <a:solidFill>
                  <a:srgbClr val="002060"/>
                </a:solidFill>
                <a:latin typeface="Arial" panose="020B0604020202020204" pitchFamily="34" charset="0"/>
                <a:ea typeface="微软雅黑" panose="020B0503020204020204" pitchFamily="34" charset="-122"/>
                <a:cs typeface="Arial" panose="020B0604020202020204" pitchFamily="34" charset="0"/>
              </a:rPr>
              <a:t>Economics,  Business Statistics, International Trade Theory, etc</a:t>
            </a:r>
          </a:p>
        </p:txBody>
      </p:sp>
      <p:sp>
        <p:nvSpPr>
          <p:cNvPr id="60" name="iSlíďè"/>
          <p:cNvSpPr txBox="1"/>
          <p:nvPr/>
        </p:nvSpPr>
        <p:spPr bwMode="auto">
          <a:xfrm>
            <a:off x="310844" y="3540154"/>
            <a:ext cx="4022324" cy="699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lvl="0">
              <a:lnSpc>
                <a:spcPct val="120000"/>
              </a:lnSpc>
              <a:spcBef>
                <a:spcPct val="0"/>
              </a:spcBef>
              <a:defRPr/>
            </a:pPr>
            <a:r>
              <a:rPr lang="en-US" altLang="zh-CN" sz="2000" b="1" dirty="0">
                <a:solidFill>
                  <a:srgbClr val="002060"/>
                </a:solidFill>
                <a:latin typeface="Arial" panose="020B0604020202020204" pitchFamily="34" charset="0"/>
                <a:ea typeface="微软雅黑" panose="020B0503020204020204" pitchFamily="34" charset="-122"/>
                <a:cs typeface="Arial" panose="020B0604020202020204" pitchFamily="34" charset="0"/>
              </a:rPr>
              <a:t>International Economics &amp; Trade</a:t>
            </a:r>
          </a:p>
          <a:p>
            <a:pPr lvl="0">
              <a:lnSpc>
                <a:spcPct val="120000"/>
              </a:lnSpc>
              <a:spcBef>
                <a:spcPct val="0"/>
              </a:spcBef>
              <a:defRPr/>
            </a:pPr>
            <a:r>
              <a:rPr lang="zh-CN" altLang="en-US" sz="2000" b="1" dirty="0">
                <a:solidFill>
                  <a:srgbClr val="002060"/>
                </a:solidFill>
                <a:latin typeface="Arial" panose="020B0604020202020204" pitchFamily="34" charset="0"/>
                <a:ea typeface="微软雅黑" panose="020B0503020204020204" pitchFamily="34" charset="-122"/>
                <a:cs typeface="Arial" panose="020B0604020202020204" pitchFamily="34" charset="0"/>
              </a:rPr>
              <a:t> </a:t>
            </a:r>
            <a:r>
              <a:rPr lang="en-US" altLang="zh-CN" sz="2000" b="1" dirty="0">
                <a:solidFill>
                  <a:srgbClr val="002060"/>
                </a:solidFill>
                <a:latin typeface="Arial" panose="020B0604020202020204" pitchFamily="34" charset="0"/>
                <a:ea typeface="微软雅黑" panose="020B0503020204020204" pitchFamily="34" charset="-122"/>
                <a:cs typeface="Arial" panose="020B0604020202020204" pitchFamily="34" charset="0"/>
              </a:rPr>
              <a:t>(English Taught)</a:t>
            </a:r>
          </a:p>
          <a:p>
            <a:pPr lvl="0">
              <a:lnSpc>
                <a:spcPct val="120000"/>
              </a:lnSpc>
              <a:spcBef>
                <a:spcPct val="0"/>
              </a:spcBef>
              <a:defRPr/>
            </a:pPr>
            <a:endParaRPr lang="en-US" altLang="zh-CN" sz="2000" b="1" dirty="0">
              <a:solidFill>
                <a:srgbClr val="002060"/>
              </a:solidFill>
              <a:latin typeface="Arial" panose="020B0604020202020204" pitchFamily="34" charset="0"/>
              <a:ea typeface="微软雅黑" panose="020B0503020204020204" pitchFamily="34" charset="-122"/>
              <a:cs typeface="Arial" panose="020B0604020202020204" pitchFamily="34" charset="0"/>
            </a:endParaRPr>
          </a:p>
        </p:txBody>
      </p:sp>
      <p:sp>
        <p:nvSpPr>
          <p:cNvPr id="63" name="išľíďè"/>
          <p:cNvSpPr/>
          <p:nvPr/>
        </p:nvSpPr>
        <p:spPr bwMode="auto">
          <a:xfrm>
            <a:off x="7051040" y="3418205"/>
            <a:ext cx="5291455" cy="525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defTabSz="913765">
              <a:lnSpc>
                <a:spcPct val="120000"/>
              </a:lnSpc>
              <a:spcBef>
                <a:spcPct val="0"/>
              </a:spcBef>
              <a:defRPr/>
            </a:pPr>
            <a:r>
              <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rPr>
              <a:t>      </a:t>
            </a:r>
            <a:r>
              <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rPr>
              <a:t> </a:t>
            </a:r>
          </a:p>
          <a:p>
            <a:pPr defTabSz="913765">
              <a:lnSpc>
                <a:spcPct val="120000"/>
              </a:lnSpc>
              <a:spcBef>
                <a:spcPct val="0"/>
              </a:spcBef>
              <a:defRPr/>
            </a:pPr>
            <a:r>
              <a:rPr lang="en-US" altLang="zh-CN" sz="1600" b="1" dirty="0">
                <a:solidFill>
                  <a:schemeClr val="tx1">
                    <a:lumMod val="75000"/>
                    <a:lumOff val="25000"/>
                  </a:schemeClr>
                </a:solidFill>
                <a:latin typeface="微软雅黑" panose="020B0503020204020204" pitchFamily="34" charset="-122"/>
                <a:ea typeface="微软雅黑" panose="020B0503020204020204" pitchFamily="34" charset="-122"/>
              </a:rPr>
              <a:t>   </a:t>
            </a:r>
          </a:p>
          <a:p>
            <a:pPr defTabSz="913765">
              <a:lnSpc>
                <a:spcPct val="120000"/>
              </a:lnSpc>
              <a:spcBef>
                <a:spcPct val="0"/>
              </a:spcBef>
              <a:defRPr/>
            </a:pPr>
            <a:r>
              <a:rPr lang="en-US" altLang="zh-CN" b="1" dirty="0">
                <a:solidFill>
                  <a:srgbClr val="002060"/>
                </a:solidFill>
                <a:latin typeface="微软雅黑" panose="020B0503020204020204" pitchFamily="34" charset="-122"/>
                <a:ea typeface="微软雅黑" panose="020B0503020204020204" pitchFamily="34" charset="-122"/>
              </a:rPr>
              <a:t> Aims:</a:t>
            </a:r>
          </a:p>
          <a:p>
            <a:pPr algn="just" defTabSz="913765">
              <a:lnSpc>
                <a:spcPct val="120000"/>
              </a:lnSpc>
              <a:spcBef>
                <a:spcPct val="0"/>
              </a:spcBef>
              <a:defRPr/>
            </a:pPr>
            <a:r>
              <a:rPr lang="en-US" altLang="zh-CN" dirty="0">
                <a:solidFill>
                  <a:srgbClr val="002060"/>
                </a:solidFill>
                <a:latin typeface="微软雅黑" panose="020B0503020204020204" pitchFamily="34" charset="-122"/>
                <a:ea typeface="微软雅黑" panose="020B0503020204020204" pitchFamily="34" charset="-122"/>
              </a:rPr>
              <a:t>master international advanced financial </a:t>
            </a:r>
          </a:p>
          <a:p>
            <a:pPr algn="just" defTabSz="913765">
              <a:lnSpc>
                <a:spcPct val="120000"/>
              </a:lnSpc>
              <a:spcBef>
                <a:spcPct val="0"/>
              </a:spcBef>
              <a:defRPr/>
            </a:pPr>
            <a:r>
              <a:rPr lang="en-US" altLang="zh-CN" dirty="0">
                <a:solidFill>
                  <a:srgbClr val="002060"/>
                </a:solidFill>
                <a:latin typeface="微软雅黑" panose="020B0503020204020204" pitchFamily="34" charset="-122"/>
                <a:ea typeface="微软雅黑" panose="020B0503020204020204" pitchFamily="34" charset="-122"/>
              </a:rPr>
              <a:t>analysis professional techniques and methods</a:t>
            </a:r>
            <a:endParaRPr lang="en-US" altLang="zh-CN" b="1" dirty="0">
              <a:solidFill>
                <a:srgbClr val="002060"/>
              </a:solidFill>
              <a:latin typeface="微软雅黑" panose="020B0503020204020204" pitchFamily="34" charset="-122"/>
              <a:ea typeface="微软雅黑" panose="020B0503020204020204" pitchFamily="34" charset="-122"/>
            </a:endParaRPr>
          </a:p>
          <a:p>
            <a:pPr algn="just" defTabSz="913765">
              <a:lnSpc>
                <a:spcPct val="120000"/>
              </a:lnSpc>
              <a:spcBef>
                <a:spcPct val="0"/>
              </a:spcBef>
              <a:defRPr/>
            </a:pPr>
            <a:r>
              <a:rPr lang="en-US" altLang="zh-CN" b="1" dirty="0">
                <a:solidFill>
                  <a:srgbClr val="002060"/>
                </a:solidFill>
                <a:latin typeface="微软雅黑" panose="020B0503020204020204" pitchFamily="34" charset="-122"/>
                <a:ea typeface="微软雅黑" panose="020B0503020204020204" pitchFamily="34" charset="-122"/>
              </a:rPr>
              <a:t>Main coures</a:t>
            </a:r>
          </a:p>
          <a:p>
            <a:pPr defTabSz="913765">
              <a:lnSpc>
                <a:spcPct val="120000"/>
              </a:lnSpc>
              <a:spcBef>
                <a:spcPct val="0"/>
              </a:spcBef>
              <a:defRPr/>
            </a:pPr>
            <a:r>
              <a:rPr lang="en-US" altLang="zh-CN" dirty="0">
                <a:solidFill>
                  <a:srgbClr val="002060"/>
                </a:solidFill>
                <a:latin typeface="微软雅黑" panose="020B0503020204020204" pitchFamily="34" charset="-122"/>
                <a:ea typeface="微软雅黑" panose="020B0503020204020204" pitchFamily="34" charset="-122"/>
              </a:rPr>
              <a:t>Financial Risk Management, Commercial </a:t>
            </a:r>
          </a:p>
          <a:p>
            <a:pPr defTabSz="913765">
              <a:lnSpc>
                <a:spcPct val="120000"/>
              </a:lnSpc>
              <a:spcBef>
                <a:spcPct val="0"/>
              </a:spcBef>
              <a:defRPr/>
            </a:pPr>
            <a:r>
              <a:rPr lang="en-US" altLang="zh-CN" dirty="0">
                <a:solidFill>
                  <a:srgbClr val="002060"/>
                </a:solidFill>
                <a:latin typeface="微软雅黑" panose="020B0503020204020204" pitchFamily="34" charset="-122"/>
                <a:ea typeface="微软雅黑" panose="020B0503020204020204" pitchFamily="34" charset="-122"/>
              </a:rPr>
              <a:t>Banking Management, Application Introduction to Fin-tech, etc.</a:t>
            </a:r>
          </a:p>
        </p:txBody>
      </p:sp>
      <p:sp>
        <p:nvSpPr>
          <p:cNvPr id="64" name="iSlíďè"/>
          <p:cNvSpPr txBox="1"/>
          <p:nvPr/>
        </p:nvSpPr>
        <p:spPr bwMode="auto">
          <a:xfrm>
            <a:off x="7117967" y="3695525"/>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defTabSz="913765">
              <a:spcBef>
                <a:spcPct val="0"/>
              </a:spcBef>
              <a:defRPr/>
            </a:pPr>
            <a:r>
              <a:rPr lang="en-US" altLang="zh-CN" sz="2000" b="1" dirty="0">
                <a:solidFill>
                  <a:srgbClr val="002060"/>
                </a:solidFill>
                <a:latin typeface="Arial" panose="020B0604020202020204" pitchFamily="34" charset="0"/>
                <a:ea typeface="微软雅黑" panose="020B0503020204020204" pitchFamily="34" charset="-122"/>
                <a:cs typeface="Arial" panose="020B0604020202020204" pitchFamily="34" charset="0"/>
              </a:rPr>
              <a:t>Finance  (English Taught)</a:t>
            </a:r>
            <a:endParaRPr lang="en-US" altLang="zh-CN" sz="1700" b="1" dirty="0">
              <a:solidFill>
                <a:schemeClr val="tx1">
                  <a:lumMod val="75000"/>
                  <a:lumOff val="25000"/>
                </a:schemeClr>
              </a:solidFill>
              <a:latin typeface="微软雅黑" panose="020B0503020204020204" pitchFamily="34" charset="-122"/>
              <a:ea typeface="微软雅黑" panose="020B0503020204020204" pitchFamily="34" charset="-122"/>
            </a:endParaRPr>
          </a:p>
          <a:p>
            <a:pPr marL="0" marR="0" lvl="0" indent="0" algn="l" defTabSz="913765" rtl="0" eaLnBrk="1" fontAlgn="auto" latinLnBrk="0" hangingPunct="1">
              <a:spcBef>
                <a:spcPct val="0"/>
              </a:spcBef>
              <a:spcAft>
                <a:spcPts val="0"/>
              </a:spcAft>
              <a:buClrTx/>
              <a:buSzTx/>
              <a:buFontTx/>
              <a:buNone/>
              <a:defRPr/>
            </a:pPr>
            <a:endParaRPr kumimoji="0" lang="en-US" altLang="zh-CN" sz="1500" b="1" i="0" u="none" strike="noStrike" kern="1200" cap="none" spc="0" normalizeH="0" baseline="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9" name="圆角矩形 26"/>
          <p:cNvSpPr/>
          <p:nvPr/>
        </p:nvSpPr>
        <p:spPr>
          <a:xfrm>
            <a:off x="492760" y="851535"/>
            <a:ext cx="4371975" cy="2688590"/>
          </a:xfrm>
          <a:prstGeom prst="roundRect">
            <a:avLst/>
          </a:prstGeom>
          <a:blipFill>
            <a:blip r:embed="rId3"/>
            <a:stretch>
              <a:fillRect/>
            </a:stretch>
          </a:blip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cs typeface="+mn-ea"/>
              <a:sym typeface="+mn-lt"/>
            </a:endParaRPr>
          </a:p>
        </p:txBody>
      </p:sp>
      <p:pic>
        <p:nvPicPr>
          <p:cNvPr id="20" name="图片 19"/>
          <p:cNvPicPr>
            <a:picLocks noChangeAspect="1"/>
          </p:cNvPicPr>
          <p:nvPr/>
        </p:nvPicPr>
        <p:blipFill rotWithShape="1">
          <a:blip r:embed="rId4" cstate="print">
            <a:extLst>
              <a:ext uri="{28A0092B-C50C-407E-A947-70E740481C1C}">
                <a14:useLocalDpi xmlns:a14="http://schemas.microsoft.com/office/drawing/2010/main" val="0"/>
              </a:ext>
            </a:extLst>
          </a:blip>
          <a:srcRect l="14058" t="1063" r="12649" b="2426"/>
          <a:stretch>
            <a:fillRect/>
          </a:stretch>
        </p:blipFill>
        <p:spPr>
          <a:xfrm>
            <a:off x="7117715" y="1039495"/>
            <a:ext cx="4425315" cy="2500630"/>
          </a:xfrm>
          <a:prstGeom prst="rect">
            <a:avLst/>
          </a:prstGeom>
          <a:effectLst>
            <a:outerShdw blurRad="63500" sx="102000" sy="102000" algn="ctr" rotWithShape="0">
              <a:prstClr val="black">
                <a:alpha val="40000"/>
              </a:prstClr>
            </a:outerShdw>
          </a:effectLst>
        </p:spPr>
      </p:pic>
      <p:pic>
        <p:nvPicPr>
          <p:cNvPr id="18" name="图片 17" descr="上大logo最新"/>
          <p:cNvPicPr>
            <a:picLocks noChangeAspect="1"/>
          </p:cNvPicPr>
          <p:nvPr/>
        </p:nvPicPr>
        <p:blipFill>
          <a:blip r:embed="rId5">
            <a:clrChange>
              <a:clrFrom>
                <a:srgbClr val="F6F5F6">
                  <a:alpha val="100000"/>
                </a:srgbClr>
              </a:clrFrom>
              <a:clrTo>
                <a:srgbClr val="F6F5F6">
                  <a:alpha val="100000"/>
                  <a:alpha val="0"/>
                </a:srgbClr>
              </a:clrTo>
            </a:clrChange>
          </a:blip>
          <a:stretch>
            <a:fillRect/>
          </a:stretch>
        </p:blipFill>
        <p:spPr>
          <a:xfrm>
            <a:off x="9684385" y="125730"/>
            <a:ext cx="2439670" cy="702310"/>
          </a:xfrm>
          <a:prstGeom prst="rect">
            <a:avLst/>
          </a:prstGeom>
        </p:spPr>
      </p:pic>
      <p:sp>
        <p:nvSpPr>
          <p:cNvPr id="1118" name="矩形 1117"/>
          <p:cNvSpPr/>
          <p:nvPr/>
        </p:nvSpPr>
        <p:spPr>
          <a:xfrm>
            <a:off x="513966" y="185692"/>
            <a:ext cx="3819525" cy="583565"/>
          </a:xfrm>
          <a:prstGeom prst="rect">
            <a:avLst/>
          </a:prstGeom>
        </p:spPr>
        <p:txBody>
          <a:bodyPr wrap="none">
            <a:spAutoFit/>
          </a:bodyPr>
          <a:lstStyle/>
          <a:p>
            <a:pPr algn="l" defTabSz="1218565">
              <a:defRPr/>
            </a:pPr>
            <a:r>
              <a:rPr lang="en-US" altLang="zh-CN" sz="3200" b="1" kern="0" dirty="0">
                <a:solidFill>
                  <a:srgbClr val="376092"/>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Arial" panose="020B0604020202020204" pitchFamily="34" charset="0"/>
              </a:rPr>
              <a:t>Popular Programs</a:t>
            </a:r>
            <a:r>
              <a:rPr lang="en-US" altLang="zh-CN" sz="3200" b="1" i="1" kern="0" dirty="0">
                <a:solidFill>
                  <a:srgbClr val="376092"/>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Arial" panose="020B0604020202020204" pitchFamily="34" charset="0"/>
              </a:rPr>
              <a:t> </a:t>
            </a:r>
          </a:p>
        </p:txBody>
      </p:sp>
      <p:sp>
        <p:nvSpPr>
          <p:cNvPr id="1117" name="等腰三角形 1116"/>
          <p:cNvSpPr/>
          <p:nvPr/>
        </p:nvSpPr>
        <p:spPr>
          <a:xfrm rot="5400000">
            <a:off x="-174172" y="174171"/>
            <a:ext cx="841829" cy="493486"/>
          </a:xfrm>
          <a:prstGeom prst="triangle">
            <a:avLst/>
          </a:prstGeom>
          <a:gradFill>
            <a:gsLst>
              <a:gs pos="0">
                <a:srgbClr val="007BD3"/>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bldLst>
      <p:bldP spid="59" grpId="0"/>
      <p:bldP spid="60" grpId="0"/>
      <p:bldP spid="63" grpId="0"/>
      <p:bldP spid="64" grpId="0"/>
      <p:bldP spid="19" grpId="0" bldLvl="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1487488" y="0"/>
            <a:ext cx="10704512" cy="3429000"/>
          </a:xfrm>
          <a:custGeom>
            <a:avLst/>
            <a:gdLst>
              <a:gd name="connsiteX0" fmla="*/ 0 w 8028384"/>
              <a:gd name="connsiteY0" fmla="*/ 0 h 2571750"/>
              <a:gd name="connsiteX1" fmla="*/ 8028384 w 8028384"/>
              <a:gd name="connsiteY1" fmla="*/ 0 h 2571750"/>
              <a:gd name="connsiteX2" fmla="*/ 8028384 w 8028384"/>
              <a:gd name="connsiteY2" fmla="*/ 2571750 h 2571750"/>
              <a:gd name="connsiteX3" fmla="*/ 0 w 8028384"/>
              <a:gd name="connsiteY3" fmla="*/ 2571750 h 2571750"/>
              <a:gd name="connsiteX4" fmla="*/ 0 w 8028384"/>
              <a:gd name="connsiteY4" fmla="*/ 0 h 2571750"/>
              <a:gd name="connsiteX0-1" fmla="*/ 0 w 8028384"/>
              <a:gd name="connsiteY0-2" fmla="*/ 0 h 2571750"/>
              <a:gd name="connsiteX1-3" fmla="*/ 8028384 w 8028384"/>
              <a:gd name="connsiteY1-4" fmla="*/ 0 h 2571750"/>
              <a:gd name="connsiteX2-5" fmla="*/ 8028384 w 8028384"/>
              <a:gd name="connsiteY2-6" fmla="*/ 2571750 h 2571750"/>
              <a:gd name="connsiteX3-7" fmla="*/ 2445165 w 8028384"/>
              <a:gd name="connsiteY3-8" fmla="*/ 2571078 h 2571750"/>
              <a:gd name="connsiteX4-9" fmla="*/ 0 w 8028384"/>
              <a:gd name="connsiteY4-10" fmla="*/ 2571750 h 2571750"/>
              <a:gd name="connsiteX5" fmla="*/ 0 w 8028384"/>
              <a:gd name="connsiteY5" fmla="*/ 0 h 2571750"/>
              <a:gd name="connsiteX0-11" fmla="*/ 0 w 8028384"/>
              <a:gd name="connsiteY0-12" fmla="*/ 0 h 2571750"/>
              <a:gd name="connsiteX1-13" fmla="*/ 8028384 w 8028384"/>
              <a:gd name="connsiteY1-14" fmla="*/ 0 h 2571750"/>
              <a:gd name="connsiteX2-15" fmla="*/ 8028384 w 8028384"/>
              <a:gd name="connsiteY2-16" fmla="*/ 2571750 h 2571750"/>
              <a:gd name="connsiteX3-17" fmla="*/ 2445165 w 8028384"/>
              <a:gd name="connsiteY3-18" fmla="*/ 2571078 h 2571750"/>
              <a:gd name="connsiteX4-19" fmla="*/ 0 w 8028384"/>
              <a:gd name="connsiteY4-20" fmla="*/ 0 h 257175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028384" h="2571750">
                <a:moveTo>
                  <a:pt x="0" y="0"/>
                </a:moveTo>
                <a:lnTo>
                  <a:pt x="8028384" y="0"/>
                </a:lnTo>
                <a:lnTo>
                  <a:pt x="8028384" y="2571750"/>
                </a:lnTo>
                <a:lnTo>
                  <a:pt x="2445165" y="2571078"/>
                </a:lnTo>
                <a:lnTo>
                  <a:pt x="0" y="0"/>
                </a:lnTo>
                <a:close/>
              </a:path>
            </a:pathLst>
          </a:custGeom>
          <a:blipFill dpi="0" rotWithShape="1">
            <a:blip r:embed="rId3" cstate="print">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a:fillRect t="-62398" b="-46580"/>
            </a:stretch>
          </a:blipFill>
          <a:ln>
            <a:noFill/>
          </a:ln>
          <a:effectLst>
            <a:outerShdw blurRad="254000" dist="635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 name="等腰三角形 2"/>
          <p:cNvSpPr/>
          <p:nvPr/>
        </p:nvSpPr>
        <p:spPr>
          <a:xfrm rot="5400000">
            <a:off x="-1751169" y="1751170"/>
            <a:ext cx="6858000" cy="3355661"/>
          </a:xfrm>
          <a:prstGeom prst="triangle">
            <a:avLst/>
          </a:prstGeom>
          <a:gradFill>
            <a:gsLst>
              <a:gs pos="0">
                <a:srgbClr val="007BD3"/>
              </a:gs>
              <a:gs pos="0">
                <a:srgbClr val="016DBB">
                  <a:alpha val="100000"/>
                </a:srgbClr>
              </a:gs>
              <a:gs pos="0">
                <a:srgbClr val="025FA3">
                  <a:alpha val="100000"/>
                </a:srgbClr>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1" name="矩形 20"/>
          <p:cNvSpPr/>
          <p:nvPr/>
        </p:nvSpPr>
        <p:spPr>
          <a:xfrm>
            <a:off x="4976474" y="4491678"/>
            <a:ext cx="6989445" cy="922020"/>
          </a:xfrm>
          <a:prstGeom prst="rect">
            <a:avLst/>
          </a:prstGeom>
        </p:spPr>
        <p:txBody>
          <a:bodyPr wrap="none" lIns="91440" tIns="45720" rIns="91440" bIns="45720">
            <a:spAutoFit/>
          </a:bodyPr>
          <a:lstStyle/>
          <a:p>
            <a:pPr algn="l">
              <a:defRPr/>
            </a:pPr>
            <a:r>
              <a:rPr lang="en-US" altLang="zh-CN" sz="5400" b="1" kern="0" spc="800" dirty="0">
                <a:solidFill>
                  <a:srgbClr val="002060"/>
                </a:solidFill>
                <a:latin typeface="Arial" panose="020B0604020202020204" pitchFamily="34" charset="0"/>
                <a:ea typeface="微软雅黑" panose="020B0503020204020204" pitchFamily="34" charset="-122"/>
                <a:cs typeface="+mn-ea"/>
                <a:sym typeface="+mn-ea"/>
              </a:rPr>
              <a:t> </a:t>
            </a:r>
            <a:r>
              <a:rPr lang="zh-CN" altLang="en-US" sz="5400" b="1" kern="0" spc="800" dirty="0">
                <a:solidFill>
                  <a:srgbClr val="002060"/>
                </a:solidFill>
                <a:latin typeface="Arial" panose="020B0604020202020204" pitchFamily="34" charset="0"/>
                <a:ea typeface="微软雅黑" panose="020B0503020204020204" pitchFamily="34" charset="-122"/>
                <a:cs typeface="Arial" panose="020B0604020202020204" pitchFamily="34" charset="0"/>
                <a:sym typeface="+mn-ea"/>
              </a:rPr>
              <a:t>HOW TO APPLY</a:t>
            </a:r>
            <a:endParaRPr lang="zh-CN" altLang="en-US" sz="5400" b="1" kern="0" spc="800" dirty="0">
              <a:solidFill>
                <a:srgbClr val="00206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4" name="矩形 3"/>
          <p:cNvSpPr/>
          <p:nvPr/>
        </p:nvSpPr>
        <p:spPr>
          <a:xfrm>
            <a:off x="1487488" y="0"/>
            <a:ext cx="10704512" cy="3429000"/>
          </a:xfrm>
          <a:custGeom>
            <a:avLst/>
            <a:gdLst>
              <a:gd name="connsiteX0" fmla="*/ 0 w 8028384"/>
              <a:gd name="connsiteY0" fmla="*/ 0 h 2571750"/>
              <a:gd name="connsiteX1" fmla="*/ 8028384 w 8028384"/>
              <a:gd name="connsiteY1" fmla="*/ 0 h 2571750"/>
              <a:gd name="connsiteX2" fmla="*/ 8028384 w 8028384"/>
              <a:gd name="connsiteY2" fmla="*/ 2571750 h 2571750"/>
              <a:gd name="connsiteX3" fmla="*/ 0 w 8028384"/>
              <a:gd name="connsiteY3" fmla="*/ 2571750 h 2571750"/>
              <a:gd name="connsiteX4" fmla="*/ 0 w 8028384"/>
              <a:gd name="connsiteY4" fmla="*/ 0 h 2571750"/>
              <a:gd name="connsiteX0-1" fmla="*/ 0 w 8028384"/>
              <a:gd name="connsiteY0-2" fmla="*/ 0 h 2571750"/>
              <a:gd name="connsiteX1-3" fmla="*/ 8028384 w 8028384"/>
              <a:gd name="connsiteY1-4" fmla="*/ 0 h 2571750"/>
              <a:gd name="connsiteX2-5" fmla="*/ 8028384 w 8028384"/>
              <a:gd name="connsiteY2-6" fmla="*/ 2571750 h 2571750"/>
              <a:gd name="connsiteX3-7" fmla="*/ 2445165 w 8028384"/>
              <a:gd name="connsiteY3-8" fmla="*/ 2571078 h 2571750"/>
              <a:gd name="connsiteX4-9" fmla="*/ 0 w 8028384"/>
              <a:gd name="connsiteY4-10" fmla="*/ 2571750 h 2571750"/>
              <a:gd name="connsiteX5" fmla="*/ 0 w 8028384"/>
              <a:gd name="connsiteY5" fmla="*/ 0 h 2571750"/>
              <a:gd name="connsiteX0-11" fmla="*/ 0 w 8028384"/>
              <a:gd name="connsiteY0-12" fmla="*/ 0 h 2571750"/>
              <a:gd name="connsiteX1-13" fmla="*/ 8028384 w 8028384"/>
              <a:gd name="connsiteY1-14" fmla="*/ 0 h 2571750"/>
              <a:gd name="connsiteX2-15" fmla="*/ 8028384 w 8028384"/>
              <a:gd name="connsiteY2-16" fmla="*/ 2571750 h 2571750"/>
              <a:gd name="connsiteX3-17" fmla="*/ 2445165 w 8028384"/>
              <a:gd name="connsiteY3-18" fmla="*/ 2571078 h 2571750"/>
              <a:gd name="connsiteX4-19" fmla="*/ 0 w 8028384"/>
              <a:gd name="connsiteY4-20" fmla="*/ 0 h 257175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028384" h="2571750">
                <a:moveTo>
                  <a:pt x="0" y="0"/>
                </a:moveTo>
                <a:lnTo>
                  <a:pt x="8028384" y="0"/>
                </a:lnTo>
                <a:lnTo>
                  <a:pt x="8028384" y="2571750"/>
                </a:lnTo>
                <a:lnTo>
                  <a:pt x="2445165" y="2571078"/>
                </a:lnTo>
                <a:lnTo>
                  <a:pt x="0" y="0"/>
                </a:lnTo>
                <a:close/>
              </a:path>
            </a:pathLst>
          </a:custGeom>
          <a:gradFill>
            <a:gsLst>
              <a:gs pos="0">
                <a:srgbClr val="007BD3"/>
              </a:gs>
              <a:gs pos="0">
                <a:srgbClr val="034373">
                  <a:alpha val="8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5" name="矩形 24"/>
          <p:cNvSpPr/>
          <p:nvPr/>
        </p:nvSpPr>
        <p:spPr>
          <a:xfrm>
            <a:off x="476332" y="2595743"/>
            <a:ext cx="1428596" cy="1323439"/>
          </a:xfrm>
          <a:prstGeom prst="rect">
            <a:avLst/>
          </a:prstGeom>
          <a:gradFill>
            <a:gsLst>
              <a:gs pos="0">
                <a:srgbClr val="23607C"/>
              </a:gs>
              <a:gs pos="0">
                <a:srgbClr val="0C364F"/>
              </a:gs>
            </a:gsLst>
            <a:lin ang="0" scaled="1"/>
          </a:gradFill>
        </p:spPr>
        <p:txBody>
          <a:bodyPr wrap="none" lIns="91440" tIns="45720" rIns="91440" bIns="45720">
            <a:spAutoFit/>
          </a:bodyPr>
          <a:lstStyle/>
          <a:p>
            <a:pPr defTabSz="1218565">
              <a:defRPr/>
            </a:pPr>
            <a:r>
              <a:rPr lang="en-US" altLang="zh-CN" sz="8000" b="1" kern="0" spc="400" dirty="0" smtClean="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Arial" panose="020B0604020202020204" pitchFamily="34" charset="0"/>
              </a:rPr>
              <a:t>03</a:t>
            </a:r>
            <a:endParaRPr lang="zh-CN" altLang="en-US" sz="8000" b="1" kern="0" spc="40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bldLst>
      <p:bldP spid="4" grpId="0" bldLvl="0" animBg="1"/>
      <p:bldP spid="3" grpId="0" bldLvl="0" animBg="1"/>
      <p:bldP spid="21" grpId="0"/>
      <p:bldP spid="24" grpId="0" bldLvl="0" animBg="1"/>
      <p:bldP spid="25" grpId="0" bldLvl="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平行四边形 18"/>
          <p:cNvSpPr/>
          <p:nvPr userDrawn="1">
            <p:custDataLst>
              <p:tags r:id="rId2"/>
            </p:custDataLst>
          </p:nvPr>
        </p:nvSpPr>
        <p:spPr>
          <a:xfrm>
            <a:off x="2458244" y="0"/>
            <a:ext cx="7275513" cy="6858000"/>
          </a:xfrm>
          <a:prstGeom prst="parallelogram">
            <a:avLst>
              <a:gd name="adj" fmla="val 56845"/>
            </a:avLst>
          </a:prstGeom>
          <a:solidFill>
            <a:schemeClr val="dk1">
              <a:lumMod val="85000"/>
              <a:lumOff val="15000"/>
              <a:alpha val="30000"/>
            </a:schemeClr>
          </a:solidFill>
          <a:ln>
            <a:noFill/>
          </a:ln>
          <a:effectLst>
            <a:outerShdw blurRad="330200" dist="241300" dir="8100000" algn="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2" name="矩形 1"/>
          <p:cNvSpPr/>
          <p:nvPr userDrawn="1">
            <p:custDataLst>
              <p:tags r:id="rId3"/>
            </p:custDataLst>
          </p:nvPr>
        </p:nvSpPr>
        <p:spPr>
          <a:xfrm>
            <a:off x="0" y="1066800"/>
            <a:ext cx="12192000" cy="4724400"/>
          </a:xfrm>
          <a:prstGeom prst="rect">
            <a:avLst/>
          </a:prstGeom>
          <a:solidFill>
            <a:schemeClr val="lt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ltLang="zh-CN">
              <a:solidFill>
                <a:schemeClr val="lt1"/>
              </a:solidFill>
              <a:latin typeface="微软雅黑" panose="020B0503020204020204" pitchFamily="34" charset="-122"/>
              <a:ea typeface="微软雅黑" panose="020B0503020204020204" pitchFamily="34" charset="-122"/>
              <a:sym typeface="+mn-ea"/>
            </a:endParaRPr>
          </a:p>
        </p:txBody>
      </p:sp>
      <p:sp>
        <p:nvSpPr>
          <p:cNvPr id="1117" name="等腰三角形 1116"/>
          <p:cNvSpPr/>
          <p:nvPr/>
        </p:nvSpPr>
        <p:spPr>
          <a:xfrm rot="5400000">
            <a:off x="-174172" y="174171"/>
            <a:ext cx="841829" cy="493486"/>
          </a:xfrm>
          <a:prstGeom prst="triangle">
            <a:avLst/>
          </a:prstGeom>
          <a:gradFill>
            <a:gsLst>
              <a:gs pos="0">
                <a:srgbClr val="007BD3"/>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 name="文本框 2"/>
          <p:cNvSpPr txBox="1"/>
          <p:nvPr/>
        </p:nvSpPr>
        <p:spPr>
          <a:xfrm>
            <a:off x="619362" y="129137"/>
            <a:ext cx="5073525" cy="583565"/>
          </a:xfrm>
          <a:prstGeom prst="rect">
            <a:avLst/>
          </a:prstGeom>
          <a:noFill/>
        </p:spPr>
        <p:txBody>
          <a:bodyPr wrap="square" rtlCol="0">
            <a:spAutoFit/>
          </a:bodyPr>
          <a:lstStyle/>
          <a:p>
            <a:pPr>
              <a:defRPr/>
            </a:pPr>
            <a:r>
              <a:rPr lang="en-US" altLang="zh-CN" sz="3200" b="1" kern="0" dirty="0">
                <a:solidFill>
                  <a:srgbClr val="376092"/>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rPr>
              <a:t>Application Process</a:t>
            </a:r>
          </a:p>
        </p:txBody>
      </p:sp>
      <p:pic>
        <p:nvPicPr>
          <p:cNvPr id="5" name="图片 4" descr="上大logo最新"/>
          <p:cNvPicPr>
            <a:picLocks noChangeAspect="1"/>
          </p:cNvPicPr>
          <p:nvPr/>
        </p:nvPicPr>
        <p:blipFill>
          <a:blip r:embed="rId5"/>
          <a:stretch>
            <a:fillRect/>
          </a:stretch>
        </p:blipFill>
        <p:spPr>
          <a:xfrm>
            <a:off x="9037955" y="0"/>
            <a:ext cx="3115310" cy="939165"/>
          </a:xfrm>
          <a:prstGeom prst="rect">
            <a:avLst/>
          </a:prstGeom>
        </p:spPr>
      </p:pic>
      <p:pic>
        <p:nvPicPr>
          <p:cNvPr id="10" name="图片 9" descr="画板 1"/>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8420" y="5791200"/>
            <a:ext cx="12251055" cy="1066800"/>
          </a:xfrm>
          <a:prstGeom prst="rect">
            <a:avLst/>
          </a:prstGeom>
        </p:spPr>
      </p:pic>
      <p:sp>
        <p:nvSpPr>
          <p:cNvPr id="6" name="文本框 5"/>
          <p:cNvSpPr txBox="1"/>
          <p:nvPr/>
        </p:nvSpPr>
        <p:spPr>
          <a:xfrm>
            <a:off x="3550285" y="5863590"/>
            <a:ext cx="7200900" cy="953135"/>
          </a:xfrm>
          <a:prstGeom prst="rect">
            <a:avLst/>
          </a:prstGeom>
          <a:noFill/>
        </p:spPr>
        <p:txBody>
          <a:bodyPr wrap="square" rtlCol="0">
            <a:spAutoFit/>
          </a:bodyPr>
          <a:lstStyle/>
          <a:p>
            <a:pPr algn="ctr"/>
            <a:r>
              <a:rPr lang="en-US" altLang="zh-CN" sz="2800" spc="100" dirty="0">
                <a:solidFill>
                  <a:schemeClr val="bg1"/>
                </a:solidFill>
                <a:uFillTx/>
                <a:latin typeface="Arial" panose="020B0604020202020204" pitchFamily="34" charset="0"/>
                <a:ea typeface="微软雅黑" panose="020B0503020204020204" pitchFamily="34" charset="-122"/>
              </a:rPr>
              <a:t>Application Website</a:t>
            </a:r>
            <a:r>
              <a:rPr lang="zh-CN" altLang="en-US" sz="2800" spc="100" dirty="0">
                <a:solidFill>
                  <a:schemeClr val="bg1"/>
                </a:solidFill>
                <a:uFillTx/>
                <a:latin typeface="Arial" panose="020B0604020202020204" pitchFamily="34" charset="0"/>
                <a:ea typeface="微软雅黑" panose="020B0503020204020204" pitchFamily="34" charset="-122"/>
              </a:rPr>
              <a:t>：</a:t>
            </a:r>
            <a:r>
              <a:rPr lang="zh-CN" altLang="en-US" sz="2800" spc="100" dirty="0">
                <a:solidFill>
                  <a:schemeClr val="bg1"/>
                </a:solidFill>
                <a:uFillTx/>
                <a:latin typeface="Arial" panose="020B0604020202020204" pitchFamily="34" charset="0"/>
                <a:ea typeface="微软雅黑" panose="020B0503020204020204" pitchFamily="34" charset="-122"/>
                <a:sym typeface="+mn-ea"/>
              </a:rPr>
              <a:t>https://apply.shu.edu.cn</a:t>
            </a:r>
            <a:endParaRPr lang="en-US" altLang="zh-CN" sz="2800" spc="100" dirty="0">
              <a:solidFill>
                <a:srgbClr val="00B0F0"/>
              </a:solidFill>
              <a:uFillTx/>
              <a:latin typeface="微软雅黑" panose="020B0503020204020204" pitchFamily="34" charset="-122"/>
              <a:ea typeface="微软雅黑" panose="020B0503020204020204" pitchFamily="34" charset="-122"/>
              <a:sym typeface="+mn-ea"/>
            </a:endParaRPr>
          </a:p>
        </p:txBody>
      </p:sp>
      <p:pic>
        <p:nvPicPr>
          <p:cNvPr id="7" name="图片 6"/>
          <p:cNvPicPr>
            <a:picLocks noChangeAspect="1"/>
          </p:cNvPicPr>
          <p:nvPr/>
        </p:nvPicPr>
        <p:blipFill>
          <a:blip r:embed="rId8"/>
          <a:stretch>
            <a:fillRect/>
          </a:stretch>
        </p:blipFill>
        <p:spPr>
          <a:xfrm>
            <a:off x="494030" y="1395730"/>
            <a:ext cx="10990580" cy="4025265"/>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150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p:cNvGrpSpPr/>
          <p:nvPr/>
        </p:nvGrpSpPr>
        <p:grpSpPr>
          <a:xfrm>
            <a:off x="1536792" y="1586682"/>
            <a:ext cx="9193400" cy="2345359"/>
            <a:chOff x="2766559" y="1890811"/>
            <a:chExt cx="6776548" cy="1728788"/>
          </a:xfrm>
        </p:grpSpPr>
        <p:sp>
          <p:nvSpPr>
            <p:cNvPr id="7" name="도넛 104"/>
            <p:cNvSpPr/>
            <p:nvPr/>
          </p:nvSpPr>
          <p:spPr bwMode="auto">
            <a:xfrm>
              <a:off x="7814810" y="1890811"/>
              <a:ext cx="1728297" cy="1728027"/>
            </a:xfrm>
            <a:prstGeom prst="donut">
              <a:avLst/>
            </a:prstGeom>
            <a:solidFill>
              <a:schemeClr val="accent1"/>
            </a:solidFill>
            <a:ln w="25400" cmpd="sng">
              <a:noFill/>
              <a:miter lim="800000"/>
            </a:ln>
          </p:spPr>
          <p:txBody>
            <a:bodyPr anchor="ctr"/>
            <a:lstStyle/>
            <a:p>
              <a:pPr algn="ctr" fontAlgn="ctr">
                <a:buClr>
                  <a:srgbClr val="FF0000"/>
                </a:buClr>
                <a:buSzPct val="70000"/>
                <a:buFont typeface="Wingdings" panose="05000000000000000000" pitchFamily="2" charset="2"/>
                <a:buChar char="u"/>
                <a:tabLst>
                  <a:tab pos="723265" algn="l"/>
                  <a:tab pos="1447165" algn="l"/>
                </a:tabLst>
              </a:pPr>
              <a:endParaRPr lang="ko-KR" altLang="en-US" sz="160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 name="도넛 96"/>
            <p:cNvSpPr/>
            <p:nvPr/>
          </p:nvSpPr>
          <p:spPr bwMode="auto">
            <a:xfrm>
              <a:off x="5300209" y="1890811"/>
              <a:ext cx="1728787" cy="1728788"/>
            </a:xfrm>
            <a:prstGeom prst="donut">
              <a:avLst/>
            </a:prstGeom>
            <a:solidFill>
              <a:schemeClr val="accent2"/>
            </a:solidFill>
            <a:ln w="25400" cmpd="sng">
              <a:noFill/>
              <a:miter lim="800000"/>
            </a:ln>
          </p:spPr>
          <p:txBody>
            <a:bodyPr anchor="ctr"/>
            <a:lstStyle/>
            <a:p>
              <a:pPr algn="ctr" fontAlgn="ctr">
                <a:buClr>
                  <a:srgbClr val="FF0000"/>
                </a:buClr>
                <a:buSzPct val="70000"/>
                <a:buFont typeface="Wingdings" panose="05000000000000000000" pitchFamily="2" charset="2"/>
                <a:buChar char="u"/>
                <a:tabLst>
                  <a:tab pos="723265" algn="l"/>
                  <a:tab pos="1447165" algn="l"/>
                </a:tabLst>
              </a:pPr>
              <a:endParaRPr lang="ko-KR" altLang="en-US" sz="1600"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 name="도넛 86"/>
            <p:cNvSpPr/>
            <p:nvPr/>
          </p:nvSpPr>
          <p:spPr bwMode="auto">
            <a:xfrm>
              <a:off x="2766559" y="1890811"/>
              <a:ext cx="1729260" cy="1728026"/>
            </a:xfrm>
            <a:prstGeom prst="donut">
              <a:avLst/>
            </a:prstGeom>
            <a:solidFill>
              <a:schemeClr val="accent1"/>
            </a:solidFill>
            <a:ln w="25400" cmpd="sng">
              <a:noFill/>
              <a:miter lim="800000"/>
            </a:ln>
          </p:spPr>
          <p:txBody>
            <a:bodyPr anchor="ctr"/>
            <a:lstStyle/>
            <a:p>
              <a:pPr algn="ctr" fontAlgn="ctr">
                <a:buClr>
                  <a:srgbClr val="FF0000"/>
                </a:buClr>
                <a:buSzPct val="70000"/>
                <a:buFont typeface="Wingdings" panose="05000000000000000000" pitchFamily="2" charset="2"/>
                <a:buChar char="u"/>
                <a:tabLst>
                  <a:tab pos="723265" algn="l"/>
                  <a:tab pos="1447165" algn="l"/>
                </a:tabLst>
              </a:pPr>
              <a:endParaRPr lang="ko-KR" altLang="en-US" sz="1600"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 name="오른쪽 화살표 54"/>
            <p:cNvSpPr/>
            <p:nvPr/>
          </p:nvSpPr>
          <p:spPr>
            <a:xfrm>
              <a:off x="4716009" y="2538511"/>
              <a:ext cx="411162" cy="458788"/>
            </a:xfrm>
            <a:prstGeom prst="rightArrow">
              <a:avLst>
                <a:gd name="adj1" fmla="val 50000"/>
                <a:gd name="adj2" fmla="val 63933"/>
              </a:avLst>
            </a:prstGeom>
            <a:solidFill>
              <a:schemeClr val="bg1">
                <a:lumMod val="65000"/>
              </a:schemeClr>
            </a:solidFill>
            <a:ln w="25400" cmpd="sng">
              <a:noFill/>
              <a:miter lim="800000"/>
            </a:ln>
          </p:spPr>
          <p:txBody>
            <a:bodyPr anchor="ctr"/>
            <a:lstStyle/>
            <a:p>
              <a:pPr algn="ctr" fontAlgn="ctr">
                <a:buClr>
                  <a:srgbClr val="FF0000"/>
                </a:buClr>
                <a:buSzPct val="70000"/>
                <a:buFont typeface="Wingdings" panose="05000000000000000000" pitchFamily="2" charset="2"/>
                <a:buChar char="u"/>
                <a:tabLst>
                  <a:tab pos="723265" algn="l"/>
                  <a:tab pos="1447165" algn="l"/>
                </a:tabLst>
              </a:pPr>
              <a:endParaRPr lang="ko-KR" altLang="en-US" sz="160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5" name="오른쪽 화살표 55"/>
            <p:cNvSpPr/>
            <p:nvPr/>
          </p:nvSpPr>
          <p:spPr>
            <a:xfrm>
              <a:off x="7252834" y="2538511"/>
              <a:ext cx="411162" cy="458788"/>
            </a:xfrm>
            <a:prstGeom prst="rightArrow">
              <a:avLst>
                <a:gd name="adj1" fmla="val 50000"/>
                <a:gd name="adj2" fmla="val 63933"/>
              </a:avLst>
            </a:prstGeom>
            <a:solidFill>
              <a:schemeClr val="bg1">
                <a:lumMod val="65000"/>
              </a:schemeClr>
            </a:solidFill>
            <a:ln w="25400" cmpd="sng">
              <a:noFill/>
              <a:miter lim="800000"/>
            </a:ln>
          </p:spPr>
          <p:txBody>
            <a:bodyPr anchor="ctr"/>
            <a:lstStyle/>
            <a:p>
              <a:pPr algn="ctr" fontAlgn="ctr">
                <a:buClr>
                  <a:srgbClr val="FF0000"/>
                </a:buClr>
                <a:buSzPct val="70000"/>
                <a:buFont typeface="Wingdings" panose="05000000000000000000" pitchFamily="2" charset="2"/>
                <a:buChar char="u"/>
                <a:tabLst>
                  <a:tab pos="723265" algn="l"/>
                  <a:tab pos="1447165" algn="l"/>
                </a:tabLst>
              </a:pPr>
              <a:endParaRPr lang="ko-KR" altLang="en-US" sz="160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6" name="TextBox 13"/>
            <p:cNvSpPr txBox="1"/>
            <p:nvPr/>
          </p:nvSpPr>
          <p:spPr>
            <a:xfrm>
              <a:off x="3277180" y="2631713"/>
              <a:ext cx="741660" cy="226866"/>
            </a:xfrm>
            <a:prstGeom prst="rect">
              <a:avLst/>
            </a:prstGeom>
            <a:noFill/>
          </p:spPr>
          <p:txBody>
            <a:bodyPr wrap="square" lIns="0" tIns="0" rIns="0" bIns="0" rtlCol="0" anchor="t" anchorCtr="0">
              <a:spAutoFit/>
            </a:bodyPr>
            <a:lstStyle/>
            <a:p>
              <a:pPr algn="ctr" defTabSz="1216660">
                <a:spcBef>
                  <a:spcPct val="20000"/>
                </a:spcBef>
                <a:defRPr/>
              </a:pPr>
              <a:r>
                <a:rPr lang="en-US" sz="2000" b="1" dirty="0" smtClean="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SBC</a:t>
              </a:r>
              <a:endParaRPr lang="en-US" sz="20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7" name="TextBox 13"/>
            <p:cNvSpPr txBox="1"/>
            <p:nvPr/>
          </p:nvSpPr>
          <p:spPr>
            <a:xfrm>
              <a:off x="5794219" y="2631713"/>
              <a:ext cx="741660" cy="226866"/>
            </a:xfrm>
            <a:prstGeom prst="rect">
              <a:avLst/>
            </a:prstGeom>
            <a:noFill/>
          </p:spPr>
          <p:txBody>
            <a:bodyPr wrap="square" lIns="0" tIns="0" rIns="0" bIns="0" rtlCol="0" anchor="t" anchorCtr="0">
              <a:spAutoFit/>
            </a:bodyPr>
            <a:lstStyle/>
            <a:p>
              <a:pPr algn="ctr" defTabSz="1216660">
                <a:spcBef>
                  <a:spcPct val="20000"/>
                </a:spcBef>
                <a:defRPr/>
              </a:pPr>
              <a:r>
                <a:rPr lang="en-US" sz="2000" b="1" dirty="0" smtClean="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UQA</a:t>
              </a:r>
              <a:endParaRPr lang="en-US" sz="20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8" name="TextBox 13"/>
            <p:cNvSpPr txBox="1"/>
            <p:nvPr/>
          </p:nvSpPr>
          <p:spPr>
            <a:xfrm>
              <a:off x="8241387" y="2668658"/>
              <a:ext cx="875143" cy="226866"/>
            </a:xfrm>
            <a:prstGeom prst="rect">
              <a:avLst/>
            </a:prstGeom>
            <a:noFill/>
          </p:spPr>
          <p:txBody>
            <a:bodyPr wrap="square" lIns="0" tIns="0" rIns="0" bIns="0" rtlCol="0" anchor="t" anchorCtr="0">
              <a:spAutoFit/>
            </a:bodyPr>
            <a:lstStyle/>
            <a:p>
              <a:pPr algn="ctr" defTabSz="1216660">
                <a:spcBef>
                  <a:spcPct val="20000"/>
                </a:spcBef>
                <a:defRPr/>
              </a:pPr>
              <a:r>
                <a:rPr lang="en-US" sz="2000" b="1" dirty="0" smtClean="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Interview</a:t>
              </a:r>
              <a:endParaRPr lang="en-US" sz="2000" b="1" dirty="0">
                <a:solidFill>
                  <a:schemeClr val="bg1">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21" name="TextBox 4"/>
          <p:cNvSpPr txBox="1"/>
          <p:nvPr/>
        </p:nvSpPr>
        <p:spPr>
          <a:xfrm>
            <a:off x="1174750" y="4264025"/>
            <a:ext cx="3129915" cy="645160"/>
          </a:xfrm>
          <a:prstGeom prst="rect">
            <a:avLst/>
          </a:prstGeom>
          <a:solidFill>
            <a:schemeClr val="accent1"/>
          </a:solidFill>
          <a:ln>
            <a:noFill/>
          </a:ln>
        </p:spPr>
        <p:txBody>
          <a:bodyPr wrap="square" rtlCol="0">
            <a:spAutoFit/>
          </a:bodyPr>
          <a:lstStyle/>
          <a:p>
            <a:r>
              <a:rPr lang="zh-CN" altLang="en-US" b="1" dirty="0" smtClean="0">
                <a:solidFill>
                  <a:srgbClr val="002060"/>
                </a:solidFill>
                <a:latin typeface="Arial" panose="020B0604020202020204" pitchFamily="34" charset="0"/>
                <a:cs typeface="Arial" panose="020B0604020202020204" pitchFamily="34" charset="0"/>
              </a:rPr>
              <a:t> </a:t>
            </a:r>
            <a:r>
              <a:rPr lang="en-US" altLang="zh-CN" b="1" dirty="0" smtClean="0">
                <a:solidFill>
                  <a:srgbClr val="002060"/>
                </a:solidFill>
                <a:latin typeface="Arial" panose="020B0604020202020204" pitchFamily="34" charset="0"/>
                <a:cs typeface="Arial" panose="020B0604020202020204" pitchFamily="34" charset="0"/>
              </a:rPr>
              <a:t>Security </a:t>
            </a:r>
            <a:r>
              <a:rPr lang="en-US" altLang="zh-CN" b="1" dirty="0">
                <a:solidFill>
                  <a:srgbClr val="002060"/>
                </a:solidFill>
                <a:latin typeface="Arial" panose="020B0604020202020204" pitchFamily="34" charset="0"/>
                <a:cs typeface="Arial" panose="020B0604020202020204" pitchFamily="34" charset="0"/>
              </a:rPr>
              <a:t>and Background Check</a:t>
            </a:r>
            <a:endParaRPr lang="zh-CN" altLang="en-US" dirty="0">
              <a:solidFill>
                <a:srgbClr val="002060"/>
              </a:solidFill>
              <a:latin typeface="Arial" panose="020B0604020202020204" pitchFamily="34" charset="0"/>
              <a:ea typeface="微软雅黑" panose="020B0503020204020204" pitchFamily="34" charset="-122"/>
              <a:cs typeface="Arial" panose="020B0604020202020204" pitchFamily="34" charset="0"/>
            </a:endParaRPr>
          </a:p>
        </p:txBody>
      </p:sp>
      <p:sp>
        <p:nvSpPr>
          <p:cNvPr id="25" name="TextBox 4"/>
          <p:cNvSpPr txBox="1"/>
          <p:nvPr/>
        </p:nvSpPr>
        <p:spPr>
          <a:xfrm>
            <a:off x="4903600" y="4264116"/>
            <a:ext cx="2586411" cy="646331"/>
          </a:xfrm>
          <a:prstGeom prst="rect">
            <a:avLst/>
          </a:prstGeom>
          <a:solidFill>
            <a:schemeClr val="accent2"/>
          </a:solidFill>
          <a:ln>
            <a:noFill/>
          </a:ln>
        </p:spPr>
        <p:txBody>
          <a:bodyPr wrap="square" rtlCol="0">
            <a:spAutoFit/>
          </a:bodyPr>
          <a:lstStyle/>
          <a:p>
            <a:pPr algn="ctr"/>
            <a:r>
              <a:rPr lang="zh-CN" altLang="en-US" b="1" dirty="0">
                <a:solidFill>
                  <a:schemeClr val="bg1"/>
                </a:solidFill>
              </a:rPr>
              <a:t>上海大学国际学生入学资格测试</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29" name="TextBox 4"/>
          <p:cNvSpPr txBox="1"/>
          <p:nvPr/>
        </p:nvSpPr>
        <p:spPr>
          <a:xfrm>
            <a:off x="8377555" y="4175760"/>
            <a:ext cx="2352675" cy="645160"/>
          </a:xfrm>
          <a:prstGeom prst="rect">
            <a:avLst/>
          </a:prstGeom>
          <a:solidFill>
            <a:schemeClr val="accent1"/>
          </a:solidFill>
          <a:ln>
            <a:noFill/>
          </a:ln>
        </p:spPr>
        <p:txBody>
          <a:bodyPr wrap="square" rtlCol="0">
            <a:spAutoFit/>
          </a:bodyPr>
          <a:lstStyle/>
          <a:p>
            <a:pPr algn="ctr"/>
            <a:r>
              <a:rPr lang="en-US" altLang="zh-CN" b="1" dirty="0">
                <a:solidFill>
                  <a:schemeClr val="bg1"/>
                </a:solidFill>
              </a:rPr>
              <a:t>Telephone interview</a:t>
            </a:r>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33" name="TextBox 23"/>
          <p:cNvSpPr txBox="1"/>
          <p:nvPr/>
        </p:nvSpPr>
        <p:spPr>
          <a:xfrm>
            <a:off x="630555" y="5012690"/>
            <a:ext cx="4037965" cy="1087755"/>
          </a:xfrm>
          <a:prstGeom prst="rect">
            <a:avLst/>
          </a:prstGeom>
          <a:noFill/>
        </p:spPr>
        <p:txBody>
          <a:bodyPr wrap="square" rtlCol="0">
            <a:spAutoFit/>
          </a:bodyPr>
          <a:lstStyle/>
          <a:p>
            <a:pPr algn="just">
              <a:lnSpc>
                <a:spcPct val="120000"/>
              </a:lnSpc>
            </a:pPr>
            <a:r>
              <a:rPr lang="en-US" altLang="zh-CN" dirty="0" smtClean="0">
                <a:latin typeface="Arial" panose="020B0604020202020204" pitchFamily="34" charset="0"/>
                <a:cs typeface="Arial" panose="020B0604020202020204" pitchFamily="34" charset="0"/>
              </a:rPr>
              <a:t>It </a:t>
            </a:r>
            <a:r>
              <a:rPr lang="en-US" altLang="zh-CN" dirty="0">
                <a:latin typeface="Arial" panose="020B0604020202020204" pitchFamily="34" charset="0"/>
                <a:cs typeface="Arial" panose="020B0604020202020204" pitchFamily="34" charset="0"/>
              </a:rPr>
              <a:t>includes questions about the applicant's personal life, education background and physical health.</a:t>
            </a:r>
            <a:endParaRPr lang="en-US" altLang="zh-CN" dirty="0">
              <a:solidFill>
                <a:schemeClr val="tx1">
                  <a:lumMod val="85000"/>
                  <a:lumOff val="15000"/>
                </a:schemeClr>
              </a:solidFill>
              <a:latin typeface="Arial" panose="020B0604020202020204" pitchFamily="34" charset="0"/>
              <a:ea typeface="方正姚体" panose="02010601030101010101" pitchFamily="2" charset="-122"/>
              <a:cs typeface="Arial" panose="020B0604020202020204" pitchFamily="34" charset="0"/>
            </a:endParaRPr>
          </a:p>
        </p:txBody>
      </p:sp>
      <p:sp>
        <p:nvSpPr>
          <p:cNvPr id="36" name="TextBox 24"/>
          <p:cNvSpPr txBox="1"/>
          <p:nvPr/>
        </p:nvSpPr>
        <p:spPr>
          <a:xfrm>
            <a:off x="4779645" y="5011420"/>
            <a:ext cx="3205480" cy="922020"/>
          </a:xfrm>
          <a:prstGeom prst="rect">
            <a:avLst/>
          </a:prstGeom>
          <a:noFill/>
        </p:spPr>
        <p:txBody>
          <a:bodyPr wrap="square" rtlCol="0">
            <a:spAutoFit/>
          </a:bodyPr>
          <a:lstStyle/>
          <a:p>
            <a:pPr algn="just"/>
            <a:r>
              <a:rPr lang="en-US" altLang="zh-CN" dirty="0">
                <a:latin typeface="Arial" panose="020B0604020202020204" pitchFamily="34" charset="0"/>
                <a:cs typeface="Arial" panose="020B0604020202020204" pitchFamily="34" charset="0"/>
              </a:rPr>
              <a:t>University Qualification Assessment (UQA) for International Students</a:t>
            </a:r>
            <a:endParaRPr lang="zh-CN" altLang="en-US" dirty="0">
              <a:solidFill>
                <a:schemeClr val="tx1">
                  <a:lumMod val="85000"/>
                  <a:lumOff val="15000"/>
                </a:schemeClr>
              </a:solidFill>
              <a:latin typeface="Arial" panose="020B0604020202020204" pitchFamily="34" charset="0"/>
              <a:ea typeface="微软雅黑" panose="020B0503020204020204" pitchFamily="34" charset="-122"/>
              <a:cs typeface="Arial" panose="020B0604020202020204" pitchFamily="34" charset="0"/>
            </a:endParaRPr>
          </a:p>
        </p:txBody>
      </p:sp>
      <p:sp>
        <p:nvSpPr>
          <p:cNvPr id="37" name="TextBox 23"/>
          <p:cNvSpPr txBox="1"/>
          <p:nvPr/>
        </p:nvSpPr>
        <p:spPr>
          <a:xfrm>
            <a:off x="8377555" y="5065395"/>
            <a:ext cx="3225800" cy="1050290"/>
          </a:xfrm>
          <a:prstGeom prst="rect">
            <a:avLst/>
          </a:prstGeom>
          <a:noFill/>
        </p:spPr>
        <p:txBody>
          <a:bodyPr wrap="square" rtlCol="0">
            <a:spAutoFit/>
          </a:bodyPr>
          <a:lstStyle/>
          <a:p>
            <a:pPr algn="just">
              <a:lnSpc>
                <a:spcPct val="120000"/>
              </a:lnSpc>
            </a:pPr>
            <a:r>
              <a:rPr lang="en-US" altLang="zh-CN" dirty="0">
                <a:latin typeface="Arial" panose="020B0604020202020204" pitchFamily="34" charset="0"/>
                <a:cs typeface="Arial" panose="020B0604020202020204" pitchFamily="34" charset="0"/>
              </a:rPr>
              <a:t>The interview language is up to course teaching language</a:t>
            </a:r>
            <a:r>
              <a:rPr lang="en-US" altLang="zh-CN" sz="1200" dirty="0" smtClean="0">
                <a:latin typeface="Arial" panose="020B0604020202020204" pitchFamily="34" charset="0"/>
                <a:cs typeface="Arial" panose="020B0604020202020204" pitchFamily="34" charset="0"/>
              </a:rPr>
              <a:t>. </a:t>
            </a:r>
            <a:r>
              <a:rPr lang="en-US" altLang="zh-CN" sz="1600" dirty="0" smtClean="0">
                <a:latin typeface="Arial" panose="020B0604020202020204" pitchFamily="34" charset="0"/>
                <a:cs typeface="Arial" panose="020B0604020202020204" pitchFamily="34" charset="0"/>
              </a:rPr>
              <a:t>10-15min</a:t>
            </a:r>
            <a:endParaRPr lang="en-US" altLang="zh-CN" sz="1600" dirty="0">
              <a:solidFill>
                <a:schemeClr val="tx1">
                  <a:lumMod val="85000"/>
                  <a:lumOff val="15000"/>
                </a:schemeClr>
              </a:solidFill>
              <a:latin typeface="Arial" panose="020B0604020202020204" pitchFamily="34" charset="0"/>
              <a:ea typeface="方正姚体" panose="02010601030101010101" pitchFamily="2" charset="-122"/>
              <a:cs typeface="Arial" panose="020B0604020202020204" pitchFamily="34" charset="0"/>
            </a:endParaRPr>
          </a:p>
        </p:txBody>
      </p:sp>
      <p:pic>
        <p:nvPicPr>
          <p:cNvPr id="5" name="图片 4" descr="上大logo最新"/>
          <p:cNvPicPr>
            <a:picLocks noChangeAspect="1"/>
          </p:cNvPicPr>
          <p:nvPr/>
        </p:nvPicPr>
        <p:blipFill>
          <a:blip r:embed="rId3"/>
          <a:stretch>
            <a:fillRect/>
          </a:stretch>
        </p:blipFill>
        <p:spPr>
          <a:xfrm>
            <a:off x="9037955" y="0"/>
            <a:ext cx="3115310" cy="939165"/>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advClick="0" advTm="1000">
        <p:split orient="vert"/>
      </p:transition>
    </mc:Choice>
    <mc:Fallback xmlns="">
      <p:transition spd="slow" advClick="0" advTm="1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2" presetClass="entr" presetSubtype="4" fill="hold" grpId="0" nodeType="after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p:tgtEl>
                                          <p:spTgt spid="33"/>
                                        </p:tgtEl>
                                        <p:attrNameLst>
                                          <p:attrName>ppt_y</p:attrName>
                                        </p:attrNameLst>
                                      </p:cBhvr>
                                      <p:tavLst>
                                        <p:tav tm="0">
                                          <p:val>
                                            <p:strVal val="#ppt_y+#ppt_h*1.125000"/>
                                          </p:val>
                                        </p:tav>
                                        <p:tav tm="100000">
                                          <p:val>
                                            <p:strVal val="#ppt_y"/>
                                          </p:val>
                                        </p:tav>
                                      </p:tavLst>
                                    </p:anim>
                                    <p:animEffect transition="in" filter="wipe(up)">
                                      <p:cBhvr>
                                        <p:cTn id="14" dur="500"/>
                                        <p:tgtEl>
                                          <p:spTgt spid="33"/>
                                        </p:tgtEl>
                                      </p:cBhvr>
                                    </p:animEffect>
                                  </p:childTnLst>
                                </p:cTn>
                              </p:par>
                              <p:par>
                                <p:cTn id="15" presetID="12" presetClass="entr" presetSubtype="1"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anim calcmode="lin" valueType="num">
                                      <p:cBhvr additive="base">
                                        <p:cTn id="17" dur="500"/>
                                        <p:tgtEl>
                                          <p:spTgt spid="36"/>
                                        </p:tgtEl>
                                        <p:attrNameLst>
                                          <p:attrName>ppt_y</p:attrName>
                                        </p:attrNameLst>
                                      </p:cBhvr>
                                      <p:tavLst>
                                        <p:tav tm="0">
                                          <p:val>
                                            <p:strVal val="#ppt_y-#ppt_h*1.125000"/>
                                          </p:val>
                                        </p:tav>
                                        <p:tav tm="100000">
                                          <p:val>
                                            <p:strVal val="#ppt_y"/>
                                          </p:val>
                                        </p:tav>
                                      </p:tavLst>
                                    </p:anim>
                                    <p:animEffect transition="in" filter="wipe(down)">
                                      <p:cBhvr>
                                        <p:cTn id="18" dur="500"/>
                                        <p:tgtEl>
                                          <p:spTgt spid="36"/>
                                        </p:tgtEl>
                                      </p:cBhvr>
                                    </p:animEffect>
                                  </p:childTnLst>
                                </p:cTn>
                              </p:par>
                            </p:childTnLst>
                          </p:cTn>
                        </p:par>
                        <p:par>
                          <p:cTn id="19" fill="hold">
                            <p:stCondLst>
                              <p:cond delay="1500"/>
                            </p:stCondLst>
                            <p:childTnLst>
                              <p:par>
                                <p:cTn id="20" presetID="12" presetClass="entr" presetSubtype="4" fill="hold" grpId="0" nodeType="afterEffect">
                                  <p:stCondLst>
                                    <p:cond delay="0"/>
                                  </p:stCondLst>
                                  <p:childTnLst>
                                    <p:set>
                                      <p:cBhvr>
                                        <p:cTn id="21" dur="1" fill="hold">
                                          <p:stCondLst>
                                            <p:cond delay="0"/>
                                          </p:stCondLst>
                                        </p:cTn>
                                        <p:tgtEl>
                                          <p:spTgt spid="37"/>
                                        </p:tgtEl>
                                        <p:attrNameLst>
                                          <p:attrName>style.visibility</p:attrName>
                                        </p:attrNameLst>
                                      </p:cBhvr>
                                      <p:to>
                                        <p:strVal val="visible"/>
                                      </p:to>
                                    </p:set>
                                    <p:anim calcmode="lin" valueType="num">
                                      <p:cBhvr additive="base">
                                        <p:cTn id="22" dur="500"/>
                                        <p:tgtEl>
                                          <p:spTgt spid="37"/>
                                        </p:tgtEl>
                                        <p:attrNameLst>
                                          <p:attrName>ppt_y</p:attrName>
                                        </p:attrNameLst>
                                      </p:cBhvr>
                                      <p:tavLst>
                                        <p:tav tm="0">
                                          <p:val>
                                            <p:strVal val="#ppt_y+#ppt_h*1.125000"/>
                                          </p:val>
                                        </p:tav>
                                        <p:tav tm="100000">
                                          <p:val>
                                            <p:strVal val="#ppt_y"/>
                                          </p:val>
                                        </p:tav>
                                      </p:tavLst>
                                    </p:anim>
                                    <p:animEffect transition="in" filter="wipe(up)">
                                      <p:cBhvr>
                                        <p:cTn id="2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6" grpId="0"/>
      <p:bldP spid="3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î$1ïdé"/>
          <p:cNvSpPr/>
          <p:nvPr/>
        </p:nvSpPr>
        <p:spPr bwMode="auto">
          <a:xfrm>
            <a:off x="0" y="5346648"/>
            <a:ext cx="12192000" cy="1511352"/>
          </a:xfrm>
          <a:prstGeom prst="rect">
            <a:avLst/>
          </a:prstGeom>
          <a:solidFill>
            <a:srgbClr val="E9EBF5">
              <a:alpha val="61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t"/>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600" b="0" i="0" u="none" strike="noStrike" kern="1200" cap="none" spc="0" normalizeH="0" baseline="0" noProof="0" dirty="0">
              <a:ln>
                <a:noFill/>
              </a:ln>
              <a:solidFill>
                <a:prstClr val="white"/>
              </a:solidFill>
              <a:effectLst/>
              <a:uLnTx/>
              <a:uFillTx/>
              <a:latin typeface="等线" panose="02010600030101010101" charset="-122"/>
              <a:ea typeface="等线" panose="02010600030101010101" charset="-122"/>
              <a:cs typeface="+mn-cs"/>
            </a:endParaRPr>
          </a:p>
        </p:txBody>
      </p:sp>
      <p:sp>
        <p:nvSpPr>
          <p:cNvPr id="61" name="文本框 60"/>
          <p:cNvSpPr txBox="1"/>
          <p:nvPr/>
        </p:nvSpPr>
        <p:spPr>
          <a:xfrm>
            <a:off x="612549" y="107047"/>
            <a:ext cx="6641228" cy="95313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3200" b="1" i="0" u="none" strike="noStrike" kern="0" cap="none" spc="400" normalizeH="0" baseline="0" noProof="0" dirty="0">
                <a:ln>
                  <a:noFill/>
                </a:ln>
                <a:solidFill>
                  <a:srgbClr val="46457A"/>
                </a:solidFill>
                <a:effectLst/>
                <a:uLnTx/>
                <a:uFillTx/>
                <a:latin typeface="Arial" panose="020B0604020202020204" pitchFamily="34" charset="0"/>
                <a:ea typeface="微软雅黑" panose="020B0503020204020204" pitchFamily="34" charset="-122"/>
                <a:cs typeface="Arial" panose="020B0604020202020204" pitchFamily="34" charset="0"/>
              </a:rPr>
              <a:t>Language Requirements</a:t>
            </a:r>
            <a:r>
              <a:rPr kumimoji="0" lang="en-US" altLang="zh-CN" sz="3200" b="1" i="0" u="none" strike="noStrike" kern="0" cap="none" spc="400" normalizeH="0" baseline="0" noProof="0" dirty="0">
                <a:ln>
                  <a:noFill/>
                </a:ln>
                <a:solidFill>
                  <a:srgbClr val="46457A"/>
                </a:solidFill>
                <a:effectLst/>
                <a:uLnTx/>
                <a:uFillTx/>
                <a:latin typeface="微软雅黑" panose="020B0503020204020204" pitchFamily="34" charset="-122"/>
                <a:ea typeface="微软雅黑" panose="020B0503020204020204" pitchFamily="34" charset="-122"/>
                <a:cs typeface="+mn-cs"/>
              </a:rPr>
              <a:t> </a:t>
            </a:r>
            <a:r>
              <a:rPr kumimoji="0" lang="en-US" altLang="zh-CN" sz="2400" b="1" i="1" u="none" strike="noStrike" kern="0" cap="none" spc="400" normalizeH="0" baseline="0" noProof="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Degree Programs)</a:t>
            </a:r>
          </a:p>
        </p:txBody>
      </p:sp>
      <p:sp>
        <p:nvSpPr>
          <p:cNvPr id="41" name="文本框 40"/>
          <p:cNvSpPr txBox="1"/>
          <p:nvPr/>
        </p:nvSpPr>
        <p:spPr>
          <a:xfrm>
            <a:off x="85283" y="5542970"/>
            <a:ext cx="6042514" cy="8915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rgbClr val="C00000"/>
                </a:solidFill>
                <a:effectLst/>
                <a:uLnTx/>
                <a:uFillTx/>
                <a:latin typeface="等线" panose="02010600030101010101" charset="-122"/>
                <a:ea typeface="等线" panose="02010600030101010101" charset="-122"/>
                <a:cs typeface="+mn-cs"/>
              </a:rPr>
              <a:t> </a:t>
            </a:r>
            <a:r>
              <a:rPr kumimoji="0" sz="2000" b="1" i="0" u="none" strike="noStrike" kern="1200" cap="none" spc="0" normalizeH="0" baseline="0" noProof="0" dirty="0">
                <a:ln>
                  <a:noFill/>
                </a:ln>
                <a:solidFill>
                  <a:srgbClr val="C00000"/>
                </a:solidFill>
                <a:effectLst/>
                <a:uLnTx/>
                <a:uFillTx/>
                <a:latin typeface="等线" panose="02010600030101010101" charset="-122"/>
                <a:ea typeface="等线" panose="02010600030101010101" charset="-122"/>
                <a:cs typeface="+mn-cs"/>
              </a:rPr>
              <a:t>HSK</a:t>
            </a:r>
            <a:r>
              <a:rPr kumimoji="0" lang="en-US" sz="2000" b="1" i="0" u="none" strike="noStrike" kern="1200" cap="none" spc="0" normalizeH="0" baseline="0" noProof="0" dirty="0">
                <a:ln>
                  <a:noFill/>
                </a:ln>
                <a:solidFill>
                  <a:srgbClr val="C00000"/>
                </a:solidFill>
                <a:effectLst/>
                <a:uLnTx/>
                <a:uFillTx/>
                <a:latin typeface="等线" panose="02010600030101010101" charset="-122"/>
                <a:ea typeface="等线" panose="02010600030101010101" charset="-122"/>
                <a:cs typeface="+mn-cs"/>
              </a:rPr>
              <a:t> Exemptions</a:t>
            </a:r>
            <a:r>
              <a:rPr kumimoji="0" lang="en-US" altLang="zh-CN" sz="2000" b="1" i="0" u="none" strike="noStrike" kern="1200" cap="none" spc="0" normalizeH="0" baseline="0" noProof="0" dirty="0">
                <a:ln>
                  <a:noFill/>
                </a:ln>
                <a:solidFill>
                  <a:srgbClr val="C00000"/>
                </a:solidFill>
                <a:effectLst/>
                <a:uLnTx/>
                <a:uFillTx/>
                <a:latin typeface="等线" panose="02010600030101010101" charset="-122"/>
                <a:ea typeface="等线" panose="02010600030101010101" charset="-122"/>
                <a:cs typeface="+mn-cs"/>
              </a:rPr>
              <a:t>:</a:t>
            </a:r>
            <a:endParaRPr kumimoji="0" lang="en-US" altLang="zh-CN" sz="2000" b="0" i="0" u="none" strike="noStrike" kern="1200" cap="none" spc="0" normalizeH="0" baseline="0" noProof="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600" b="0" i="0" u="none" strike="noStrike" kern="1200" cap="none" spc="0" normalizeH="0" baseline="0" noProof="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Graduates from independent Chinese High-Schoo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600" b="0" i="0" u="none" strike="noStrike" kern="1200" cap="none" spc="0" normalizeH="0" baseline="0" noProof="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Previous degree taught in Chinese</a:t>
            </a:r>
          </a:p>
        </p:txBody>
      </p:sp>
      <p:sp>
        <p:nvSpPr>
          <p:cNvPr id="42" name="文本框 41"/>
          <p:cNvSpPr txBox="1"/>
          <p:nvPr/>
        </p:nvSpPr>
        <p:spPr>
          <a:xfrm>
            <a:off x="6383133" y="5533321"/>
            <a:ext cx="6226629" cy="113728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rgbClr val="4472C4"/>
                </a:solidFill>
                <a:effectLst/>
                <a:uLnTx/>
                <a:uFillTx/>
                <a:latin typeface="等线" panose="02010600030101010101" charset="-122"/>
                <a:ea typeface="等线" panose="02010600030101010101" charset="-122"/>
                <a:cs typeface="+mn-cs"/>
              </a:rPr>
              <a:t>Exemptions:</a:t>
            </a:r>
            <a:endParaRPr kumimoji="0" lang="en-US" altLang="zh-CN" sz="2000" b="0" i="0" u="none" strike="noStrike" kern="1200" cap="none" spc="0" normalizeH="0" baseline="0" noProof="0" dirty="0">
              <a:ln>
                <a:noFill/>
              </a:ln>
              <a:solidFill>
                <a:prstClr val="black"/>
              </a:solidFill>
              <a:effectLst/>
              <a:uLnTx/>
              <a:uFillTx/>
              <a:latin typeface="等线" panose="02010600030101010101" charset="-122"/>
              <a:ea typeface="等线" panose="02010600030101010101" charset="-122"/>
              <a:cs typeface="+mn-cs"/>
            </a:endParaRP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600" b="0" i="0" u="none" strike="noStrike" kern="1200" cap="none" spc="0" normalizeH="0" baseline="0" noProof="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English as mother tongue or official language;</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en-US" altLang="zh-CN" sz="1600" b="0" i="0" u="none" strike="noStrike" kern="1200" cap="none" spc="0" normalizeH="0" baseline="0" noProof="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Previous degree taught in English.</a:t>
            </a:r>
          </a:p>
        </p:txBody>
      </p:sp>
      <p:grpSp>
        <p:nvGrpSpPr>
          <p:cNvPr id="311" name="组合 31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4001665" y="1757274"/>
            <a:ext cx="3650788" cy="2770063"/>
            <a:chOff x="2679700" y="873126"/>
            <a:chExt cx="6797676" cy="5157788"/>
          </a:xfrm>
        </p:grpSpPr>
        <p:sp>
          <p:nvSpPr>
            <p:cNvPr id="312" name="îsļíḋè"/>
            <p:cNvSpPr/>
            <p:nvPr/>
          </p:nvSpPr>
          <p:spPr bwMode="auto">
            <a:xfrm>
              <a:off x="2989263" y="5759451"/>
              <a:ext cx="6488113" cy="214313"/>
            </a:xfrm>
            <a:custGeom>
              <a:avLst/>
              <a:gdLst>
                <a:gd name="T0" fmla="*/ 1080 w 3396"/>
                <a:gd name="T1" fmla="*/ 0 h 112"/>
                <a:gd name="T2" fmla="*/ 783 w 3396"/>
                <a:gd name="T3" fmla="*/ 4 h 112"/>
                <a:gd name="T4" fmla="*/ 783 w 3396"/>
                <a:gd name="T5" fmla="*/ 5 h 112"/>
                <a:gd name="T6" fmla="*/ 781 w 3396"/>
                <a:gd name="T7" fmla="*/ 4 h 112"/>
                <a:gd name="T8" fmla="*/ 220 w 3396"/>
                <a:gd name="T9" fmla="*/ 12 h 112"/>
                <a:gd name="T10" fmla="*/ 101 w 3396"/>
                <a:gd name="T11" fmla="*/ 44 h 112"/>
                <a:gd name="T12" fmla="*/ 0 w 3396"/>
                <a:gd name="T13" fmla="*/ 76 h 112"/>
                <a:gd name="T14" fmla="*/ 1596 w 3396"/>
                <a:gd name="T15" fmla="*/ 112 h 112"/>
                <a:gd name="T16" fmla="*/ 3108 w 3396"/>
                <a:gd name="T17" fmla="*/ 72 h 112"/>
                <a:gd name="T18" fmla="*/ 3396 w 3396"/>
                <a:gd name="T19" fmla="*/ 12 h 112"/>
                <a:gd name="T20" fmla="*/ 2956 w 3396"/>
                <a:gd name="T21" fmla="*/ 20 h 112"/>
                <a:gd name="T22" fmla="*/ 2544 w 3396"/>
                <a:gd name="T23" fmla="*/ 20 h 112"/>
                <a:gd name="T24" fmla="*/ 2485 w 3396"/>
                <a:gd name="T25" fmla="*/ 19 h 112"/>
                <a:gd name="T26" fmla="*/ 2482 w 3396"/>
                <a:gd name="T27" fmla="*/ 20 h 112"/>
                <a:gd name="T28" fmla="*/ 2481 w 3396"/>
                <a:gd name="T29" fmla="*/ 19 h 112"/>
                <a:gd name="T30" fmla="*/ 1927 w 3396"/>
                <a:gd name="T31" fmla="*/ 12 h 112"/>
                <a:gd name="T32" fmla="*/ 1710 w 3396"/>
                <a:gd name="T33" fmla="*/ 87 h 112"/>
                <a:gd name="T34" fmla="*/ 1587 w 3396"/>
                <a:gd name="T35" fmla="*/ 98 h 112"/>
                <a:gd name="T36" fmla="*/ 1248 w 3396"/>
                <a:gd name="T37" fmla="*/ 2 h 112"/>
                <a:gd name="T38" fmla="*/ 1080 w 3396"/>
                <a:gd name="T3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96" h="112">
                  <a:moveTo>
                    <a:pt x="1080" y="0"/>
                  </a:moveTo>
                  <a:cubicBezTo>
                    <a:pt x="783" y="4"/>
                    <a:pt x="783" y="4"/>
                    <a:pt x="783" y="4"/>
                  </a:cubicBezTo>
                  <a:cubicBezTo>
                    <a:pt x="783" y="5"/>
                    <a:pt x="783" y="5"/>
                    <a:pt x="783" y="5"/>
                  </a:cubicBezTo>
                  <a:cubicBezTo>
                    <a:pt x="781" y="4"/>
                    <a:pt x="781" y="4"/>
                    <a:pt x="781" y="4"/>
                  </a:cubicBezTo>
                  <a:cubicBezTo>
                    <a:pt x="220" y="12"/>
                    <a:pt x="220" y="12"/>
                    <a:pt x="220" y="12"/>
                  </a:cubicBezTo>
                  <a:cubicBezTo>
                    <a:pt x="101" y="44"/>
                    <a:pt x="101" y="44"/>
                    <a:pt x="101" y="44"/>
                  </a:cubicBezTo>
                  <a:cubicBezTo>
                    <a:pt x="0" y="76"/>
                    <a:pt x="0" y="76"/>
                    <a:pt x="0" y="76"/>
                  </a:cubicBezTo>
                  <a:cubicBezTo>
                    <a:pt x="1596" y="112"/>
                    <a:pt x="1596" y="112"/>
                    <a:pt x="1596" y="112"/>
                  </a:cubicBezTo>
                  <a:cubicBezTo>
                    <a:pt x="3108" y="72"/>
                    <a:pt x="3108" y="72"/>
                    <a:pt x="3108" y="72"/>
                  </a:cubicBezTo>
                  <a:cubicBezTo>
                    <a:pt x="3396" y="12"/>
                    <a:pt x="3396" y="12"/>
                    <a:pt x="3396" y="12"/>
                  </a:cubicBezTo>
                  <a:cubicBezTo>
                    <a:pt x="2956" y="20"/>
                    <a:pt x="2956" y="20"/>
                    <a:pt x="2956" y="20"/>
                  </a:cubicBezTo>
                  <a:cubicBezTo>
                    <a:pt x="2544" y="20"/>
                    <a:pt x="2544" y="20"/>
                    <a:pt x="2544" y="20"/>
                  </a:cubicBezTo>
                  <a:cubicBezTo>
                    <a:pt x="2485" y="19"/>
                    <a:pt x="2485" y="19"/>
                    <a:pt x="2485" y="19"/>
                  </a:cubicBezTo>
                  <a:cubicBezTo>
                    <a:pt x="2482" y="20"/>
                    <a:pt x="2482" y="20"/>
                    <a:pt x="2482" y="20"/>
                  </a:cubicBezTo>
                  <a:cubicBezTo>
                    <a:pt x="2481" y="19"/>
                    <a:pt x="2481" y="19"/>
                    <a:pt x="2481" y="19"/>
                  </a:cubicBezTo>
                  <a:cubicBezTo>
                    <a:pt x="1927" y="12"/>
                    <a:pt x="1927" y="12"/>
                    <a:pt x="1927" y="12"/>
                  </a:cubicBezTo>
                  <a:cubicBezTo>
                    <a:pt x="1862" y="47"/>
                    <a:pt x="1789" y="73"/>
                    <a:pt x="1710" y="87"/>
                  </a:cubicBezTo>
                  <a:cubicBezTo>
                    <a:pt x="1669" y="94"/>
                    <a:pt x="1628" y="98"/>
                    <a:pt x="1587" y="98"/>
                  </a:cubicBezTo>
                  <a:cubicBezTo>
                    <a:pt x="1463" y="98"/>
                    <a:pt x="1346" y="64"/>
                    <a:pt x="1248" y="2"/>
                  </a:cubicBezTo>
                  <a:cubicBezTo>
                    <a:pt x="1080" y="0"/>
                    <a:pt x="1080" y="0"/>
                    <a:pt x="1080" y="0"/>
                  </a:cubicBezTo>
                </a:path>
              </a:pathLst>
            </a:custGeom>
            <a:solidFill>
              <a:srgbClr val="EAEAEA"/>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13" name="işḷîďe"/>
            <p:cNvSpPr/>
            <p:nvPr/>
          </p:nvSpPr>
          <p:spPr bwMode="auto">
            <a:xfrm>
              <a:off x="6637338" y="2151063"/>
              <a:ext cx="136525" cy="236538"/>
            </a:xfrm>
            <a:custGeom>
              <a:avLst/>
              <a:gdLst>
                <a:gd name="T0" fmla="*/ 29 w 72"/>
                <a:gd name="T1" fmla="*/ 119 h 124"/>
                <a:gd name="T2" fmla="*/ 6 w 72"/>
                <a:gd name="T3" fmla="*/ 63 h 124"/>
                <a:gd name="T4" fmla="*/ 25 w 72"/>
                <a:gd name="T5" fmla="*/ 66 h 124"/>
                <a:gd name="T6" fmla="*/ 40 w 72"/>
                <a:gd name="T7" fmla="*/ 16 h 124"/>
                <a:gd name="T8" fmla="*/ 71 w 72"/>
                <a:gd name="T9" fmla="*/ 76 h 124"/>
                <a:gd name="T10" fmla="*/ 71 w 72"/>
                <a:gd name="T11" fmla="*/ 77 h 124"/>
                <a:gd name="T12" fmla="*/ 43 w 72"/>
                <a:gd name="T13" fmla="*/ 124 h 124"/>
                <a:gd name="T14" fmla="*/ 29 w 72"/>
                <a:gd name="T15" fmla="*/ 119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24">
                  <a:moveTo>
                    <a:pt x="29" y="119"/>
                  </a:moveTo>
                  <a:cubicBezTo>
                    <a:pt x="23" y="114"/>
                    <a:pt x="0" y="64"/>
                    <a:pt x="6" y="63"/>
                  </a:cubicBezTo>
                  <a:cubicBezTo>
                    <a:pt x="12" y="63"/>
                    <a:pt x="18" y="65"/>
                    <a:pt x="25" y="66"/>
                  </a:cubicBezTo>
                  <a:cubicBezTo>
                    <a:pt x="23" y="48"/>
                    <a:pt x="5" y="0"/>
                    <a:pt x="40" y="16"/>
                  </a:cubicBezTo>
                  <a:cubicBezTo>
                    <a:pt x="56" y="23"/>
                    <a:pt x="72" y="61"/>
                    <a:pt x="71" y="76"/>
                  </a:cubicBezTo>
                  <a:cubicBezTo>
                    <a:pt x="71" y="77"/>
                    <a:pt x="71" y="77"/>
                    <a:pt x="71" y="77"/>
                  </a:cubicBezTo>
                  <a:cubicBezTo>
                    <a:pt x="43" y="124"/>
                    <a:pt x="43" y="124"/>
                    <a:pt x="43" y="124"/>
                  </a:cubicBezTo>
                  <a:cubicBezTo>
                    <a:pt x="39" y="124"/>
                    <a:pt x="34" y="122"/>
                    <a:pt x="29" y="119"/>
                  </a:cubicBezTo>
                  <a:close/>
                </a:path>
              </a:pathLst>
            </a:custGeom>
            <a:solidFill>
              <a:srgbClr val="EAC5B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14" name="îṧḻïḋe"/>
            <p:cNvSpPr/>
            <p:nvPr/>
          </p:nvSpPr>
          <p:spPr bwMode="auto">
            <a:xfrm>
              <a:off x="7113588" y="2603501"/>
              <a:ext cx="377825" cy="417513"/>
            </a:xfrm>
            <a:custGeom>
              <a:avLst/>
              <a:gdLst>
                <a:gd name="T0" fmla="*/ 83 w 197"/>
                <a:gd name="T1" fmla="*/ 219 h 219"/>
                <a:gd name="T2" fmla="*/ 140 w 197"/>
                <a:gd name="T3" fmla="*/ 216 h 219"/>
                <a:gd name="T4" fmla="*/ 139 w 197"/>
                <a:gd name="T5" fmla="*/ 171 h 219"/>
                <a:gd name="T6" fmla="*/ 172 w 197"/>
                <a:gd name="T7" fmla="*/ 154 h 219"/>
                <a:gd name="T8" fmla="*/ 184 w 197"/>
                <a:gd name="T9" fmla="*/ 114 h 219"/>
                <a:gd name="T10" fmla="*/ 183 w 197"/>
                <a:gd name="T11" fmla="*/ 34 h 219"/>
                <a:gd name="T12" fmla="*/ 109 w 197"/>
                <a:gd name="T13" fmla="*/ 1 h 219"/>
                <a:gd name="T14" fmla="*/ 17 w 197"/>
                <a:gd name="T15" fmla="*/ 41 h 219"/>
                <a:gd name="T16" fmla="*/ 27 w 197"/>
                <a:gd name="T17" fmla="*/ 138 h 219"/>
                <a:gd name="T18" fmla="*/ 47 w 197"/>
                <a:gd name="T19" fmla="*/ 174 h 219"/>
                <a:gd name="T20" fmla="*/ 69 w 197"/>
                <a:gd name="T21" fmla="*/ 181 h 219"/>
                <a:gd name="T22" fmla="*/ 83 w 197"/>
                <a:gd name="T23"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19">
                  <a:moveTo>
                    <a:pt x="83" y="219"/>
                  </a:moveTo>
                  <a:cubicBezTo>
                    <a:pt x="102" y="218"/>
                    <a:pt x="121" y="217"/>
                    <a:pt x="140" y="216"/>
                  </a:cubicBezTo>
                  <a:cubicBezTo>
                    <a:pt x="141" y="201"/>
                    <a:pt x="140" y="186"/>
                    <a:pt x="139" y="171"/>
                  </a:cubicBezTo>
                  <a:cubicBezTo>
                    <a:pt x="139" y="173"/>
                    <a:pt x="169" y="157"/>
                    <a:pt x="172" y="154"/>
                  </a:cubicBezTo>
                  <a:cubicBezTo>
                    <a:pt x="180" y="143"/>
                    <a:pt x="181" y="126"/>
                    <a:pt x="184" y="114"/>
                  </a:cubicBezTo>
                  <a:cubicBezTo>
                    <a:pt x="191" y="87"/>
                    <a:pt x="197" y="58"/>
                    <a:pt x="183" y="34"/>
                  </a:cubicBezTo>
                  <a:cubicBezTo>
                    <a:pt x="169" y="10"/>
                    <a:pt x="138" y="2"/>
                    <a:pt x="109" y="1"/>
                  </a:cubicBezTo>
                  <a:cubicBezTo>
                    <a:pt x="74" y="0"/>
                    <a:pt x="35" y="11"/>
                    <a:pt x="17" y="41"/>
                  </a:cubicBezTo>
                  <a:cubicBezTo>
                    <a:pt x="0" y="68"/>
                    <a:pt x="21" y="109"/>
                    <a:pt x="27" y="138"/>
                  </a:cubicBezTo>
                  <a:cubicBezTo>
                    <a:pt x="30" y="152"/>
                    <a:pt x="34" y="168"/>
                    <a:pt x="47" y="174"/>
                  </a:cubicBezTo>
                  <a:cubicBezTo>
                    <a:pt x="54" y="177"/>
                    <a:pt x="63" y="177"/>
                    <a:pt x="69" y="181"/>
                  </a:cubicBezTo>
                  <a:cubicBezTo>
                    <a:pt x="80" y="189"/>
                    <a:pt x="78" y="206"/>
                    <a:pt x="83" y="219"/>
                  </a:cubicBezTo>
                  <a:close/>
                </a:path>
              </a:pathLst>
            </a:custGeom>
            <a:solidFill>
              <a:srgbClr val="EAC5B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15" name="íṡlíḑè"/>
            <p:cNvSpPr/>
            <p:nvPr/>
          </p:nvSpPr>
          <p:spPr bwMode="auto">
            <a:xfrm>
              <a:off x="7024688" y="2359026"/>
              <a:ext cx="590550" cy="515938"/>
            </a:xfrm>
            <a:custGeom>
              <a:avLst/>
              <a:gdLst>
                <a:gd name="T0" fmla="*/ 8 w 309"/>
                <a:gd name="T1" fmla="*/ 117 h 270"/>
                <a:gd name="T2" fmla="*/ 2 w 309"/>
                <a:gd name="T3" fmla="*/ 58 h 270"/>
                <a:gd name="T4" fmla="*/ 2 w 309"/>
                <a:gd name="T5" fmla="*/ 36 h 270"/>
                <a:gd name="T6" fmla="*/ 30 w 309"/>
                <a:gd name="T7" fmla="*/ 15 h 270"/>
                <a:gd name="T8" fmla="*/ 66 w 309"/>
                <a:gd name="T9" fmla="*/ 9 h 270"/>
                <a:gd name="T10" fmla="*/ 103 w 309"/>
                <a:gd name="T11" fmla="*/ 1 h 270"/>
                <a:gd name="T12" fmla="*/ 171 w 309"/>
                <a:gd name="T13" fmla="*/ 29 h 270"/>
                <a:gd name="T14" fmla="*/ 256 w 309"/>
                <a:gd name="T15" fmla="*/ 58 h 270"/>
                <a:gd name="T16" fmla="*/ 264 w 309"/>
                <a:gd name="T17" fmla="*/ 81 h 270"/>
                <a:gd name="T18" fmla="*/ 282 w 309"/>
                <a:gd name="T19" fmla="*/ 107 h 270"/>
                <a:gd name="T20" fmla="*/ 268 w 309"/>
                <a:gd name="T21" fmla="*/ 235 h 270"/>
                <a:gd name="T22" fmla="*/ 224 w 309"/>
                <a:gd name="T23" fmla="*/ 270 h 270"/>
                <a:gd name="T24" fmla="*/ 194 w 309"/>
                <a:gd name="T25" fmla="*/ 161 h 270"/>
                <a:gd name="T26" fmla="*/ 157 w 309"/>
                <a:gd name="T27" fmla="*/ 169 h 270"/>
                <a:gd name="T28" fmla="*/ 106 w 309"/>
                <a:gd name="T29" fmla="*/ 181 h 270"/>
                <a:gd name="T30" fmla="*/ 29 w 309"/>
                <a:gd name="T31" fmla="*/ 200 h 270"/>
                <a:gd name="T32" fmla="*/ 19 w 309"/>
                <a:gd name="T33" fmla="*/ 198 h 270"/>
                <a:gd name="T34" fmla="*/ 16 w 309"/>
                <a:gd name="T35" fmla="*/ 190 h 270"/>
                <a:gd name="T36" fmla="*/ 8 w 309"/>
                <a:gd name="T37" fmla="*/ 11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9" h="270">
                  <a:moveTo>
                    <a:pt x="8" y="117"/>
                  </a:moveTo>
                  <a:cubicBezTo>
                    <a:pt x="6" y="97"/>
                    <a:pt x="4" y="78"/>
                    <a:pt x="2" y="58"/>
                  </a:cubicBezTo>
                  <a:cubicBezTo>
                    <a:pt x="1" y="51"/>
                    <a:pt x="0" y="43"/>
                    <a:pt x="2" y="36"/>
                  </a:cubicBezTo>
                  <a:cubicBezTo>
                    <a:pt x="6" y="25"/>
                    <a:pt x="18" y="18"/>
                    <a:pt x="30" y="15"/>
                  </a:cubicBezTo>
                  <a:cubicBezTo>
                    <a:pt x="41" y="12"/>
                    <a:pt x="54" y="11"/>
                    <a:pt x="66" y="9"/>
                  </a:cubicBezTo>
                  <a:cubicBezTo>
                    <a:pt x="78" y="6"/>
                    <a:pt x="90" y="0"/>
                    <a:pt x="103" y="1"/>
                  </a:cubicBezTo>
                  <a:cubicBezTo>
                    <a:pt x="128" y="2"/>
                    <a:pt x="147" y="25"/>
                    <a:pt x="171" y="29"/>
                  </a:cubicBezTo>
                  <a:cubicBezTo>
                    <a:pt x="205" y="34"/>
                    <a:pt x="236" y="19"/>
                    <a:pt x="256" y="58"/>
                  </a:cubicBezTo>
                  <a:cubicBezTo>
                    <a:pt x="260" y="66"/>
                    <a:pt x="261" y="74"/>
                    <a:pt x="264" y="81"/>
                  </a:cubicBezTo>
                  <a:cubicBezTo>
                    <a:pt x="268" y="91"/>
                    <a:pt x="276" y="99"/>
                    <a:pt x="282" y="107"/>
                  </a:cubicBezTo>
                  <a:cubicBezTo>
                    <a:pt x="309" y="145"/>
                    <a:pt x="300" y="203"/>
                    <a:pt x="268" y="235"/>
                  </a:cubicBezTo>
                  <a:cubicBezTo>
                    <a:pt x="252" y="251"/>
                    <a:pt x="246" y="265"/>
                    <a:pt x="224" y="270"/>
                  </a:cubicBezTo>
                  <a:cubicBezTo>
                    <a:pt x="234" y="250"/>
                    <a:pt x="221" y="170"/>
                    <a:pt x="194" y="161"/>
                  </a:cubicBezTo>
                  <a:cubicBezTo>
                    <a:pt x="187" y="159"/>
                    <a:pt x="165" y="168"/>
                    <a:pt x="157" y="169"/>
                  </a:cubicBezTo>
                  <a:cubicBezTo>
                    <a:pt x="140" y="171"/>
                    <a:pt x="123" y="174"/>
                    <a:pt x="106" y="181"/>
                  </a:cubicBezTo>
                  <a:cubicBezTo>
                    <a:pt x="82" y="191"/>
                    <a:pt x="55" y="198"/>
                    <a:pt x="29" y="200"/>
                  </a:cubicBezTo>
                  <a:cubicBezTo>
                    <a:pt x="25" y="201"/>
                    <a:pt x="22" y="201"/>
                    <a:pt x="19" y="198"/>
                  </a:cubicBezTo>
                  <a:cubicBezTo>
                    <a:pt x="17" y="196"/>
                    <a:pt x="16" y="193"/>
                    <a:pt x="16" y="190"/>
                  </a:cubicBezTo>
                  <a:cubicBezTo>
                    <a:pt x="13" y="165"/>
                    <a:pt x="11" y="141"/>
                    <a:pt x="8" y="117"/>
                  </a:cubicBez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16" name="ïsḻíďè"/>
            <p:cNvSpPr/>
            <p:nvPr/>
          </p:nvSpPr>
          <p:spPr bwMode="auto">
            <a:xfrm>
              <a:off x="7675563" y="5707063"/>
              <a:ext cx="184150" cy="211138"/>
            </a:xfrm>
            <a:custGeom>
              <a:avLst/>
              <a:gdLst>
                <a:gd name="T0" fmla="*/ 106 w 116"/>
                <a:gd name="T1" fmla="*/ 38 h 133"/>
                <a:gd name="T2" fmla="*/ 116 w 116"/>
                <a:gd name="T3" fmla="*/ 77 h 133"/>
                <a:gd name="T4" fmla="*/ 48 w 116"/>
                <a:gd name="T5" fmla="*/ 133 h 133"/>
                <a:gd name="T6" fmla="*/ 0 w 116"/>
                <a:gd name="T7" fmla="*/ 103 h 133"/>
                <a:gd name="T8" fmla="*/ 30 w 116"/>
                <a:gd name="T9" fmla="*/ 56 h 133"/>
                <a:gd name="T10" fmla="*/ 98 w 116"/>
                <a:gd name="T11" fmla="*/ 0 h 133"/>
                <a:gd name="T12" fmla="*/ 106 w 116"/>
                <a:gd name="T13" fmla="*/ 38 h 133"/>
              </a:gdLst>
              <a:ahLst/>
              <a:cxnLst>
                <a:cxn ang="0">
                  <a:pos x="T0" y="T1"/>
                </a:cxn>
                <a:cxn ang="0">
                  <a:pos x="T2" y="T3"/>
                </a:cxn>
                <a:cxn ang="0">
                  <a:pos x="T4" y="T5"/>
                </a:cxn>
                <a:cxn ang="0">
                  <a:pos x="T6" y="T7"/>
                </a:cxn>
                <a:cxn ang="0">
                  <a:pos x="T8" y="T9"/>
                </a:cxn>
                <a:cxn ang="0">
                  <a:pos x="T10" y="T11"/>
                </a:cxn>
                <a:cxn ang="0">
                  <a:pos x="T12" y="T13"/>
                </a:cxn>
              </a:cxnLst>
              <a:rect l="0" t="0" r="r" b="b"/>
              <a:pathLst>
                <a:path w="116" h="133">
                  <a:moveTo>
                    <a:pt x="106" y="38"/>
                  </a:moveTo>
                  <a:lnTo>
                    <a:pt x="116" y="77"/>
                  </a:lnTo>
                  <a:lnTo>
                    <a:pt x="48" y="133"/>
                  </a:lnTo>
                  <a:lnTo>
                    <a:pt x="0" y="103"/>
                  </a:lnTo>
                  <a:lnTo>
                    <a:pt x="30" y="56"/>
                  </a:lnTo>
                  <a:lnTo>
                    <a:pt x="98" y="0"/>
                  </a:lnTo>
                  <a:lnTo>
                    <a:pt x="106" y="38"/>
                  </a:ln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17" name="îṥḷiḋé"/>
            <p:cNvSpPr/>
            <p:nvPr/>
          </p:nvSpPr>
          <p:spPr bwMode="auto">
            <a:xfrm>
              <a:off x="7119938" y="3889376"/>
              <a:ext cx="725488" cy="1908175"/>
            </a:xfrm>
            <a:custGeom>
              <a:avLst/>
              <a:gdLst>
                <a:gd name="T0" fmla="*/ 302 w 457"/>
                <a:gd name="T1" fmla="*/ 0 h 1202"/>
                <a:gd name="T2" fmla="*/ 330 w 457"/>
                <a:gd name="T3" fmla="*/ 117 h 1202"/>
                <a:gd name="T4" fmla="*/ 294 w 457"/>
                <a:gd name="T5" fmla="*/ 657 h 1202"/>
                <a:gd name="T6" fmla="*/ 457 w 457"/>
                <a:gd name="T7" fmla="*/ 1170 h 1202"/>
                <a:gd name="T8" fmla="*/ 385 w 457"/>
                <a:gd name="T9" fmla="*/ 1202 h 1202"/>
                <a:gd name="T10" fmla="*/ 58 w 457"/>
                <a:gd name="T11" fmla="*/ 611 h 1202"/>
                <a:gd name="T12" fmla="*/ 19 w 457"/>
                <a:gd name="T13" fmla="*/ 421 h 1202"/>
                <a:gd name="T14" fmla="*/ 0 w 457"/>
                <a:gd name="T15" fmla="*/ 21 h 1202"/>
                <a:gd name="T16" fmla="*/ 302 w 457"/>
                <a:gd name="T17"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7" h="1202">
                  <a:moveTo>
                    <a:pt x="302" y="0"/>
                  </a:moveTo>
                  <a:lnTo>
                    <a:pt x="330" y="117"/>
                  </a:lnTo>
                  <a:lnTo>
                    <a:pt x="294" y="657"/>
                  </a:lnTo>
                  <a:lnTo>
                    <a:pt x="457" y="1170"/>
                  </a:lnTo>
                  <a:lnTo>
                    <a:pt x="385" y="1202"/>
                  </a:lnTo>
                  <a:lnTo>
                    <a:pt x="58" y="611"/>
                  </a:lnTo>
                  <a:lnTo>
                    <a:pt x="19" y="421"/>
                  </a:lnTo>
                  <a:lnTo>
                    <a:pt x="0" y="21"/>
                  </a:lnTo>
                  <a:lnTo>
                    <a:pt x="302" y="0"/>
                  </a:ln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18" name="ïšļíḑe"/>
            <p:cNvSpPr/>
            <p:nvPr/>
          </p:nvSpPr>
          <p:spPr bwMode="auto">
            <a:xfrm>
              <a:off x="7119938" y="3889376"/>
              <a:ext cx="725488" cy="1908175"/>
            </a:xfrm>
            <a:custGeom>
              <a:avLst/>
              <a:gdLst>
                <a:gd name="T0" fmla="*/ 302 w 457"/>
                <a:gd name="T1" fmla="*/ 0 h 1202"/>
                <a:gd name="T2" fmla="*/ 330 w 457"/>
                <a:gd name="T3" fmla="*/ 117 h 1202"/>
                <a:gd name="T4" fmla="*/ 294 w 457"/>
                <a:gd name="T5" fmla="*/ 657 h 1202"/>
                <a:gd name="T6" fmla="*/ 457 w 457"/>
                <a:gd name="T7" fmla="*/ 1170 h 1202"/>
                <a:gd name="T8" fmla="*/ 385 w 457"/>
                <a:gd name="T9" fmla="*/ 1202 h 1202"/>
                <a:gd name="T10" fmla="*/ 58 w 457"/>
                <a:gd name="T11" fmla="*/ 611 h 1202"/>
                <a:gd name="T12" fmla="*/ 19 w 457"/>
                <a:gd name="T13" fmla="*/ 421 h 1202"/>
                <a:gd name="T14" fmla="*/ 0 w 457"/>
                <a:gd name="T15" fmla="*/ 21 h 1202"/>
                <a:gd name="T16" fmla="*/ 302 w 457"/>
                <a:gd name="T17"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7" h="1202">
                  <a:moveTo>
                    <a:pt x="302" y="0"/>
                  </a:moveTo>
                  <a:lnTo>
                    <a:pt x="330" y="117"/>
                  </a:lnTo>
                  <a:lnTo>
                    <a:pt x="294" y="657"/>
                  </a:lnTo>
                  <a:lnTo>
                    <a:pt x="457" y="1170"/>
                  </a:lnTo>
                  <a:lnTo>
                    <a:pt x="385" y="1202"/>
                  </a:lnTo>
                  <a:lnTo>
                    <a:pt x="58" y="611"/>
                  </a:lnTo>
                  <a:lnTo>
                    <a:pt x="19" y="421"/>
                  </a:lnTo>
                  <a:lnTo>
                    <a:pt x="0" y="21"/>
                  </a:lnTo>
                  <a:lnTo>
                    <a:pt x="3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19" name="iṩľíďe"/>
            <p:cNvSpPr/>
            <p:nvPr/>
          </p:nvSpPr>
          <p:spPr bwMode="auto">
            <a:xfrm>
              <a:off x="6869113" y="3892551"/>
              <a:ext cx="496888" cy="1893888"/>
            </a:xfrm>
            <a:custGeom>
              <a:avLst/>
              <a:gdLst>
                <a:gd name="T0" fmla="*/ 6 w 313"/>
                <a:gd name="T1" fmla="*/ 45 h 1193"/>
                <a:gd name="T2" fmla="*/ 0 w 313"/>
                <a:gd name="T3" fmla="*/ 547 h 1193"/>
                <a:gd name="T4" fmla="*/ 95 w 313"/>
                <a:gd name="T5" fmla="*/ 1193 h 1193"/>
                <a:gd name="T6" fmla="*/ 168 w 313"/>
                <a:gd name="T7" fmla="*/ 1193 h 1193"/>
                <a:gd name="T8" fmla="*/ 215 w 313"/>
                <a:gd name="T9" fmla="*/ 596 h 1193"/>
                <a:gd name="T10" fmla="*/ 313 w 313"/>
                <a:gd name="T11" fmla="*/ 0 h 1193"/>
                <a:gd name="T12" fmla="*/ 6 w 313"/>
                <a:gd name="T13" fmla="*/ 45 h 1193"/>
              </a:gdLst>
              <a:ahLst/>
              <a:cxnLst>
                <a:cxn ang="0">
                  <a:pos x="T0" y="T1"/>
                </a:cxn>
                <a:cxn ang="0">
                  <a:pos x="T2" y="T3"/>
                </a:cxn>
                <a:cxn ang="0">
                  <a:pos x="T4" y="T5"/>
                </a:cxn>
                <a:cxn ang="0">
                  <a:pos x="T6" y="T7"/>
                </a:cxn>
                <a:cxn ang="0">
                  <a:pos x="T8" y="T9"/>
                </a:cxn>
                <a:cxn ang="0">
                  <a:pos x="T10" y="T11"/>
                </a:cxn>
                <a:cxn ang="0">
                  <a:pos x="T12" y="T13"/>
                </a:cxn>
              </a:cxnLst>
              <a:rect l="0" t="0" r="r" b="b"/>
              <a:pathLst>
                <a:path w="313" h="1193">
                  <a:moveTo>
                    <a:pt x="6" y="45"/>
                  </a:moveTo>
                  <a:lnTo>
                    <a:pt x="0" y="547"/>
                  </a:lnTo>
                  <a:lnTo>
                    <a:pt x="95" y="1193"/>
                  </a:lnTo>
                  <a:lnTo>
                    <a:pt x="168" y="1193"/>
                  </a:lnTo>
                  <a:lnTo>
                    <a:pt x="215" y="596"/>
                  </a:lnTo>
                  <a:lnTo>
                    <a:pt x="313" y="0"/>
                  </a:lnTo>
                  <a:lnTo>
                    <a:pt x="6" y="45"/>
                  </a:ln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20" name="iśļíde"/>
            <p:cNvSpPr/>
            <p:nvPr/>
          </p:nvSpPr>
          <p:spPr bwMode="auto">
            <a:xfrm>
              <a:off x="6869113" y="3892551"/>
              <a:ext cx="496888" cy="1893888"/>
            </a:xfrm>
            <a:custGeom>
              <a:avLst/>
              <a:gdLst>
                <a:gd name="T0" fmla="*/ 6 w 313"/>
                <a:gd name="T1" fmla="*/ 45 h 1193"/>
                <a:gd name="T2" fmla="*/ 0 w 313"/>
                <a:gd name="T3" fmla="*/ 547 h 1193"/>
                <a:gd name="T4" fmla="*/ 95 w 313"/>
                <a:gd name="T5" fmla="*/ 1193 h 1193"/>
                <a:gd name="T6" fmla="*/ 168 w 313"/>
                <a:gd name="T7" fmla="*/ 1193 h 1193"/>
                <a:gd name="T8" fmla="*/ 215 w 313"/>
                <a:gd name="T9" fmla="*/ 596 h 1193"/>
                <a:gd name="T10" fmla="*/ 313 w 313"/>
                <a:gd name="T11" fmla="*/ 0 h 1193"/>
                <a:gd name="T12" fmla="*/ 6 w 313"/>
                <a:gd name="T13" fmla="*/ 45 h 1193"/>
              </a:gdLst>
              <a:ahLst/>
              <a:cxnLst>
                <a:cxn ang="0">
                  <a:pos x="T0" y="T1"/>
                </a:cxn>
                <a:cxn ang="0">
                  <a:pos x="T2" y="T3"/>
                </a:cxn>
                <a:cxn ang="0">
                  <a:pos x="T4" y="T5"/>
                </a:cxn>
                <a:cxn ang="0">
                  <a:pos x="T6" y="T7"/>
                </a:cxn>
                <a:cxn ang="0">
                  <a:pos x="T8" y="T9"/>
                </a:cxn>
                <a:cxn ang="0">
                  <a:pos x="T10" y="T11"/>
                </a:cxn>
                <a:cxn ang="0">
                  <a:pos x="T12" y="T13"/>
                </a:cxn>
              </a:cxnLst>
              <a:rect l="0" t="0" r="r" b="b"/>
              <a:pathLst>
                <a:path w="313" h="1193">
                  <a:moveTo>
                    <a:pt x="6" y="45"/>
                  </a:moveTo>
                  <a:lnTo>
                    <a:pt x="0" y="547"/>
                  </a:lnTo>
                  <a:lnTo>
                    <a:pt x="95" y="1193"/>
                  </a:lnTo>
                  <a:lnTo>
                    <a:pt x="168" y="1193"/>
                  </a:lnTo>
                  <a:lnTo>
                    <a:pt x="215" y="596"/>
                  </a:lnTo>
                  <a:lnTo>
                    <a:pt x="313" y="0"/>
                  </a:lnTo>
                  <a:lnTo>
                    <a:pt x="6" y="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21" name="i$ļiḓe"/>
            <p:cNvSpPr/>
            <p:nvPr/>
          </p:nvSpPr>
          <p:spPr bwMode="auto">
            <a:xfrm>
              <a:off x="6948488" y="5772151"/>
              <a:ext cx="187325" cy="125413"/>
            </a:xfrm>
            <a:custGeom>
              <a:avLst/>
              <a:gdLst>
                <a:gd name="T0" fmla="*/ 118 w 118"/>
                <a:gd name="T1" fmla="*/ 0 h 79"/>
                <a:gd name="T2" fmla="*/ 118 w 118"/>
                <a:gd name="T3" fmla="*/ 39 h 79"/>
                <a:gd name="T4" fmla="*/ 39 w 118"/>
                <a:gd name="T5" fmla="*/ 79 h 79"/>
                <a:gd name="T6" fmla="*/ 0 w 118"/>
                <a:gd name="T7" fmla="*/ 39 h 79"/>
                <a:gd name="T8" fmla="*/ 39 w 118"/>
                <a:gd name="T9" fmla="*/ 0 h 79"/>
                <a:gd name="T10" fmla="*/ 118 w 118"/>
                <a:gd name="T11" fmla="*/ 0 h 79"/>
              </a:gdLst>
              <a:ahLst/>
              <a:cxnLst>
                <a:cxn ang="0">
                  <a:pos x="T0" y="T1"/>
                </a:cxn>
                <a:cxn ang="0">
                  <a:pos x="T2" y="T3"/>
                </a:cxn>
                <a:cxn ang="0">
                  <a:pos x="T4" y="T5"/>
                </a:cxn>
                <a:cxn ang="0">
                  <a:pos x="T6" y="T7"/>
                </a:cxn>
                <a:cxn ang="0">
                  <a:pos x="T8" y="T9"/>
                </a:cxn>
                <a:cxn ang="0">
                  <a:pos x="T10" y="T11"/>
                </a:cxn>
              </a:cxnLst>
              <a:rect l="0" t="0" r="r" b="b"/>
              <a:pathLst>
                <a:path w="118" h="79">
                  <a:moveTo>
                    <a:pt x="118" y="0"/>
                  </a:moveTo>
                  <a:lnTo>
                    <a:pt x="118" y="39"/>
                  </a:lnTo>
                  <a:lnTo>
                    <a:pt x="39" y="79"/>
                  </a:lnTo>
                  <a:lnTo>
                    <a:pt x="0" y="39"/>
                  </a:lnTo>
                  <a:lnTo>
                    <a:pt x="39" y="0"/>
                  </a:lnTo>
                  <a:lnTo>
                    <a:pt x="118" y="0"/>
                  </a:ln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22" name="îṧ1ídè"/>
            <p:cNvSpPr/>
            <p:nvPr/>
          </p:nvSpPr>
          <p:spPr bwMode="auto">
            <a:xfrm>
              <a:off x="6580188" y="2978151"/>
              <a:ext cx="1189038" cy="1692275"/>
            </a:xfrm>
            <a:custGeom>
              <a:avLst/>
              <a:gdLst>
                <a:gd name="T0" fmla="*/ 622 w 623"/>
                <a:gd name="T1" fmla="*/ 769 h 887"/>
                <a:gd name="T2" fmla="*/ 606 w 623"/>
                <a:gd name="T3" fmla="*/ 887 h 887"/>
                <a:gd name="T4" fmla="*/ 598 w 623"/>
                <a:gd name="T5" fmla="*/ 884 h 887"/>
                <a:gd name="T6" fmla="*/ 526 w 623"/>
                <a:gd name="T7" fmla="*/ 824 h 887"/>
                <a:gd name="T8" fmla="*/ 436 w 623"/>
                <a:gd name="T9" fmla="*/ 789 h 887"/>
                <a:gd name="T10" fmla="*/ 295 w 623"/>
                <a:gd name="T11" fmla="*/ 771 h 887"/>
                <a:gd name="T12" fmla="*/ 184 w 623"/>
                <a:gd name="T13" fmla="*/ 778 h 887"/>
                <a:gd name="T14" fmla="*/ 94 w 623"/>
                <a:gd name="T15" fmla="*/ 790 h 887"/>
                <a:gd name="T16" fmla="*/ 3 w 623"/>
                <a:gd name="T17" fmla="*/ 755 h 887"/>
                <a:gd name="T18" fmla="*/ 0 w 623"/>
                <a:gd name="T19" fmla="*/ 752 h 887"/>
                <a:gd name="T20" fmla="*/ 0 w 623"/>
                <a:gd name="T21" fmla="*/ 747 h 887"/>
                <a:gd name="T22" fmla="*/ 24 w 623"/>
                <a:gd name="T23" fmla="*/ 685 h 887"/>
                <a:gd name="T24" fmla="*/ 56 w 623"/>
                <a:gd name="T25" fmla="*/ 616 h 887"/>
                <a:gd name="T26" fmla="*/ 109 w 623"/>
                <a:gd name="T27" fmla="*/ 466 h 887"/>
                <a:gd name="T28" fmla="*/ 174 w 623"/>
                <a:gd name="T29" fmla="*/ 259 h 887"/>
                <a:gd name="T30" fmla="*/ 221 w 623"/>
                <a:gd name="T31" fmla="*/ 116 h 887"/>
                <a:gd name="T32" fmla="*/ 295 w 623"/>
                <a:gd name="T33" fmla="*/ 11 h 887"/>
                <a:gd name="T34" fmla="*/ 330 w 623"/>
                <a:gd name="T35" fmla="*/ 5 h 887"/>
                <a:gd name="T36" fmla="*/ 437 w 623"/>
                <a:gd name="T37" fmla="*/ 1 h 887"/>
                <a:gd name="T38" fmla="*/ 475 w 623"/>
                <a:gd name="T39" fmla="*/ 7 h 887"/>
                <a:gd name="T40" fmla="*/ 512 w 623"/>
                <a:gd name="T41" fmla="*/ 61 h 887"/>
                <a:gd name="T42" fmla="*/ 590 w 623"/>
                <a:gd name="T43" fmla="*/ 365 h 887"/>
                <a:gd name="T44" fmla="*/ 610 w 623"/>
                <a:gd name="T45" fmla="*/ 532 h 887"/>
                <a:gd name="T46" fmla="*/ 620 w 623"/>
                <a:gd name="T47" fmla="*/ 719 h 887"/>
                <a:gd name="T48" fmla="*/ 622 w 623"/>
                <a:gd name="T49" fmla="*/ 76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3" h="887">
                  <a:moveTo>
                    <a:pt x="622" y="769"/>
                  </a:moveTo>
                  <a:cubicBezTo>
                    <a:pt x="623" y="818"/>
                    <a:pt x="621" y="884"/>
                    <a:pt x="606" y="887"/>
                  </a:cubicBezTo>
                  <a:cubicBezTo>
                    <a:pt x="603" y="887"/>
                    <a:pt x="600" y="885"/>
                    <a:pt x="598" y="884"/>
                  </a:cubicBezTo>
                  <a:cubicBezTo>
                    <a:pt x="571" y="866"/>
                    <a:pt x="552" y="841"/>
                    <a:pt x="526" y="824"/>
                  </a:cubicBezTo>
                  <a:cubicBezTo>
                    <a:pt x="498" y="805"/>
                    <a:pt x="467" y="796"/>
                    <a:pt x="436" y="789"/>
                  </a:cubicBezTo>
                  <a:cubicBezTo>
                    <a:pt x="390" y="779"/>
                    <a:pt x="342" y="772"/>
                    <a:pt x="295" y="771"/>
                  </a:cubicBezTo>
                  <a:cubicBezTo>
                    <a:pt x="258" y="771"/>
                    <a:pt x="221" y="775"/>
                    <a:pt x="184" y="778"/>
                  </a:cubicBezTo>
                  <a:cubicBezTo>
                    <a:pt x="153" y="781"/>
                    <a:pt x="125" y="793"/>
                    <a:pt x="94" y="790"/>
                  </a:cubicBezTo>
                  <a:cubicBezTo>
                    <a:pt x="61" y="787"/>
                    <a:pt x="30" y="775"/>
                    <a:pt x="3" y="755"/>
                  </a:cubicBezTo>
                  <a:cubicBezTo>
                    <a:pt x="2" y="754"/>
                    <a:pt x="0" y="753"/>
                    <a:pt x="0" y="752"/>
                  </a:cubicBezTo>
                  <a:cubicBezTo>
                    <a:pt x="0" y="750"/>
                    <a:pt x="0" y="749"/>
                    <a:pt x="0" y="747"/>
                  </a:cubicBezTo>
                  <a:cubicBezTo>
                    <a:pt x="7" y="725"/>
                    <a:pt x="12" y="703"/>
                    <a:pt x="24" y="685"/>
                  </a:cubicBezTo>
                  <a:cubicBezTo>
                    <a:pt x="37" y="665"/>
                    <a:pt x="46" y="639"/>
                    <a:pt x="56" y="616"/>
                  </a:cubicBezTo>
                  <a:cubicBezTo>
                    <a:pt x="76" y="568"/>
                    <a:pt x="95" y="518"/>
                    <a:pt x="109" y="466"/>
                  </a:cubicBezTo>
                  <a:cubicBezTo>
                    <a:pt x="130" y="397"/>
                    <a:pt x="154" y="329"/>
                    <a:pt x="174" y="259"/>
                  </a:cubicBezTo>
                  <a:cubicBezTo>
                    <a:pt x="189" y="211"/>
                    <a:pt x="201" y="161"/>
                    <a:pt x="221" y="116"/>
                  </a:cubicBezTo>
                  <a:cubicBezTo>
                    <a:pt x="236" y="80"/>
                    <a:pt x="262" y="27"/>
                    <a:pt x="295" y="11"/>
                  </a:cubicBezTo>
                  <a:cubicBezTo>
                    <a:pt x="306" y="6"/>
                    <a:pt x="318" y="5"/>
                    <a:pt x="330" y="5"/>
                  </a:cubicBezTo>
                  <a:cubicBezTo>
                    <a:pt x="365" y="4"/>
                    <a:pt x="401" y="2"/>
                    <a:pt x="437" y="1"/>
                  </a:cubicBezTo>
                  <a:cubicBezTo>
                    <a:pt x="450" y="1"/>
                    <a:pt x="463" y="0"/>
                    <a:pt x="475" y="7"/>
                  </a:cubicBezTo>
                  <a:cubicBezTo>
                    <a:pt x="493" y="17"/>
                    <a:pt x="503" y="40"/>
                    <a:pt x="512" y="61"/>
                  </a:cubicBezTo>
                  <a:cubicBezTo>
                    <a:pt x="551" y="156"/>
                    <a:pt x="576" y="259"/>
                    <a:pt x="590" y="365"/>
                  </a:cubicBezTo>
                  <a:cubicBezTo>
                    <a:pt x="598" y="421"/>
                    <a:pt x="604" y="476"/>
                    <a:pt x="610" y="532"/>
                  </a:cubicBezTo>
                  <a:cubicBezTo>
                    <a:pt x="616" y="594"/>
                    <a:pt x="620" y="657"/>
                    <a:pt x="620" y="719"/>
                  </a:cubicBezTo>
                  <a:cubicBezTo>
                    <a:pt x="621" y="726"/>
                    <a:pt x="621" y="746"/>
                    <a:pt x="622" y="769"/>
                  </a:cubicBezTo>
                </a:path>
              </a:pathLst>
            </a:custGeom>
            <a:solidFill>
              <a:srgbClr val="F7F7F7"/>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23" name="íṣļíďè"/>
            <p:cNvSpPr/>
            <p:nvPr/>
          </p:nvSpPr>
          <p:spPr bwMode="auto">
            <a:xfrm>
              <a:off x="6872288" y="2971801"/>
              <a:ext cx="568325" cy="1531938"/>
            </a:xfrm>
            <a:custGeom>
              <a:avLst/>
              <a:gdLst>
                <a:gd name="T0" fmla="*/ 231 w 298"/>
                <a:gd name="T1" fmla="*/ 257 h 803"/>
                <a:gd name="T2" fmla="*/ 235 w 298"/>
                <a:gd name="T3" fmla="*/ 334 h 803"/>
                <a:gd name="T4" fmla="*/ 288 w 298"/>
                <a:gd name="T5" fmla="*/ 803 h 803"/>
                <a:gd name="T6" fmla="*/ 0 w 298"/>
                <a:gd name="T7" fmla="*/ 800 h 803"/>
                <a:gd name="T8" fmla="*/ 11 w 298"/>
                <a:gd name="T9" fmla="*/ 624 h 803"/>
                <a:gd name="T10" fmla="*/ 21 w 298"/>
                <a:gd name="T11" fmla="*/ 512 h 803"/>
                <a:gd name="T12" fmla="*/ 71 w 298"/>
                <a:gd name="T13" fmla="*/ 341 h 803"/>
                <a:gd name="T14" fmla="*/ 182 w 298"/>
                <a:gd name="T15" fmla="*/ 34 h 803"/>
                <a:gd name="T16" fmla="*/ 189 w 298"/>
                <a:gd name="T17" fmla="*/ 19 h 803"/>
                <a:gd name="T18" fmla="*/ 205 w 298"/>
                <a:gd name="T19" fmla="*/ 12 h 803"/>
                <a:gd name="T20" fmla="*/ 291 w 298"/>
                <a:gd name="T21" fmla="*/ 5 h 803"/>
                <a:gd name="T22" fmla="*/ 263 w 298"/>
                <a:gd name="T23" fmla="*/ 123 h 803"/>
                <a:gd name="T24" fmla="*/ 231 w 298"/>
                <a:gd name="T25" fmla="*/ 257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8" h="803">
                  <a:moveTo>
                    <a:pt x="231" y="257"/>
                  </a:moveTo>
                  <a:cubicBezTo>
                    <a:pt x="229" y="283"/>
                    <a:pt x="232" y="308"/>
                    <a:pt x="235" y="334"/>
                  </a:cubicBezTo>
                  <a:cubicBezTo>
                    <a:pt x="253" y="490"/>
                    <a:pt x="270" y="647"/>
                    <a:pt x="288" y="803"/>
                  </a:cubicBezTo>
                  <a:cubicBezTo>
                    <a:pt x="192" y="802"/>
                    <a:pt x="96" y="801"/>
                    <a:pt x="0" y="800"/>
                  </a:cubicBezTo>
                  <a:cubicBezTo>
                    <a:pt x="4" y="741"/>
                    <a:pt x="7" y="683"/>
                    <a:pt x="11" y="624"/>
                  </a:cubicBezTo>
                  <a:cubicBezTo>
                    <a:pt x="13" y="586"/>
                    <a:pt x="15" y="549"/>
                    <a:pt x="21" y="512"/>
                  </a:cubicBezTo>
                  <a:cubicBezTo>
                    <a:pt x="31" y="453"/>
                    <a:pt x="51" y="397"/>
                    <a:pt x="71" y="341"/>
                  </a:cubicBezTo>
                  <a:cubicBezTo>
                    <a:pt x="108" y="239"/>
                    <a:pt x="145" y="137"/>
                    <a:pt x="182" y="34"/>
                  </a:cubicBezTo>
                  <a:cubicBezTo>
                    <a:pt x="184" y="29"/>
                    <a:pt x="186" y="23"/>
                    <a:pt x="189" y="19"/>
                  </a:cubicBezTo>
                  <a:cubicBezTo>
                    <a:pt x="194" y="14"/>
                    <a:pt x="200" y="13"/>
                    <a:pt x="205" y="12"/>
                  </a:cubicBezTo>
                  <a:cubicBezTo>
                    <a:pt x="233" y="5"/>
                    <a:pt x="264" y="0"/>
                    <a:pt x="291" y="5"/>
                  </a:cubicBezTo>
                  <a:cubicBezTo>
                    <a:pt x="298" y="38"/>
                    <a:pt x="273" y="93"/>
                    <a:pt x="263" y="123"/>
                  </a:cubicBezTo>
                  <a:cubicBezTo>
                    <a:pt x="249" y="166"/>
                    <a:pt x="233" y="209"/>
                    <a:pt x="231" y="257"/>
                  </a:cubicBezTo>
                </a:path>
              </a:pathLst>
            </a:custGeom>
            <a:solidFill>
              <a:srgbClr val="EED5D5"/>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24" name="íSḻide"/>
            <p:cNvSpPr/>
            <p:nvPr/>
          </p:nvSpPr>
          <p:spPr bwMode="auto">
            <a:xfrm>
              <a:off x="6675438" y="2290763"/>
              <a:ext cx="477838" cy="957263"/>
            </a:xfrm>
            <a:custGeom>
              <a:avLst/>
              <a:gdLst>
                <a:gd name="T0" fmla="*/ 192 w 301"/>
                <a:gd name="T1" fmla="*/ 603 h 603"/>
                <a:gd name="T2" fmla="*/ 39 w 301"/>
                <a:gd name="T3" fmla="*/ 375 h 603"/>
                <a:gd name="T4" fmla="*/ 0 w 301"/>
                <a:gd name="T5" fmla="*/ 14 h 603"/>
                <a:gd name="T6" fmla="*/ 63 w 301"/>
                <a:gd name="T7" fmla="*/ 0 h 603"/>
                <a:gd name="T8" fmla="*/ 150 w 301"/>
                <a:gd name="T9" fmla="*/ 328 h 603"/>
                <a:gd name="T10" fmla="*/ 301 w 301"/>
                <a:gd name="T11" fmla="*/ 460 h 603"/>
                <a:gd name="T12" fmla="*/ 192 w 301"/>
                <a:gd name="T13" fmla="*/ 603 h 603"/>
              </a:gdLst>
              <a:ahLst/>
              <a:cxnLst>
                <a:cxn ang="0">
                  <a:pos x="T0" y="T1"/>
                </a:cxn>
                <a:cxn ang="0">
                  <a:pos x="T2" y="T3"/>
                </a:cxn>
                <a:cxn ang="0">
                  <a:pos x="T4" y="T5"/>
                </a:cxn>
                <a:cxn ang="0">
                  <a:pos x="T6" y="T7"/>
                </a:cxn>
                <a:cxn ang="0">
                  <a:pos x="T8" y="T9"/>
                </a:cxn>
                <a:cxn ang="0">
                  <a:pos x="T10" y="T11"/>
                </a:cxn>
                <a:cxn ang="0">
                  <a:pos x="T12" y="T13"/>
                </a:cxn>
              </a:cxnLst>
              <a:rect l="0" t="0" r="r" b="b"/>
              <a:pathLst>
                <a:path w="301" h="603">
                  <a:moveTo>
                    <a:pt x="192" y="603"/>
                  </a:moveTo>
                  <a:lnTo>
                    <a:pt x="39" y="375"/>
                  </a:lnTo>
                  <a:lnTo>
                    <a:pt x="0" y="14"/>
                  </a:lnTo>
                  <a:lnTo>
                    <a:pt x="63" y="0"/>
                  </a:lnTo>
                  <a:lnTo>
                    <a:pt x="150" y="328"/>
                  </a:lnTo>
                  <a:lnTo>
                    <a:pt x="301" y="460"/>
                  </a:lnTo>
                  <a:lnTo>
                    <a:pt x="192" y="603"/>
                  </a:lnTo>
                  <a:close/>
                </a:path>
              </a:pathLst>
            </a:custGeom>
            <a:solidFill>
              <a:srgbClr val="F7F7F7"/>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25" name="ïṡlïḋé"/>
            <p:cNvSpPr/>
            <p:nvPr/>
          </p:nvSpPr>
          <p:spPr bwMode="auto">
            <a:xfrm>
              <a:off x="6445250" y="3733801"/>
              <a:ext cx="193675" cy="112713"/>
            </a:xfrm>
            <a:custGeom>
              <a:avLst/>
              <a:gdLst>
                <a:gd name="T0" fmla="*/ 118 w 122"/>
                <a:gd name="T1" fmla="*/ 12 h 71"/>
                <a:gd name="T2" fmla="*/ 82 w 122"/>
                <a:gd name="T3" fmla="*/ 18 h 71"/>
                <a:gd name="T4" fmla="*/ 57 w 122"/>
                <a:gd name="T5" fmla="*/ 0 h 71"/>
                <a:gd name="T6" fmla="*/ 51 w 122"/>
                <a:gd name="T7" fmla="*/ 3 h 71"/>
                <a:gd name="T8" fmla="*/ 54 w 122"/>
                <a:gd name="T9" fmla="*/ 12 h 71"/>
                <a:gd name="T10" fmla="*/ 29 w 122"/>
                <a:gd name="T11" fmla="*/ 2 h 71"/>
                <a:gd name="T12" fmla="*/ 7 w 122"/>
                <a:gd name="T13" fmla="*/ 9 h 71"/>
                <a:gd name="T14" fmla="*/ 0 w 122"/>
                <a:gd name="T15" fmla="*/ 38 h 71"/>
                <a:gd name="T16" fmla="*/ 11 w 122"/>
                <a:gd name="T17" fmla="*/ 66 h 71"/>
                <a:gd name="T18" fmla="*/ 40 w 122"/>
                <a:gd name="T19" fmla="*/ 71 h 71"/>
                <a:gd name="T20" fmla="*/ 72 w 122"/>
                <a:gd name="T21" fmla="*/ 59 h 71"/>
                <a:gd name="T22" fmla="*/ 122 w 122"/>
                <a:gd name="T23" fmla="*/ 53 h 71"/>
                <a:gd name="T24" fmla="*/ 118 w 122"/>
                <a:gd name="T25" fmla="*/ 1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71">
                  <a:moveTo>
                    <a:pt x="118" y="12"/>
                  </a:moveTo>
                  <a:lnTo>
                    <a:pt x="82" y="18"/>
                  </a:lnTo>
                  <a:lnTo>
                    <a:pt x="57" y="0"/>
                  </a:lnTo>
                  <a:lnTo>
                    <a:pt x="51" y="3"/>
                  </a:lnTo>
                  <a:lnTo>
                    <a:pt x="54" y="12"/>
                  </a:lnTo>
                  <a:lnTo>
                    <a:pt x="29" y="2"/>
                  </a:lnTo>
                  <a:lnTo>
                    <a:pt x="7" y="9"/>
                  </a:lnTo>
                  <a:lnTo>
                    <a:pt x="0" y="38"/>
                  </a:lnTo>
                  <a:lnTo>
                    <a:pt x="11" y="66"/>
                  </a:lnTo>
                  <a:lnTo>
                    <a:pt x="40" y="71"/>
                  </a:lnTo>
                  <a:lnTo>
                    <a:pt x="72" y="59"/>
                  </a:lnTo>
                  <a:lnTo>
                    <a:pt x="122" y="53"/>
                  </a:lnTo>
                  <a:lnTo>
                    <a:pt x="118" y="12"/>
                  </a:lnTo>
                  <a:close/>
                </a:path>
              </a:pathLst>
            </a:custGeom>
            <a:solidFill>
              <a:srgbClr val="EAC5B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26" name="ïśļîďe"/>
            <p:cNvSpPr/>
            <p:nvPr/>
          </p:nvSpPr>
          <p:spPr bwMode="auto">
            <a:xfrm>
              <a:off x="6445250" y="3733801"/>
              <a:ext cx="193675" cy="112713"/>
            </a:xfrm>
            <a:custGeom>
              <a:avLst/>
              <a:gdLst>
                <a:gd name="T0" fmla="*/ 118 w 122"/>
                <a:gd name="T1" fmla="*/ 12 h 71"/>
                <a:gd name="T2" fmla="*/ 82 w 122"/>
                <a:gd name="T3" fmla="*/ 18 h 71"/>
                <a:gd name="T4" fmla="*/ 57 w 122"/>
                <a:gd name="T5" fmla="*/ 0 h 71"/>
                <a:gd name="T6" fmla="*/ 51 w 122"/>
                <a:gd name="T7" fmla="*/ 3 h 71"/>
                <a:gd name="T8" fmla="*/ 54 w 122"/>
                <a:gd name="T9" fmla="*/ 12 h 71"/>
                <a:gd name="T10" fmla="*/ 29 w 122"/>
                <a:gd name="T11" fmla="*/ 2 h 71"/>
                <a:gd name="T12" fmla="*/ 7 w 122"/>
                <a:gd name="T13" fmla="*/ 9 h 71"/>
                <a:gd name="T14" fmla="*/ 0 w 122"/>
                <a:gd name="T15" fmla="*/ 38 h 71"/>
                <a:gd name="T16" fmla="*/ 11 w 122"/>
                <a:gd name="T17" fmla="*/ 66 h 71"/>
                <a:gd name="T18" fmla="*/ 40 w 122"/>
                <a:gd name="T19" fmla="*/ 71 h 71"/>
                <a:gd name="T20" fmla="*/ 72 w 122"/>
                <a:gd name="T21" fmla="*/ 59 h 71"/>
                <a:gd name="T22" fmla="*/ 122 w 122"/>
                <a:gd name="T23" fmla="*/ 53 h 71"/>
                <a:gd name="T24" fmla="*/ 118 w 122"/>
                <a:gd name="T25" fmla="*/ 1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71">
                  <a:moveTo>
                    <a:pt x="118" y="12"/>
                  </a:moveTo>
                  <a:lnTo>
                    <a:pt x="82" y="18"/>
                  </a:lnTo>
                  <a:lnTo>
                    <a:pt x="57" y="0"/>
                  </a:lnTo>
                  <a:lnTo>
                    <a:pt x="51" y="3"/>
                  </a:lnTo>
                  <a:lnTo>
                    <a:pt x="54" y="12"/>
                  </a:lnTo>
                  <a:lnTo>
                    <a:pt x="29" y="2"/>
                  </a:lnTo>
                  <a:lnTo>
                    <a:pt x="7" y="9"/>
                  </a:lnTo>
                  <a:lnTo>
                    <a:pt x="0" y="38"/>
                  </a:lnTo>
                  <a:lnTo>
                    <a:pt x="11" y="66"/>
                  </a:lnTo>
                  <a:lnTo>
                    <a:pt x="40" y="71"/>
                  </a:lnTo>
                  <a:lnTo>
                    <a:pt x="72" y="59"/>
                  </a:lnTo>
                  <a:lnTo>
                    <a:pt x="122" y="53"/>
                  </a:lnTo>
                  <a:lnTo>
                    <a:pt x="118"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27" name="išlíďê"/>
            <p:cNvSpPr/>
            <p:nvPr/>
          </p:nvSpPr>
          <p:spPr bwMode="auto">
            <a:xfrm>
              <a:off x="6575425" y="3251201"/>
              <a:ext cx="1031875" cy="585788"/>
            </a:xfrm>
            <a:custGeom>
              <a:avLst/>
              <a:gdLst>
                <a:gd name="T0" fmla="*/ 0 w 650"/>
                <a:gd name="T1" fmla="*/ 300 h 369"/>
                <a:gd name="T2" fmla="*/ 273 w 650"/>
                <a:gd name="T3" fmla="*/ 181 h 369"/>
                <a:gd name="T4" fmla="*/ 561 w 650"/>
                <a:gd name="T5" fmla="*/ 0 h 369"/>
                <a:gd name="T6" fmla="*/ 650 w 650"/>
                <a:gd name="T7" fmla="*/ 121 h 369"/>
                <a:gd name="T8" fmla="*/ 390 w 650"/>
                <a:gd name="T9" fmla="*/ 328 h 369"/>
                <a:gd name="T10" fmla="*/ 12 w 650"/>
                <a:gd name="T11" fmla="*/ 369 h 369"/>
                <a:gd name="T12" fmla="*/ 0 w 650"/>
                <a:gd name="T13" fmla="*/ 300 h 369"/>
              </a:gdLst>
              <a:ahLst/>
              <a:cxnLst>
                <a:cxn ang="0">
                  <a:pos x="T0" y="T1"/>
                </a:cxn>
                <a:cxn ang="0">
                  <a:pos x="T2" y="T3"/>
                </a:cxn>
                <a:cxn ang="0">
                  <a:pos x="T4" y="T5"/>
                </a:cxn>
                <a:cxn ang="0">
                  <a:pos x="T6" y="T7"/>
                </a:cxn>
                <a:cxn ang="0">
                  <a:pos x="T8" y="T9"/>
                </a:cxn>
                <a:cxn ang="0">
                  <a:pos x="T10" y="T11"/>
                </a:cxn>
                <a:cxn ang="0">
                  <a:pos x="T12" y="T13"/>
                </a:cxn>
              </a:cxnLst>
              <a:rect l="0" t="0" r="r" b="b"/>
              <a:pathLst>
                <a:path w="650" h="369">
                  <a:moveTo>
                    <a:pt x="0" y="300"/>
                  </a:moveTo>
                  <a:lnTo>
                    <a:pt x="273" y="181"/>
                  </a:lnTo>
                  <a:lnTo>
                    <a:pt x="561" y="0"/>
                  </a:lnTo>
                  <a:lnTo>
                    <a:pt x="650" y="121"/>
                  </a:lnTo>
                  <a:lnTo>
                    <a:pt x="390" y="328"/>
                  </a:lnTo>
                  <a:lnTo>
                    <a:pt x="12" y="369"/>
                  </a:lnTo>
                  <a:lnTo>
                    <a:pt x="0" y="300"/>
                  </a:lnTo>
                  <a:close/>
                </a:path>
              </a:pathLst>
            </a:custGeom>
            <a:solidFill>
              <a:srgbClr val="F7F7F7"/>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28" name="išľidè"/>
            <p:cNvSpPr/>
            <p:nvPr/>
          </p:nvSpPr>
          <p:spPr bwMode="auto">
            <a:xfrm>
              <a:off x="6575425" y="3251201"/>
              <a:ext cx="1031875" cy="585788"/>
            </a:xfrm>
            <a:custGeom>
              <a:avLst/>
              <a:gdLst>
                <a:gd name="T0" fmla="*/ 0 w 650"/>
                <a:gd name="T1" fmla="*/ 300 h 369"/>
                <a:gd name="T2" fmla="*/ 273 w 650"/>
                <a:gd name="T3" fmla="*/ 181 h 369"/>
                <a:gd name="T4" fmla="*/ 561 w 650"/>
                <a:gd name="T5" fmla="*/ 0 h 369"/>
                <a:gd name="T6" fmla="*/ 650 w 650"/>
                <a:gd name="T7" fmla="*/ 121 h 369"/>
                <a:gd name="T8" fmla="*/ 390 w 650"/>
                <a:gd name="T9" fmla="*/ 328 h 369"/>
                <a:gd name="T10" fmla="*/ 12 w 650"/>
                <a:gd name="T11" fmla="*/ 369 h 369"/>
                <a:gd name="T12" fmla="*/ 0 w 650"/>
                <a:gd name="T13" fmla="*/ 300 h 369"/>
              </a:gdLst>
              <a:ahLst/>
              <a:cxnLst>
                <a:cxn ang="0">
                  <a:pos x="T0" y="T1"/>
                </a:cxn>
                <a:cxn ang="0">
                  <a:pos x="T2" y="T3"/>
                </a:cxn>
                <a:cxn ang="0">
                  <a:pos x="T4" y="T5"/>
                </a:cxn>
                <a:cxn ang="0">
                  <a:pos x="T6" y="T7"/>
                </a:cxn>
                <a:cxn ang="0">
                  <a:pos x="T8" y="T9"/>
                </a:cxn>
                <a:cxn ang="0">
                  <a:pos x="T10" y="T11"/>
                </a:cxn>
                <a:cxn ang="0">
                  <a:pos x="T12" y="T13"/>
                </a:cxn>
              </a:cxnLst>
              <a:rect l="0" t="0" r="r" b="b"/>
              <a:pathLst>
                <a:path w="650" h="369">
                  <a:moveTo>
                    <a:pt x="0" y="300"/>
                  </a:moveTo>
                  <a:lnTo>
                    <a:pt x="273" y="181"/>
                  </a:lnTo>
                  <a:lnTo>
                    <a:pt x="561" y="0"/>
                  </a:lnTo>
                  <a:lnTo>
                    <a:pt x="650" y="121"/>
                  </a:lnTo>
                  <a:lnTo>
                    <a:pt x="390" y="328"/>
                  </a:lnTo>
                  <a:lnTo>
                    <a:pt x="12" y="369"/>
                  </a:lnTo>
                  <a:lnTo>
                    <a:pt x="0" y="30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29" name="îŝľiďê"/>
            <p:cNvSpPr/>
            <p:nvPr/>
          </p:nvSpPr>
          <p:spPr bwMode="auto">
            <a:xfrm>
              <a:off x="5665788" y="2859088"/>
              <a:ext cx="222250" cy="198438"/>
            </a:xfrm>
            <a:custGeom>
              <a:avLst/>
              <a:gdLst>
                <a:gd name="T0" fmla="*/ 0 w 140"/>
                <a:gd name="T1" fmla="*/ 84 h 125"/>
                <a:gd name="T2" fmla="*/ 38 w 140"/>
                <a:gd name="T3" fmla="*/ 64 h 125"/>
                <a:gd name="T4" fmla="*/ 47 w 140"/>
                <a:gd name="T5" fmla="*/ 28 h 125"/>
                <a:gd name="T6" fmla="*/ 56 w 140"/>
                <a:gd name="T7" fmla="*/ 25 h 125"/>
                <a:gd name="T8" fmla="*/ 59 w 140"/>
                <a:gd name="T9" fmla="*/ 36 h 125"/>
                <a:gd name="T10" fmla="*/ 75 w 140"/>
                <a:gd name="T11" fmla="*/ 9 h 125"/>
                <a:gd name="T12" fmla="*/ 100 w 140"/>
                <a:gd name="T13" fmla="*/ 0 h 125"/>
                <a:gd name="T14" fmla="*/ 129 w 140"/>
                <a:gd name="T15" fmla="*/ 19 h 125"/>
                <a:gd name="T16" fmla="*/ 140 w 140"/>
                <a:gd name="T17" fmla="*/ 54 h 125"/>
                <a:gd name="T18" fmla="*/ 117 w 140"/>
                <a:gd name="T19" fmla="*/ 81 h 125"/>
                <a:gd name="T20" fmla="*/ 77 w 140"/>
                <a:gd name="T21" fmla="*/ 94 h 125"/>
                <a:gd name="T22" fmla="*/ 28 w 140"/>
                <a:gd name="T23" fmla="*/ 125 h 125"/>
                <a:gd name="T24" fmla="*/ 0 w 140"/>
                <a:gd name="T25" fmla="*/ 8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25">
                  <a:moveTo>
                    <a:pt x="0" y="84"/>
                  </a:moveTo>
                  <a:lnTo>
                    <a:pt x="38" y="64"/>
                  </a:lnTo>
                  <a:lnTo>
                    <a:pt x="47" y="28"/>
                  </a:lnTo>
                  <a:lnTo>
                    <a:pt x="56" y="25"/>
                  </a:lnTo>
                  <a:lnTo>
                    <a:pt x="59" y="36"/>
                  </a:lnTo>
                  <a:lnTo>
                    <a:pt x="75" y="9"/>
                  </a:lnTo>
                  <a:lnTo>
                    <a:pt x="100" y="0"/>
                  </a:lnTo>
                  <a:lnTo>
                    <a:pt x="129" y="19"/>
                  </a:lnTo>
                  <a:lnTo>
                    <a:pt x="140" y="54"/>
                  </a:lnTo>
                  <a:lnTo>
                    <a:pt x="117" y="81"/>
                  </a:lnTo>
                  <a:lnTo>
                    <a:pt x="77" y="94"/>
                  </a:lnTo>
                  <a:lnTo>
                    <a:pt x="28" y="125"/>
                  </a:lnTo>
                  <a:lnTo>
                    <a:pt x="0" y="84"/>
                  </a:lnTo>
                  <a:close/>
                </a:path>
              </a:pathLst>
            </a:custGeom>
            <a:solidFill>
              <a:srgbClr val="EAC5B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30" name="íş1íḋè"/>
            <p:cNvSpPr/>
            <p:nvPr/>
          </p:nvSpPr>
          <p:spPr bwMode="auto">
            <a:xfrm>
              <a:off x="4957763" y="2901951"/>
              <a:ext cx="790575" cy="504825"/>
            </a:xfrm>
            <a:custGeom>
              <a:avLst/>
              <a:gdLst>
                <a:gd name="T0" fmla="*/ 443 w 498"/>
                <a:gd name="T1" fmla="*/ 35 h 318"/>
                <a:gd name="T2" fmla="*/ 498 w 498"/>
                <a:gd name="T3" fmla="*/ 101 h 318"/>
                <a:gd name="T4" fmla="*/ 292 w 498"/>
                <a:gd name="T5" fmla="*/ 300 h 318"/>
                <a:gd name="T6" fmla="*/ 237 w 498"/>
                <a:gd name="T7" fmla="*/ 318 h 318"/>
                <a:gd name="T8" fmla="*/ 0 w 498"/>
                <a:gd name="T9" fmla="*/ 129 h 318"/>
                <a:gd name="T10" fmla="*/ 62 w 498"/>
                <a:gd name="T11" fmla="*/ 0 h 318"/>
                <a:gd name="T12" fmla="*/ 239 w 498"/>
                <a:gd name="T13" fmla="*/ 150 h 318"/>
                <a:gd name="T14" fmla="*/ 443 w 498"/>
                <a:gd name="T15" fmla="*/ 35 h 3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318">
                  <a:moveTo>
                    <a:pt x="443" y="35"/>
                  </a:moveTo>
                  <a:lnTo>
                    <a:pt x="498" y="101"/>
                  </a:lnTo>
                  <a:lnTo>
                    <a:pt x="292" y="300"/>
                  </a:lnTo>
                  <a:lnTo>
                    <a:pt x="237" y="318"/>
                  </a:lnTo>
                  <a:lnTo>
                    <a:pt x="0" y="129"/>
                  </a:lnTo>
                  <a:lnTo>
                    <a:pt x="62" y="0"/>
                  </a:lnTo>
                  <a:lnTo>
                    <a:pt x="239" y="150"/>
                  </a:lnTo>
                  <a:lnTo>
                    <a:pt x="443" y="35"/>
                  </a:lnTo>
                  <a:close/>
                </a:path>
              </a:pathLst>
            </a:custGeom>
            <a:solidFill>
              <a:srgbClr val="DDDAE8"/>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31" name="ïŝľíḑê"/>
            <p:cNvSpPr/>
            <p:nvPr/>
          </p:nvSpPr>
          <p:spPr bwMode="auto">
            <a:xfrm>
              <a:off x="4957763" y="2901951"/>
              <a:ext cx="790575" cy="504825"/>
            </a:xfrm>
            <a:custGeom>
              <a:avLst/>
              <a:gdLst>
                <a:gd name="T0" fmla="*/ 443 w 498"/>
                <a:gd name="T1" fmla="*/ 35 h 318"/>
                <a:gd name="T2" fmla="*/ 498 w 498"/>
                <a:gd name="T3" fmla="*/ 101 h 318"/>
                <a:gd name="T4" fmla="*/ 292 w 498"/>
                <a:gd name="T5" fmla="*/ 300 h 318"/>
                <a:gd name="T6" fmla="*/ 237 w 498"/>
                <a:gd name="T7" fmla="*/ 318 h 318"/>
                <a:gd name="T8" fmla="*/ 0 w 498"/>
                <a:gd name="T9" fmla="*/ 129 h 318"/>
                <a:gd name="T10" fmla="*/ 62 w 498"/>
                <a:gd name="T11" fmla="*/ 0 h 318"/>
                <a:gd name="T12" fmla="*/ 239 w 498"/>
                <a:gd name="T13" fmla="*/ 150 h 318"/>
                <a:gd name="T14" fmla="*/ 443 w 498"/>
                <a:gd name="T15" fmla="*/ 35 h 3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318">
                  <a:moveTo>
                    <a:pt x="443" y="35"/>
                  </a:moveTo>
                  <a:lnTo>
                    <a:pt x="498" y="101"/>
                  </a:lnTo>
                  <a:lnTo>
                    <a:pt x="292" y="300"/>
                  </a:lnTo>
                  <a:lnTo>
                    <a:pt x="237" y="318"/>
                  </a:lnTo>
                  <a:lnTo>
                    <a:pt x="0" y="129"/>
                  </a:lnTo>
                  <a:lnTo>
                    <a:pt x="62" y="0"/>
                  </a:lnTo>
                  <a:lnTo>
                    <a:pt x="239" y="150"/>
                  </a:lnTo>
                  <a:lnTo>
                    <a:pt x="443"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32" name="ïṧļîḋe"/>
            <p:cNvSpPr/>
            <p:nvPr/>
          </p:nvSpPr>
          <p:spPr bwMode="auto">
            <a:xfrm>
              <a:off x="4364038" y="5681663"/>
              <a:ext cx="174625" cy="206375"/>
            </a:xfrm>
            <a:custGeom>
              <a:avLst/>
              <a:gdLst>
                <a:gd name="T0" fmla="*/ 8 w 110"/>
                <a:gd name="T1" fmla="*/ 37 h 130"/>
                <a:gd name="T2" fmla="*/ 0 w 110"/>
                <a:gd name="T3" fmla="*/ 76 h 130"/>
                <a:gd name="T4" fmla="*/ 65 w 110"/>
                <a:gd name="T5" fmla="*/ 130 h 130"/>
                <a:gd name="T6" fmla="*/ 110 w 110"/>
                <a:gd name="T7" fmla="*/ 100 h 130"/>
                <a:gd name="T8" fmla="*/ 81 w 110"/>
                <a:gd name="T9" fmla="*/ 54 h 130"/>
                <a:gd name="T10" fmla="*/ 16 w 110"/>
                <a:gd name="T11" fmla="*/ 0 h 130"/>
                <a:gd name="T12" fmla="*/ 8 w 110"/>
                <a:gd name="T13" fmla="*/ 37 h 130"/>
              </a:gdLst>
              <a:ahLst/>
              <a:cxnLst>
                <a:cxn ang="0">
                  <a:pos x="T0" y="T1"/>
                </a:cxn>
                <a:cxn ang="0">
                  <a:pos x="T2" y="T3"/>
                </a:cxn>
                <a:cxn ang="0">
                  <a:pos x="T4" y="T5"/>
                </a:cxn>
                <a:cxn ang="0">
                  <a:pos x="T6" y="T7"/>
                </a:cxn>
                <a:cxn ang="0">
                  <a:pos x="T8" y="T9"/>
                </a:cxn>
                <a:cxn ang="0">
                  <a:pos x="T10" y="T11"/>
                </a:cxn>
                <a:cxn ang="0">
                  <a:pos x="T12" y="T13"/>
                </a:cxn>
              </a:cxnLst>
              <a:rect l="0" t="0" r="r" b="b"/>
              <a:pathLst>
                <a:path w="110" h="130">
                  <a:moveTo>
                    <a:pt x="8" y="37"/>
                  </a:moveTo>
                  <a:lnTo>
                    <a:pt x="0" y="76"/>
                  </a:lnTo>
                  <a:lnTo>
                    <a:pt x="65" y="130"/>
                  </a:lnTo>
                  <a:lnTo>
                    <a:pt x="110" y="100"/>
                  </a:lnTo>
                  <a:lnTo>
                    <a:pt x="81" y="54"/>
                  </a:lnTo>
                  <a:lnTo>
                    <a:pt x="16" y="0"/>
                  </a:lnTo>
                  <a:lnTo>
                    <a:pt x="8" y="37"/>
                  </a:ln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33" name="iSliďe"/>
            <p:cNvSpPr/>
            <p:nvPr/>
          </p:nvSpPr>
          <p:spPr bwMode="auto">
            <a:xfrm>
              <a:off x="4375150" y="3889376"/>
              <a:ext cx="676275" cy="1879600"/>
            </a:xfrm>
            <a:custGeom>
              <a:avLst/>
              <a:gdLst>
                <a:gd name="T0" fmla="*/ 230 w 426"/>
                <a:gd name="T1" fmla="*/ 0 h 1184"/>
                <a:gd name="T2" fmla="*/ 157 w 426"/>
                <a:gd name="T3" fmla="*/ 169 h 1184"/>
                <a:gd name="T4" fmla="*/ 150 w 426"/>
                <a:gd name="T5" fmla="*/ 643 h 1184"/>
                <a:gd name="T6" fmla="*/ 0 w 426"/>
                <a:gd name="T7" fmla="*/ 1153 h 1184"/>
                <a:gd name="T8" fmla="*/ 70 w 426"/>
                <a:gd name="T9" fmla="*/ 1184 h 1184"/>
                <a:gd name="T10" fmla="*/ 376 w 426"/>
                <a:gd name="T11" fmla="*/ 592 h 1184"/>
                <a:gd name="T12" fmla="*/ 411 w 426"/>
                <a:gd name="T13" fmla="*/ 404 h 1184"/>
                <a:gd name="T14" fmla="*/ 426 w 426"/>
                <a:gd name="T15" fmla="*/ 9 h 1184"/>
                <a:gd name="T16" fmla="*/ 230 w 426"/>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184">
                  <a:moveTo>
                    <a:pt x="230" y="0"/>
                  </a:moveTo>
                  <a:lnTo>
                    <a:pt x="157" y="169"/>
                  </a:lnTo>
                  <a:lnTo>
                    <a:pt x="150" y="643"/>
                  </a:lnTo>
                  <a:lnTo>
                    <a:pt x="0" y="1153"/>
                  </a:lnTo>
                  <a:lnTo>
                    <a:pt x="70" y="1184"/>
                  </a:lnTo>
                  <a:lnTo>
                    <a:pt x="376" y="592"/>
                  </a:lnTo>
                  <a:lnTo>
                    <a:pt x="411" y="404"/>
                  </a:lnTo>
                  <a:lnTo>
                    <a:pt x="426" y="9"/>
                  </a:lnTo>
                  <a:lnTo>
                    <a:pt x="230" y="0"/>
                  </a:lnTo>
                  <a:close/>
                </a:path>
              </a:pathLst>
            </a:custGeom>
            <a:solidFill>
              <a:srgbClr val="5D66D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34" name="îṧlïdé"/>
            <p:cNvSpPr/>
            <p:nvPr/>
          </p:nvSpPr>
          <p:spPr bwMode="auto">
            <a:xfrm>
              <a:off x="4375150" y="3889376"/>
              <a:ext cx="676275" cy="1879600"/>
            </a:xfrm>
            <a:custGeom>
              <a:avLst/>
              <a:gdLst>
                <a:gd name="T0" fmla="*/ 230 w 426"/>
                <a:gd name="T1" fmla="*/ 0 h 1184"/>
                <a:gd name="T2" fmla="*/ 157 w 426"/>
                <a:gd name="T3" fmla="*/ 169 h 1184"/>
                <a:gd name="T4" fmla="*/ 150 w 426"/>
                <a:gd name="T5" fmla="*/ 643 h 1184"/>
                <a:gd name="T6" fmla="*/ 0 w 426"/>
                <a:gd name="T7" fmla="*/ 1153 h 1184"/>
                <a:gd name="T8" fmla="*/ 70 w 426"/>
                <a:gd name="T9" fmla="*/ 1184 h 1184"/>
                <a:gd name="T10" fmla="*/ 376 w 426"/>
                <a:gd name="T11" fmla="*/ 592 h 1184"/>
                <a:gd name="T12" fmla="*/ 411 w 426"/>
                <a:gd name="T13" fmla="*/ 404 h 1184"/>
                <a:gd name="T14" fmla="*/ 426 w 426"/>
                <a:gd name="T15" fmla="*/ 9 h 1184"/>
                <a:gd name="T16" fmla="*/ 230 w 426"/>
                <a:gd name="T17" fmla="*/ 0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 h="1184">
                  <a:moveTo>
                    <a:pt x="230" y="0"/>
                  </a:moveTo>
                  <a:lnTo>
                    <a:pt x="157" y="169"/>
                  </a:lnTo>
                  <a:lnTo>
                    <a:pt x="150" y="643"/>
                  </a:lnTo>
                  <a:lnTo>
                    <a:pt x="0" y="1153"/>
                  </a:lnTo>
                  <a:lnTo>
                    <a:pt x="70" y="1184"/>
                  </a:lnTo>
                  <a:lnTo>
                    <a:pt x="376" y="592"/>
                  </a:lnTo>
                  <a:lnTo>
                    <a:pt x="411" y="404"/>
                  </a:lnTo>
                  <a:lnTo>
                    <a:pt x="426" y="9"/>
                  </a:lnTo>
                  <a:lnTo>
                    <a:pt x="2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35" name="íŝľîḋê"/>
            <p:cNvSpPr/>
            <p:nvPr/>
          </p:nvSpPr>
          <p:spPr bwMode="auto">
            <a:xfrm>
              <a:off x="4819650" y="3878263"/>
              <a:ext cx="493713" cy="1878013"/>
            </a:xfrm>
            <a:custGeom>
              <a:avLst/>
              <a:gdLst>
                <a:gd name="T0" fmla="*/ 305 w 311"/>
                <a:gd name="T1" fmla="*/ 45 h 1183"/>
                <a:gd name="T2" fmla="*/ 311 w 311"/>
                <a:gd name="T3" fmla="*/ 542 h 1183"/>
                <a:gd name="T4" fmla="*/ 217 w 311"/>
                <a:gd name="T5" fmla="*/ 1183 h 1183"/>
                <a:gd name="T6" fmla="*/ 145 w 311"/>
                <a:gd name="T7" fmla="*/ 1183 h 1183"/>
                <a:gd name="T8" fmla="*/ 99 w 311"/>
                <a:gd name="T9" fmla="*/ 592 h 1183"/>
                <a:gd name="T10" fmla="*/ 0 w 311"/>
                <a:gd name="T11" fmla="*/ 0 h 1183"/>
                <a:gd name="T12" fmla="*/ 305 w 311"/>
                <a:gd name="T13" fmla="*/ 45 h 1183"/>
              </a:gdLst>
              <a:ahLst/>
              <a:cxnLst>
                <a:cxn ang="0">
                  <a:pos x="T0" y="T1"/>
                </a:cxn>
                <a:cxn ang="0">
                  <a:pos x="T2" y="T3"/>
                </a:cxn>
                <a:cxn ang="0">
                  <a:pos x="T4" y="T5"/>
                </a:cxn>
                <a:cxn ang="0">
                  <a:pos x="T6" y="T7"/>
                </a:cxn>
                <a:cxn ang="0">
                  <a:pos x="T8" y="T9"/>
                </a:cxn>
                <a:cxn ang="0">
                  <a:pos x="T10" y="T11"/>
                </a:cxn>
                <a:cxn ang="0">
                  <a:pos x="T12" y="T13"/>
                </a:cxn>
              </a:cxnLst>
              <a:rect l="0" t="0" r="r" b="b"/>
              <a:pathLst>
                <a:path w="311" h="1183">
                  <a:moveTo>
                    <a:pt x="305" y="45"/>
                  </a:moveTo>
                  <a:lnTo>
                    <a:pt x="311" y="542"/>
                  </a:lnTo>
                  <a:lnTo>
                    <a:pt x="217" y="1183"/>
                  </a:lnTo>
                  <a:lnTo>
                    <a:pt x="145" y="1183"/>
                  </a:lnTo>
                  <a:lnTo>
                    <a:pt x="99" y="592"/>
                  </a:lnTo>
                  <a:lnTo>
                    <a:pt x="0" y="0"/>
                  </a:lnTo>
                  <a:lnTo>
                    <a:pt x="305" y="45"/>
                  </a:lnTo>
                  <a:close/>
                </a:path>
              </a:pathLst>
            </a:custGeom>
            <a:solidFill>
              <a:srgbClr val="5D66D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36" name="ïŝļïḑe"/>
            <p:cNvSpPr/>
            <p:nvPr/>
          </p:nvSpPr>
          <p:spPr bwMode="auto">
            <a:xfrm>
              <a:off x="4819650" y="3878263"/>
              <a:ext cx="493713" cy="1878013"/>
            </a:xfrm>
            <a:custGeom>
              <a:avLst/>
              <a:gdLst>
                <a:gd name="T0" fmla="*/ 305 w 311"/>
                <a:gd name="T1" fmla="*/ 45 h 1183"/>
                <a:gd name="T2" fmla="*/ 311 w 311"/>
                <a:gd name="T3" fmla="*/ 542 h 1183"/>
                <a:gd name="T4" fmla="*/ 217 w 311"/>
                <a:gd name="T5" fmla="*/ 1183 h 1183"/>
                <a:gd name="T6" fmla="*/ 145 w 311"/>
                <a:gd name="T7" fmla="*/ 1183 h 1183"/>
                <a:gd name="T8" fmla="*/ 99 w 311"/>
                <a:gd name="T9" fmla="*/ 592 h 1183"/>
                <a:gd name="T10" fmla="*/ 0 w 311"/>
                <a:gd name="T11" fmla="*/ 0 h 1183"/>
                <a:gd name="T12" fmla="*/ 305 w 311"/>
                <a:gd name="T13" fmla="*/ 45 h 1183"/>
              </a:gdLst>
              <a:ahLst/>
              <a:cxnLst>
                <a:cxn ang="0">
                  <a:pos x="T0" y="T1"/>
                </a:cxn>
                <a:cxn ang="0">
                  <a:pos x="T2" y="T3"/>
                </a:cxn>
                <a:cxn ang="0">
                  <a:pos x="T4" y="T5"/>
                </a:cxn>
                <a:cxn ang="0">
                  <a:pos x="T6" y="T7"/>
                </a:cxn>
                <a:cxn ang="0">
                  <a:pos x="T8" y="T9"/>
                </a:cxn>
                <a:cxn ang="0">
                  <a:pos x="T10" y="T11"/>
                </a:cxn>
                <a:cxn ang="0">
                  <a:pos x="T12" y="T13"/>
                </a:cxn>
              </a:cxnLst>
              <a:rect l="0" t="0" r="r" b="b"/>
              <a:pathLst>
                <a:path w="311" h="1183">
                  <a:moveTo>
                    <a:pt x="305" y="45"/>
                  </a:moveTo>
                  <a:lnTo>
                    <a:pt x="311" y="542"/>
                  </a:lnTo>
                  <a:lnTo>
                    <a:pt x="217" y="1183"/>
                  </a:lnTo>
                  <a:lnTo>
                    <a:pt x="145" y="1183"/>
                  </a:lnTo>
                  <a:lnTo>
                    <a:pt x="99" y="592"/>
                  </a:lnTo>
                  <a:lnTo>
                    <a:pt x="0" y="0"/>
                  </a:lnTo>
                  <a:lnTo>
                    <a:pt x="305" y="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37" name="íṧľîḋè"/>
            <p:cNvSpPr/>
            <p:nvPr/>
          </p:nvSpPr>
          <p:spPr bwMode="auto">
            <a:xfrm>
              <a:off x="5049838" y="5743576"/>
              <a:ext cx="184150" cy="123825"/>
            </a:xfrm>
            <a:custGeom>
              <a:avLst/>
              <a:gdLst>
                <a:gd name="T0" fmla="*/ 0 w 116"/>
                <a:gd name="T1" fmla="*/ 0 h 78"/>
                <a:gd name="T2" fmla="*/ 0 w 116"/>
                <a:gd name="T3" fmla="*/ 38 h 78"/>
                <a:gd name="T4" fmla="*/ 78 w 116"/>
                <a:gd name="T5" fmla="*/ 78 h 78"/>
                <a:gd name="T6" fmla="*/ 116 w 116"/>
                <a:gd name="T7" fmla="*/ 38 h 78"/>
                <a:gd name="T8" fmla="*/ 78 w 116"/>
                <a:gd name="T9" fmla="*/ 0 h 78"/>
                <a:gd name="T10" fmla="*/ 0 w 116"/>
                <a:gd name="T11" fmla="*/ 0 h 78"/>
              </a:gdLst>
              <a:ahLst/>
              <a:cxnLst>
                <a:cxn ang="0">
                  <a:pos x="T0" y="T1"/>
                </a:cxn>
                <a:cxn ang="0">
                  <a:pos x="T2" y="T3"/>
                </a:cxn>
                <a:cxn ang="0">
                  <a:pos x="T4" y="T5"/>
                </a:cxn>
                <a:cxn ang="0">
                  <a:pos x="T6" y="T7"/>
                </a:cxn>
                <a:cxn ang="0">
                  <a:pos x="T8" y="T9"/>
                </a:cxn>
                <a:cxn ang="0">
                  <a:pos x="T10" y="T11"/>
                </a:cxn>
              </a:cxnLst>
              <a:rect l="0" t="0" r="r" b="b"/>
              <a:pathLst>
                <a:path w="116" h="78">
                  <a:moveTo>
                    <a:pt x="0" y="0"/>
                  </a:moveTo>
                  <a:lnTo>
                    <a:pt x="0" y="38"/>
                  </a:lnTo>
                  <a:lnTo>
                    <a:pt x="78" y="78"/>
                  </a:lnTo>
                  <a:lnTo>
                    <a:pt x="116" y="38"/>
                  </a:lnTo>
                  <a:lnTo>
                    <a:pt x="78" y="0"/>
                  </a:lnTo>
                  <a:lnTo>
                    <a:pt x="0" y="0"/>
                  </a:ln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38" name="îSľiďê"/>
            <p:cNvSpPr/>
            <p:nvPr/>
          </p:nvSpPr>
          <p:spPr bwMode="auto">
            <a:xfrm>
              <a:off x="4402138" y="2870201"/>
              <a:ext cx="1063625" cy="1603375"/>
            </a:xfrm>
            <a:custGeom>
              <a:avLst/>
              <a:gdLst>
                <a:gd name="T0" fmla="*/ 354 w 557"/>
                <a:gd name="T1" fmla="*/ 5 h 840"/>
                <a:gd name="T2" fmla="*/ 195 w 557"/>
                <a:gd name="T3" fmla="*/ 0 h 840"/>
                <a:gd name="T4" fmla="*/ 50 w 557"/>
                <a:gd name="T5" fmla="*/ 300 h 840"/>
                <a:gd name="T6" fmla="*/ 60 w 557"/>
                <a:gd name="T7" fmla="*/ 840 h 840"/>
                <a:gd name="T8" fmla="*/ 557 w 557"/>
                <a:gd name="T9" fmla="*/ 774 h 840"/>
                <a:gd name="T10" fmla="*/ 450 w 557"/>
                <a:gd name="T11" fmla="*/ 337 h 840"/>
                <a:gd name="T12" fmla="*/ 354 w 557"/>
                <a:gd name="T13" fmla="*/ 5 h 840"/>
              </a:gdLst>
              <a:ahLst/>
              <a:cxnLst>
                <a:cxn ang="0">
                  <a:pos x="T0" y="T1"/>
                </a:cxn>
                <a:cxn ang="0">
                  <a:pos x="T2" y="T3"/>
                </a:cxn>
                <a:cxn ang="0">
                  <a:pos x="T4" y="T5"/>
                </a:cxn>
                <a:cxn ang="0">
                  <a:pos x="T6" y="T7"/>
                </a:cxn>
                <a:cxn ang="0">
                  <a:pos x="T8" y="T9"/>
                </a:cxn>
                <a:cxn ang="0">
                  <a:pos x="T10" y="T11"/>
                </a:cxn>
                <a:cxn ang="0">
                  <a:pos x="T12" y="T13"/>
                </a:cxn>
              </a:cxnLst>
              <a:rect l="0" t="0" r="r" b="b"/>
              <a:pathLst>
                <a:path w="557" h="840">
                  <a:moveTo>
                    <a:pt x="354" y="5"/>
                  </a:moveTo>
                  <a:cubicBezTo>
                    <a:pt x="195" y="0"/>
                    <a:pt x="195" y="0"/>
                    <a:pt x="195" y="0"/>
                  </a:cubicBezTo>
                  <a:cubicBezTo>
                    <a:pt x="195" y="0"/>
                    <a:pt x="100" y="83"/>
                    <a:pt x="50" y="300"/>
                  </a:cubicBezTo>
                  <a:cubicBezTo>
                    <a:pt x="0" y="521"/>
                    <a:pt x="60" y="840"/>
                    <a:pt x="60" y="840"/>
                  </a:cubicBezTo>
                  <a:cubicBezTo>
                    <a:pt x="60" y="840"/>
                    <a:pt x="487" y="783"/>
                    <a:pt x="557" y="774"/>
                  </a:cubicBezTo>
                  <a:cubicBezTo>
                    <a:pt x="450" y="337"/>
                    <a:pt x="450" y="337"/>
                    <a:pt x="450" y="337"/>
                  </a:cubicBezTo>
                  <a:cubicBezTo>
                    <a:pt x="354" y="5"/>
                    <a:pt x="354" y="5"/>
                    <a:pt x="354" y="5"/>
                  </a:cubicBezTo>
                </a:path>
              </a:pathLst>
            </a:custGeom>
            <a:solidFill>
              <a:srgbClr val="DDDAE8"/>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39" name="ï$1ïḓè"/>
            <p:cNvSpPr/>
            <p:nvPr/>
          </p:nvSpPr>
          <p:spPr bwMode="auto">
            <a:xfrm>
              <a:off x="4797425" y="2525713"/>
              <a:ext cx="317500" cy="387350"/>
            </a:xfrm>
            <a:custGeom>
              <a:avLst/>
              <a:gdLst>
                <a:gd name="T0" fmla="*/ 90 w 166"/>
                <a:gd name="T1" fmla="*/ 203 h 203"/>
                <a:gd name="T2" fmla="*/ 34 w 166"/>
                <a:gd name="T3" fmla="*/ 197 h 203"/>
                <a:gd name="T4" fmla="*/ 37 w 166"/>
                <a:gd name="T5" fmla="*/ 153 h 203"/>
                <a:gd name="T6" fmla="*/ 1 w 166"/>
                <a:gd name="T7" fmla="*/ 123 h 203"/>
                <a:gd name="T8" fmla="*/ 2 w 166"/>
                <a:gd name="T9" fmla="*/ 108 h 203"/>
                <a:gd name="T10" fmla="*/ 13 w 166"/>
                <a:gd name="T11" fmla="*/ 44 h 203"/>
                <a:gd name="T12" fmla="*/ 19 w 166"/>
                <a:gd name="T13" fmla="*/ 23 h 203"/>
                <a:gd name="T14" fmla="*/ 52 w 166"/>
                <a:gd name="T15" fmla="*/ 5 h 203"/>
                <a:gd name="T16" fmla="*/ 146 w 166"/>
                <a:gd name="T17" fmla="*/ 28 h 203"/>
                <a:gd name="T18" fmla="*/ 162 w 166"/>
                <a:gd name="T19" fmla="*/ 49 h 203"/>
                <a:gd name="T20" fmla="*/ 159 w 166"/>
                <a:gd name="T21" fmla="*/ 89 h 203"/>
                <a:gd name="T22" fmla="*/ 150 w 166"/>
                <a:gd name="T23" fmla="*/ 125 h 203"/>
                <a:gd name="T24" fmla="*/ 128 w 166"/>
                <a:gd name="T25" fmla="*/ 160 h 203"/>
                <a:gd name="T26" fmla="*/ 106 w 166"/>
                <a:gd name="T27" fmla="*/ 166 h 203"/>
                <a:gd name="T28" fmla="*/ 90 w 166"/>
                <a:gd name="T29"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6" h="203">
                  <a:moveTo>
                    <a:pt x="90" y="203"/>
                  </a:moveTo>
                  <a:cubicBezTo>
                    <a:pt x="71" y="201"/>
                    <a:pt x="53" y="199"/>
                    <a:pt x="34" y="197"/>
                  </a:cubicBezTo>
                  <a:cubicBezTo>
                    <a:pt x="34" y="182"/>
                    <a:pt x="35" y="167"/>
                    <a:pt x="37" y="153"/>
                  </a:cubicBezTo>
                  <a:cubicBezTo>
                    <a:pt x="22" y="147"/>
                    <a:pt x="4" y="139"/>
                    <a:pt x="1" y="123"/>
                  </a:cubicBezTo>
                  <a:cubicBezTo>
                    <a:pt x="0" y="118"/>
                    <a:pt x="1" y="113"/>
                    <a:pt x="2" y="108"/>
                  </a:cubicBezTo>
                  <a:cubicBezTo>
                    <a:pt x="5" y="86"/>
                    <a:pt x="9" y="65"/>
                    <a:pt x="13" y="44"/>
                  </a:cubicBezTo>
                  <a:cubicBezTo>
                    <a:pt x="14" y="37"/>
                    <a:pt x="15" y="29"/>
                    <a:pt x="19" y="23"/>
                  </a:cubicBezTo>
                  <a:cubicBezTo>
                    <a:pt x="26" y="12"/>
                    <a:pt x="40" y="7"/>
                    <a:pt x="52" y="5"/>
                  </a:cubicBezTo>
                  <a:cubicBezTo>
                    <a:pt x="85" y="0"/>
                    <a:pt x="121" y="7"/>
                    <a:pt x="146" y="28"/>
                  </a:cubicBezTo>
                  <a:cubicBezTo>
                    <a:pt x="153" y="34"/>
                    <a:pt x="159" y="40"/>
                    <a:pt x="162" y="49"/>
                  </a:cubicBezTo>
                  <a:cubicBezTo>
                    <a:pt x="166" y="61"/>
                    <a:pt x="163" y="76"/>
                    <a:pt x="159" y="89"/>
                  </a:cubicBezTo>
                  <a:cubicBezTo>
                    <a:pt x="156" y="101"/>
                    <a:pt x="153" y="113"/>
                    <a:pt x="150" y="125"/>
                  </a:cubicBezTo>
                  <a:cubicBezTo>
                    <a:pt x="146" y="139"/>
                    <a:pt x="141" y="155"/>
                    <a:pt x="128" y="160"/>
                  </a:cubicBezTo>
                  <a:cubicBezTo>
                    <a:pt x="121" y="163"/>
                    <a:pt x="112" y="162"/>
                    <a:pt x="106" y="166"/>
                  </a:cubicBezTo>
                  <a:cubicBezTo>
                    <a:pt x="94" y="174"/>
                    <a:pt x="96" y="191"/>
                    <a:pt x="90" y="203"/>
                  </a:cubicBezTo>
                  <a:close/>
                </a:path>
              </a:pathLst>
            </a:custGeom>
            <a:solidFill>
              <a:srgbClr val="EAC5B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40" name="išļïdê"/>
            <p:cNvSpPr/>
            <p:nvPr/>
          </p:nvSpPr>
          <p:spPr bwMode="auto">
            <a:xfrm>
              <a:off x="4657725" y="2312988"/>
              <a:ext cx="658813" cy="471488"/>
            </a:xfrm>
            <a:custGeom>
              <a:avLst/>
              <a:gdLst>
                <a:gd name="T0" fmla="*/ 344 w 345"/>
                <a:gd name="T1" fmla="*/ 103 h 247"/>
                <a:gd name="T2" fmla="*/ 340 w 345"/>
                <a:gd name="T3" fmla="*/ 61 h 247"/>
                <a:gd name="T4" fmla="*/ 285 w 345"/>
                <a:gd name="T5" fmla="*/ 26 h 247"/>
                <a:gd name="T6" fmla="*/ 138 w 345"/>
                <a:gd name="T7" fmla="*/ 18 h 247"/>
                <a:gd name="T8" fmla="*/ 48 w 345"/>
                <a:gd name="T9" fmla="*/ 44 h 247"/>
                <a:gd name="T10" fmla="*/ 22 w 345"/>
                <a:gd name="T11" fmla="*/ 69 h 247"/>
                <a:gd name="T12" fmla="*/ 22 w 345"/>
                <a:gd name="T13" fmla="*/ 188 h 247"/>
                <a:gd name="T14" fmla="*/ 40 w 345"/>
                <a:gd name="T15" fmla="*/ 210 h 247"/>
                <a:gd name="T16" fmla="*/ 87 w 345"/>
                <a:gd name="T17" fmla="*/ 247 h 247"/>
                <a:gd name="T18" fmla="*/ 85 w 345"/>
                <a:gd name="T19" fmla="*/ 167 h 247"/>
                <a:gd name="T20" fmla="*/ 173 w 345"/>
                <a:gd name="T21" fmla="*/ 158 h 247"/>
                <a:gd name="T22" fmla="*/ 250 w 345"/>
                <a:gd name="T23" fmla="*/ 187 h 247"/>
                <a:gd name="T24" fmla="*/ 310 w 345"/>
                <a:gd name="T25" fmla="*/ 170 h 247"/>
                <a:gd name="T26" fmla="*/ 344 w 345"/>
                <a:gd name="T27" fmla="*/ 10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5" h="247">
                  <a:moveTo>
                    <a:pt x="344" y="103"/>
                  </a:moveTo>
                  <a:cubicBezTo>
                    <a:pt x="345" y="89"/>
                    <a:pt x="343" y="74"/>
                    <a:pt x="340" y="61"/>
                  </a:cubicBezTo>
                  <a:cubicBezTo>
                    <a:pt x="335" y="38"/>
                    <a:pt x="308" y="28"/>
                    <a:pt x="285" y="26"/>
                  </a:cubicBezTo>
                  <a:cubicBezTo>
                    <a:pt x="235" y="23"/>
                    <a:pt x="187" y="0"/>
                    <a:pt x="138" y="18"/>
                  </a:cubicBezTo>
                  <a:cubicBezTo>
                    <a:pt x="110" y="28"/>
                    <a:pt x="73" y="30"/>
                    <a:pt x="48" y="44"/>
                  </a:cubicBezTo>
                  <a:cubicBezTo>
                    <a:pt x="37" y="50"/>
                    <a:pt x="29" y="59"/>
                    <a:pt x="22" y="69"/>
                  </a:cubicBezTo>
                  <a:cubicBezTo>
                    <a:pt x="0" y="105"/>
                    <a:pt x="0" y="153"/>
                    <a:pt x="22" y="188"/>
                  </a:cubicBezTo>
                  <a:cubicBezTo>
                    <a:pt x="27" y="196"/>
                    <a:pt x="33" y="203"/>
                    <a:pt x="40" y="210"/>
                  </a:cubicBezTo>
                  <a:cubicBezTo>
                    <a:pt x="53" y="224"/>
                    <a:pt x="69" y="242"/>
                    <a:pt x="87" y="247"/>
                  </a:cubicBezTo>
                  <a:cubicBezTo>
                    <a:pt x="87" y="231"/>
                    <a:pt x="72" y="180"/>
                    <a:pt x="85" y="167"/>
                  </a:cubicBezTo>
                  <a:cubicBezTo>
                    <a:pt x="104" y="146"/>
                    <a:pt x="149" y="153"/>
                    <a:pt x="173" y="158"/>
                  </a:cubicBezTo>
                  <a:cubicBezTo>
                    <a:pt x="200" y="164"/>
                    <a:pt x="224" y="183"/>
                    <a:pt x="250" y="187"/>
                  </a:cubicBezTo>
                  <a:cubicBezTo>
                    <a:pt x="270" y="189"/>
                    <a:pt x="294" y="180"/>
                    <a:pt x="310" y="170"/>
                  </a:cubicBezTo>
                  <a:cubicBezTo>
                    <a:pt x="335" y="155"/>
                    <a:pt x="344" y="129"/>
                    <a:pt x="344" y="103"/>
                  </a:cubicBez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41" name="íśľîḑé"/>
            <p:cNvSpPr/>
            <p:nvPr/>
          </p:nvSpPr>
          <p:spPr bwMode="auto">
            <a:xfrm>
              <a:off x="4838700" y="2903538"/>
              <a:ext cx="501650" cy="1512888"/>
            </a:xfrm>
            <a:custGeom>
              <a:avLst/>
              <a:gdLst>
                <a:gd name="T0" fmla="*/ 81 w 262"/>
                <a:gd name="T1" fmla="*/ 8 h 793"/>
                <a:gd name="T2" fmla="*/ 248 w 262"/>
                <a:gd name="T3" fmla="*/ 677 h 793"/>
                <a:gd name="T4" fmla="*/ 262 w 262"/>
                <a:gd name="T5" fmla="*/ 765 h 793"/>
                <a:gd name="T6" fmla="*/ 54 w 262"/>
                <a:gd name="T7" fmla="*/ 793 h 793"/>
                <a:gd name="T8" fmla="*/ 59 w 262"/>
                <a:gd name="T9" fmla="*/ 429 h 793"/>
                <a:gd name="T10" fmla="*/ 21 w 262"/>
                <a:gd name="T11" fmla="*/ 195 h 793"/>
                <a:gd name="T12" fmla="*/ 12 w 262"/>
                <a:gd name="T13" fmla="*/ 0 h 793"/>
                <a:gd name="T14" fmla="*/ 81 w 262"/>
                <a:gd name="T15" fmla="*/ 8 h 7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2" h="793">
                  <a:moveTo>
                    <a:pt x="81" y="8"/>
                  </a:moveTo>
                  <a:cubicBezTo>
                    <a:pt x="248" y="677"/>
                    <a:pt x="248" y="677"/>
                    <a:pt x="248" y="677"/>
                  </a:cubicBezTo>
                  <a:cubicBezTo>
                    <a:pt x="262" y="765"/>
                    <a:pt x="262" y="765"/>
                    <a:pt x="262" y="765"/>
                  </a:cubicBezTo>
                  <a:cubicBezTo>
                    <a:pt x="54" y="793"/>
                    <a:pt x="54" y="793"/>
                    <a:pt x="54" y="793"/>
                  </a:cubicBezTo>
                  <a:cubicBezTo>
                    <a:pt x="54" y="793"/>
                    <a:pt x="62" y="472"/>
                    <a:pt x="59" y="429"/>
                  </a:cubicBezTo>
                  <a:cubicBezTo>
                    <a:pt x="56" y="387"/>
                    <a:pt x="25" y="294"/>
                    <a:pt x="21" y="195"/>
                  </a:cubicBezTo>
                  <a:cubicBezTo>
                    <a:pt x="18" y="137"/>
                    <a:pt x="0" y="34"/>
                    <a:pt x="12" y="0"/>
                  </a:cubicBezTo>
                  <a:cubicBezTo>
                    <a:pt x="81" y="8"/>
                    <a:pt x="81" y="8"/>
                    <a:pt x="81" y="8"/>
                  </a:cubicBezTo>
                </a:path>
              </a:pathLst>
            </a:custGeom>
            <a:solidFill>
              <a:srgbClr val="5D66D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42" name="îśľiḓe"/>
            <p:cNvSpPr/>
            <p:nvPr/>
          </p:nvSpPr>
          <p:spPr bwMode="auto">
            <a:xfrm>
              <a:off x="5272088" y="3584576"/>
              <a:ext cx="257175" cy="150813"/>
            </a:xfrm>
            <a:custGeom>
              <a:avLst/>
              <a:gdLst>
                <a:gd name="T0" fmla="*/ 11 w 162"/>
                <a:gd name="T1" fmla="*/ 5 h 95"/>
                <a:gd name="T2" fmla="*/ 57 w 162"/>
                <a:gd name="T3" fmla="*/ 19 h 95"/>
                <a:gd name="T4" fmla="*/ 93 w 162"/>
                <a:gd name="T5" fmla="*/ 0 h 95"/>
                <a:gd name="T6" fmla="*/ 101 w 162"/>
                <a:gd name="T7" fmla="*/ 5 h 95"/>
                <a:gd name="T8" fmla="*/ 94 w 162"/>
                <a:gd name="T9" fmla="*/ 16 h 95"/>
                <a:gd name="T10" fmla="*/ 130 w 162"/>
                <a:gd name="T11" fmla="*/ 7 h 95"/>
                <a:gd name="T12" fmla="*/ 156 w 162"/>
                <a:gd name="T13" fmla="*/ 20 h 95"/>
                <a:gd name="T14" fmla="*/ 162 w 162"/>
                <a:gd name="T15" fmla="*/ 59 h 95"/>
                <a:gd name="T16" fmla="*/ 141 w 162"/>
                <a:gd name="T17" fmla="*/ 94 h 95"/>
                <a:gd name="T18" fmla="*/ 103 w 162"/>
                <a:gd name="T19" fmla="*/ 95 h 95"/>
                <a:gd name="T20" fmla="*/ 62 w 162"/>
                <a:gd name="T21" fmla="*/ 75 h 95"/>
                <a:gd name="T22" fmla="*/ 0 w 162"/>
                <a:gd name="T23" fmla="*/ 58 h 95"/>
                <a:gd name="T24" fmla="*/ 11 w 162"/>
                <a:gd name="T25" fmla="*/ 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2" h="95">
                  <a:moveTo>
                    <a:pt x="11" y="5"/>
                  </a:moveTo>
                  <a:lnTo>
                    <a:pt x="57" y="19"/>
                  </a:lnTo>
                  <a:lnTo>
                    <a:pt x="93" y="0"/>
                  </a:lnTo>
                  <a:lnTo>
                    <a:pt x="101" y="5"/>
                  </a:lnTo>
                  <a:lnTo>
                    <a:pt x="94" y="16"/>
                  </a:lnTo>
                  <a:lnTo>
                    <a:pt x="130" y="7"/>
                  </a:lnTo>
                  <a:lnTo>
                    <a:pt x="156" y="20"/>
                  </a:lnTo>
                  <a:lnTo>
                    <a:pt x="162" y="59"/>
                  </a:lnTo>
                  <a:lnTo>
                    <a:pt x="141" y="94"/>
                  </a:lnTo>
                  <a:lnTo>
                    <a:pt x="103" y="95"/>
                  </a:lnTo>
                  <a:lnTo>
                    <a:pt x="62" y="75"/>
                  </a:lnTo>
                  <a:lnTo>
                    <a:pt x="0" y="58"/>
                  </a:lnTo>
                  <a:lnTo>
                    <a:pt x="11" y="5"/>
                  </a:lnTo>
                  <a:close/>
                </a:path>
              </a:pathLst>
            </a:custGeom>
            <a:solidFill>
              <a:srgbClr val="EAC5B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43" name="ïSļïḍe"/>
            <p:cNvSpPr/>
            <p:nvPr/>
          </p:nvSpPr>
          <p:spPr bwMode="auto">
            <a:xfrm>
              <a:off x="4624388" y="3068638"/>
              <a:ext cx="727075" cy="674688"/>
            </a:xfrm>
            <a:custGeom>
              <a:avLst/>
              <a:gdLst>
                <a:gd name="T0" fmla="*/ 380 w 380"/>
                <a:gd name="T1" fmla="*/ 277 h 353"/>
                <a:gd name="T2" fmla="*/ 206 w 380"/>
                <a:gd name="T3" fmla="*/ 236 h 353"/>
                <a:gd name="T4" fmla="*/ 159 w 380"/>
                <a:gd name="T5" fmla="*/ 228 h 353"/>
                <a:gd name="T6" fmla="*/ 127 w 380"/>
                <a:gd name="T7" fmla="*/ 199 h 353"/>
                <a:gd name="T8" fmla="*/ 120 w 380"/>
                <a:gd name="T9" fmla="*/ 8 h 353"/>
                <a:gd name="T10" fmla="*/ 51 w 380"/>
                <a:gd name="T11" fmla="*/ 1 h 353"/>
                <a:gd name="T12" fmla="*/ 14 w 380"/>
                <a:gd name="T13" fmla="*/ 57 h 353"/>
                <a:gd name="T14" fmla="*/ 10 w 380"/>
                <a:gd name="T15" fmla="*/ 161 h 353"/>
                <a:gd name="T16" fmla="*/ 43 w 380"/>
                <a:gd name="T17" fmla="*/ 324 h 353"/>
                <a:gd name="T18" fmla="*/ 379 w 380"/>
                <a:gd name="T19" fmla="*/ 353 h 353"/>
                <a:gd name="T20" fmla="*/ 380 w 380"/>
                <a:gd name="T21" fmla="*/ 277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0" h="353">
                  <a:moveTo>
                    <a:pt x="380" y="277"/>
                  </a:moveTo>
                  <a:cubicBezTo>
                    <a:pt x="322" y="263"/>
                    <a:pt x="264" y="250"/>
                    <a:pt x="206" y="236"/>
                  </a:cubicBezTo>
                  <a:cubicBezTo>
                    <a:pt x="191" y="232"/>
                    <a:pt x="175" y="232"/>
                    <a:pt x="159" y="228"/>
                  </a:cubicBezTo>
                  <a:cubicBezTo>
                    <a:pt x="136" y="222"/>
                    <a:pt x="130" y="220"/>
                    <a:pt x="127" y="199"/>
                  </a:cubicBezTo>
                  <a:cubicBezTo>
                    <a:pt x="117" y="136"/>
                    <a:pt x="129" y="70"/>
                    <a:pt x="120" y="8"/>
                  </a:cubicBezTo>
                  <a:cubicBezTo>
                    <a:pt x="97" y="6"/>
                    <a:pt x="75" y="0"/>
                    <a:pt x="51" y="1"/>
                  </a:cubicBezTo>
                  <a:cubicBezTo>
                    <a:pt x="13" y="1"/>
                    <a:pt x="17" y="28"/>
                    <a:pt x="14" y="57"/>
                  </a:cubicBezTo>
                  <a:cubicBezTo>
                    <a:pt x="12" y="91"/>
                    <a:pt x="10" y="126"/>
                    <a:pt x="10" y="161"/>
                  </a:cubicBezTo>
                  <a:cubicBezTo>
                    <a:pt x="10" y="190"/>
                    <a:pt x="0" y="315"/>
                    <a:pt x="43" y="324"/>
                  </a:cubicBezTo>
                  <a:cubicBezTo>
                    <a:pt x="73" y="330"/>
                    <a:pt x="379" y="347"/>
                    <a:pt x="379" y="353"/>
                  </a:cubicBezTo>
                  <a:cubicBezTo>
                    <a:pt x="379" y="350"/>
                    <a:pt x="380" y="277"/>
                    <a:pt x="380" y="277"/>
                  </a:cubicBezTo>
                  <a:close/>
                </a:path>
              </a:pathLst>
            </a:custGeom>
            <a:solidFill>
              <a:srgbClr val="DDDAE8"/>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44" name="isḷîḓe"/>
            <p:cNvSpPr/>
            <p:nvPr/>
          </p:nvSpPr>
          <p:spPr bwMode="auto">
            <a:xfrm>
              <a:off x="5184775" y="3703638"/>
              <a:ext cx="2066925" cy="2079625"/>
            </a:xfrm>
            <a:custGeom>
              <a:avLst/>
              <a:gdLst>
                <a:gd name="T0" fmla="*/ 6 w 1082"/>
                <a:gd name="T1" fmla="*/ 957 h 1090"/>
                <a:gd name="T2" fmla="*/ 0 w 1082"/>
                <a:gd name="T3" fmla="*/ 1000 h 1090"/>
                <a:gd name="T4" fmla="*/ 99 w 1082"/>
                <a:gd name="T5" fmla="*/ 1080 h 1090"/>
                <a:gd name="T6" fmla="*/ 145 w 1082"/>
                <a:gd name="T7" fmla="*/ 1081 h 1090"/>
                <a:gd name="T8" fmla="*/ 6 w 1082"/>
                <a:gd name="T9" fmla="*/ 957 h 1090"/>
                <a:gd name="T10" fmla="*/ 937 w 1082"/>
                <a:gd name="T11" fmla="*/ 929 h 1090"/>
                <a:gd name="T12" fmla="*/ 764 w 1082"/>
                <a:gd name="T13" fmla="*/ 1089 h 1090"/>
                <a:gd name="T14" fmla="*/ 778 w 1082"/>
                <a:gd name="T15" fmla="*/ 1090 h 1090"/>
                <a:gd name="T16" fmla="*/ 942 w 1082"/>
                <a:gd name="T17" fmla="*/ 960 h 1090"/>
                <a:gd name="T18" fmla="*/ 937 w 1082"/>
                <a:gd name="T19" fmla="*/ 929 h 1090"/>
                <a:gd name="T20" fmla="*/ 1059 w 1082"/>
                <a:gd name="T21" fmla="*/ 597 h 1090"/>
                <a:gd name="T22" fmla="*/ 1044 w 1082"/>
                <a:gd name="T23" fmla="*/ 797 h 1090"/>
                <a:gd name="T24" fmla="*/ 1082 w 1082"/>
                <a:gd name="T25" fmla="*/ 644 h 1090"/>
                <a:gd name="T26" fmla="*/ 1061 w 1082"/>
                <a:gd name="T27" fmla="*/ 606 h 1090"/>
                <a:gd name="T28" fmla="*/ 1059 w 1082"/>
                <a:gd name="T29" fmla="*/ 597 h 1090"/>
                <a:gd name="T30" fmla="*/ 736 w 1082"/>
                <a:gd name="T31" fmla="*/ 63 h 1090"/>
                <a:gd name="T32" fmla="*/ 725 w 1082"/>
                <a:gd name="T33" fmla="*/ 65 h 1090"/>
                <a:gd name="T34" fmla="*/ 826 w 1082"/>
                <a:gd name="T35" fmla="*/ 129 h 1090"/>
                <a:gd name="T36" fmla="*/ 834 w 1082"/>
                <a:gd name="T37" fmla="*/ 103 h 1090"/>
                <a:gd name="T38" fmla="*/ 772 w 1082"/>
                <a:gd name="T39" fmla="*/ 66 h 1090"/>
                <a:gd name="T40" fmla="*/ 738 w 1082"/>
                <a:gd name="T41" fmla="*/ 70 h 1090"/>
                <a:gd name="T42" fmla="*/ 736 w 1082"/>
                <a:gd name="T43" fmla="*/ 63 h 1090"/>
                <a:gd name="T44" fmla="*/ 229 w 1082"/>
                <a:gd name="T45" fmla="*/ 46 h 1090"/>
                <a:gd name="T46" fmla="*/ 93 w 1082"/>
                <a:gd name="T47" fmla="*/ 117 h 1090"/>
                <a:gd name="T48" fmla="*/ 96 w 1082"/>
                <a:gd name="T49" fmla="*/ 129 h 1090"/>
                <a:gd name="T50" fmla="*/ 229 w 1082"/>
                <a:gd name="T51" fmla="*/ 49 h 1090"/>
                <a:gd name="T52" fmla="*/ 229 w 1082"/>
                <a:gd name="T53" fmla="*/ 46 h 1090"/>
                <a:gd name="T54" fmla="*/ 496 w 1082"/>
                <a:gd name="T55" fmla="*/ 0 h 1090"/>
                <a:gd name="T56" fmla="*/ 497 w 1082"/>
                <a:gd name="T57" fmla="*/ 3 h 1090"/>
                <a:gd name="T58" fmla="*/ 663 w 1082"/>
                <a:gd name="T59" fmla="*/ 37 h 1090"/>
                <a:gd name="T60" fmla="*/ 666 w 1082"/>
                <a:gd name="T61" fmla="*/ 25 h 1090"/>
                <a:gd name="T62" fmla="*/ 496 w 1082"/>
                <a:gd name="T63" fmla="*/ 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2" h="1090">
                  <a:moveTo>
                    <a:pt x="6" y="957"/>
                  </a:moveTo>
                  <a:cubicBezTo>
                    <a:pt x="0" y="1000"/>
                    <a:pt x="0" y="1000"/>
                    <a:pt x="0" y="1000"/>
                  </a:cubicBezTo>
                  <a:cubicBezTo>
                    <a:pt x="30" y="1031"/>
                    <a:pt x="63" y="1057"/>
                    <a:pt x="99" y="1080"/>
                  </a:cubicBezTo>
                  <a:cubicBezTo>
                    <a:pt x="145" y="1081"/>
                    <a:pt x="145" y="1081"/>
                    <a:pt x="145" y="1081"/>
                  </a:cubicBezTo>
                  <a:cubicBezTo>
                    <a:pt x="92" y="1047"/>
                    <a:pt x="46" y="1006"/>
                    <a:pt x="6" y="957"/>
                  </a:cubicBezTo>
                  <a:moveTo>
                    <a:pt x="937" y="929"/>
                  </a:moveTo>
                  <a:cubicBezTo>
                    <a:pt x="891" y="993"/>
                    <a:pt x="832" y="1048"/>
                    <a:pt x="764" y="1089"/>
                  </a:cubicBezTo>
                  <a:cubicBezTo>
                    <a:pt x="778" y="1090"/>
                    <a:pt x="778" y="1090"/>
                    <a:pt x="778" y="1090"/>
                  </a:cubicBezTo>
                  <a:cubicBezTo>
                    <a:pt x="841" y="1055"/>
                    <a:pt x="896" y="1011"/>
                    <a:pt x="942" y="960"/>
                  </a:cubicBezTo>
                  <a:cubicBezTo>
                    <a:pt x="937" y="929"/>
                    <a:pt x="937" y="929"/>
                    <a:pt x="937" y="929"/>
                  </a:cubicBezTo>
                  <a:moveTo>
                    <a:pt x="1059" y="597"/>
                  </a:moveTo>
                  <a:cubicBezTo>
                    <a:pt x="1044" y="797"/>
                    <a:pt x="1044" y="797"/>
                    <a:pt x="1044" y="797"/>
                  </a:cubicBezTo>
                  <a:cubicBezTo>
                    <a:pt x="1064" y="749"/>
                    <a:pt x="1077" y="698"/>
                    <a:pt x="1082" y="644"/>
                  </a:cubicBezTo>
                  <a:cubicBezTo>
                    <a:pt x="1061" y="606"/>
                    <a:pt x="1061" y="606"/>
                    <a:pt x="1061" y="606"/>
                  </a:cubicBezTo>
                  <a:cubicBezTo>
                    <a:pt x="1059" y="597"/>
                    <a:pt x="1059" y="597"/>
                    <a:pt x="1059" y="597"/>
                  </a:cubicBezTo>
                  <a:moveTo>
                    <a:pt x="736" y="63"/>
                  </a:moveTo>
                  <a:cubicBezTo>
                    <a:pt x="725" y="65"/>
                    <a:pt x="725" y="65"/>
                    <a:pt x="725" y="65"/>
                  </a:cubicBezTo>
                  <a:cubicBezTo>
                    <a:pt x="761" y="83"/>
                    <a:pt x="795" y="104"/>
                    <a:pt x="826" y="129"/>
                  </a:cubicBezTo>
                  <a:cubicBezTo>
                    <a:pt x="829" y="120"/>
                    <a:pt x="832" y="111"/>
                    <a:pt x="834" y="103"/>
                  </a:cubicBezTo>
                  <a:cubicBezTo>
                    <a:pt x="814" y="89"/>
                    <a:pt x="793" y="77"/>
                    <a:pt x="772" y="66"/>
                  </a:cubicBezTo>
                  <a:cubicBezTo>
                    <a:pt x="738" y="70"/>
                    <a:pt x="738" y="70"/>
                    <a:pt x="738" y="70"/>
                  </a:cubicBezTo>
                  <a:cubicBezTo>
                    <a:pt x="736" y="63"/>
                    <a:pt x="736" y="63"/>
                    <a:pt x="736" y="63"/>
                  </a:cubicBezTo>
                  <a:moveTo>
                    <a:pt x="229" y="46"/>
                  </a:moveTo>
                  <a:cubicBezTo>
                    <a:pt x="180" y="65"/>
                    <a:pt x="134" y="89"/>
                    <a:pt x="93" y="117"/>
                  </a:cubicBezTo>
                  <a:cubicBezTo>
                    <a:pt x="96" y="129"/>
                    <a:pt x="96" y="129"/>
                    <a:pt x="96" y="129"/>
                  </a:cubicBezTo>
                  <a:cubicBezTo>
                    <a:pt x="136" y="97"/>
                    <a:pt x="181" y="70"/>
                    <a:pt x="229" y="49"/>
                  </a:cubicBezTo>
                  <a:cubicBezTo>
                    <a:pt x="229" y="46"/>
                    <a:pt x="229" y="46"/>
                    <a:pt x="229" y="46"/>
                  </a:cubicBezTo>
                  <a:moveTo>
                    <a:pt x="496" y="0"/>
                  </a:moveTo>
                  <a:cubicBezTo>
                    <a:pt x="497" y="3"/>
                    <a:pt x="497" y="3"/>
                    <a:pt x="497" y="3"/>
                  </a:cubicBezTo>
                  <a:cubicBezTo>
                    <a:pt x="554" y="6"/>
                    <a:pt x="610" y="18"/>
                    <a:pt x="663" y="37"/>
                  </a:cubicBezTo>
                  <a:cubicBezTo>
                    <a:pt x="666" y="25"/>
                    <a:pt x="666" y="25"/>
                    <a:pt x="666" y="25"/>
                  </a:cubicBezTo>
                  <a:cubicBezTo>
                    <a:pt x="612" y="9"/>
                    <a:pt x="555" y="1"/>
                    <a:pt x="496" y="0"/>
                  </a:cubicBezTo>
                </a:path>
              </a:pathLst>
            </a:custGeom>
            <a:solidFill>
              <a:srgbClr val="F3F3F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45" name="ïşḻiďé"/>
            <p:cNvSpPr/>
            <p:nvPr/>
          </p:nvSpPr>
          <p:spPr bwMode="auto">
            <a:xfrm>
              <a:off x="5373688" y="5764213"/>
              <a:ext cx="1296988" cy="182563"/>
            </a:xfrm>
            <a:custGeom>
              <a:avLst/>
              <a:gdLst>
                <a:gd name="T0" fmla="*/ 0 w 679"/>
                <a:gd name="T1" fmla="*/ 0 h 96"/>
                <a:gd name="T2" fmla="*/ 339 w 679"/>
                <a:gd name="T3" fmla="*/ 96 h 96"/>
                <a:gd name="T4" fmla="*/ 462 w 679"/>
                <a:gd name="T5" fmla="*/ 85 h 96"/>
                <a:gd name="T6" fmla="*/ 679 w 679"/>
                <a:gd name="T7" fmla="*/ 10 h 96"/>
                <a:gd name="T8" fmla="*/ 665 w 679"/>
                <a:gd name="T9" fmla="*/ 9 h 96"/>
                <a:gd name="T10" fmla="*/ 462 w 679"/>
                <a:gd name="T11" fmla="*/ 85 h 96"/>
                <a:gd name="T12" fmla="*/ 361 w 679"/>
                <a:gd name="T13" fmla="*/ 94 h 96"/>
                <a:gd name="T14" fmla="*/ 46 w 679"/>
                <a:gd name="T15" fmla="*/ 1 h 96"/>
                <a:gd name="T16" fmla="*/ 0 w 679"/>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9" h="96">
                  <a:moveTo>
                    <a:pt x="0" y="0"/>
                  </a:moveTo>
                  <a:cubicBezTo>
                    <a:pt x="98" y="62"/>
                    <a:pt x="215" y="96"/>
                    <a:pt x="339" y="96"/>
                  </a:cubicBezTo>
                  <a:cubicBezTo>
                    <a:pt x="380" y="96"/>
                    <a:pt x="421" y="92"/>
                    <a:pt x="462" y="85"/>
                  </a:cubicBezTo>
                  <a:cubicBezTo>
                    <a:pt x="541" y="71"/>
                    <a:pt x="614" y="45"/>
                    <a:pt x="679" y="10"/>
                  </a:cubicBezTo>
                  <a:cubicBezTo>
                    <a:pt x="665" y="9"/>
                    <a:pt x="665" y="9"/>
                    <a:pt x="665" y="9"/>
                  </a:cubicBezTo>
                  <a:cubicBezTo>
                    <a:pt x="604" y="46"/>
                    <a:pt x="536" y="72"/>
                    <a:pt x="462" y="85"/>
                  </a:cubicBezTo>
                  <a:cubicBezTo>
                    <a:pt x="428" y="91"/>
                    <a:pt x="395" y="94"/>
                    <a:pt x="361" y="94"/>
                  </a:cubicBezTo>
                  <a:cubicBezTo>
                    <a:pt x="247" y="94"/>
                    <a:pt x="138" y="60"/>
                    <a:pt x="46" y="1"/>
                  </a:cubicBezTo>
                  <a:cubicBezTo>
                    <a:pt x="0" y="0"/>
                    <a:pt x="0" y="0"/>
                    <a:pt x="0" y="0"/>
                  </a:cubicBezTo>
                </a:path>
              </a:pathLst>
            </a:custGeom>
            <a:solidFill>
              <a:srgbClr val="DFDFD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46" name="îṡḷîḍê"/>
            <p:cNvSpPr/>
            <p:nvPr/>
          </p:nvSpPr>
          <p:spPr bwMode="auto">
            <a:xfrm>
              <a:off x="7207250" y="4632326"/>
              <a:ext cx="55563" cy="300038"/>
            </a:xfrm>
            <a:custGeom>
              <a:avLst/>
              <a:gdLst>
                <a:gd name="T0" fmla="*/ 19 w 29"/>
                <a:gd name="T1" fmla="*/ 0 h 157"/>
                <a:gd name="T2" fmla="*/ 1 w 29"/>
                <a:gd name="T3" fmla="*/ 108 h 157"/>
                <a:gd name="T4" fmla="*/ 0 w 29"/>
                <a:gd name="T5" fmla="*/ 110 h 157"/>
                <a:gd name="T6" fmla="*/ 2 w 29"/>
                <a:gd name="T7" fmla="*/ 119 h 157"/>
                <a:gd name="T8" fmla="*/ 23 w 29"/>
                <a:gd name="T9" fmla="*/ 157 h 157"/>
                <a:gd name="T10" fmla="*/ 19 w 29"/>
                <a:gd name="T11" fmla="*/ 0 h 157"/>
              </a:gdLst>
              <a:ahLst/>
              <a:cxnLst>
                <a:cxn ang="0">
                  <a:pos x="T0" y="T1"/>
                </a:cxn>
                <a:cxn ang="0">
                  <a:pos x="T2" y="T3"/>
                </a:cxn>
                <a:cxn ang="0">
                  <a:pos x="T4" y="T5"/>
                </a:cxn>
                <a:cxn ang="0">
                  <a:pos x="T6" y="T7"/>
                </a:cxn>
                <a:cxn ang="0">
                  <a:pos x="T8" y="T9"/>
                </a:cxn>
                <a:cxn ang="0">
                  <a:pos x="T10" y="T11"/>
                </a:cxn>
              </a:cxnLst>
              <a:rect l="0" t="0" r="r" b="b"/>
              <a:pathLst>
                <a:path w="29" h="157">
                  <a:moveTo>
                    <a:pt x="19" y="0"/>
                  </a:moveTo>
                  <a:cubicBezTo>
                    <a:pt x="1" y="108"/>
                    <a:pt x="1" y="108"/>
                    <a:pt x="1" y="108"/>
                  </a:cubicBezTo>
                  <a:cubicBezTo>
                    <a:pt x="0" y="110"/>
                    <a:pt x="0" y="110"/>
                    <a:pt x="0" y="110"/>
                  </a:cubicBezTo>
                  <a:cubicBezTo>
                    <a:pt x="2" y="119"/>
                    <a:pt x="2" y="119"/>
                    <a:pt x="2" y="119"/>
                  </a:cubicBezTo>
                  <a:cubicBezTo>
                    <a:pt x="23" y="157"/>
                    <a:pt x="23" y="157"/>
                    <a:pt x="23" y="157"/>
                  </a:cubicBezTo>
                  <a:cubicBezTo>
                    <a:pt x="29" y="107"/>
                    <a:pt x="27" y="54"/>
                    <a:pt x="19" y="0"/>
                  </a:cubicBezTo>
                </a:path>
              </a:pathLst>
            </a:custGeom>
            <a:solidFill>
              <a:srgbClr val="27274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47" name="ïşľïḑé"/>
            <p:cNvSpPr/>
            <p:nvPr/>
          </p:nvSpPr>
          <p:spPr bwMode="auto">
            <a:xfrm>
              <a:off x="6975475" y="4500563"/>
              <a:ext cx="268288" cy="1035050"/>
            </a:xfrm>
            <a:custGeom>
              <a:avLst/>
              <a:gdLst>
                <a:gd name="T0" fmla="*/ 85 w 141"/>
                <a:gd name="T1" fmla="*/ 0 h 542"/>
                <a:gd name="T2" fmla="*/ 101 w 141"/>
                <a:gd name="T3" fmla="*/ 69 h 542"/>
                <a:gd name="T4" fmla="*/ 0 w 141"/>
                <a:gd name="T5" fmla="*/ 511 h 542"/>
                <a:gd name="T6" fmla="*/ 5 w 141"/>
                <a:gd name="T7" fmla="*/ 542 h 542"/>
                <a:gd name="T8" fmla="*/ 107 w 141"/>
                <a:gd name="T9" fmla="*/ 379 h 542"/>
                <a:gd name="T10" fmla="*/ 122 w 141"/>
                <a:gd name="T11" fmla="*/ 179 h 542"/>
                <a:gd name="T12" fmla="*/ 123 w 141"/>
                <a:gd name="T13" fmla="*/ 177 h 542"/>
                <a:gd name="T14" fmla="*/ 141 w 141"/>
                <a:gd name="T15" fmla="*/ 69 h 542"/>
                <a:gd name="T16" fmla="*/ 139 w 141"/>
                <a:gd name="T17" fmla="*/ 62 h 542"/>
                <a:gd name="T18" fmla="*/ 125 w 141"/>
                <a:gd name="T19" fmla="*/ 1 h 542"/>
                <a:gd name="T20" fmla="*/ 85 w 141"/>
                <a:gd name="T21" fmla="*/ 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542">
                  <a:moveTo>
                    <a:pt x="85" y="0"/>
                  </a:moveTo>
                  <a:cubicBezTo>
                    <a:pt x="92" y="23"/>
                    <a:pt x="97" y="45"/>
                    <a:pt x="101" y="69"/>
                  </a:cubicBezTo>
                  <a:cubicBezTo>
                    <a:pt x="129" y="230"/>
                    <a:pt x="89" y="388"/>
                    <a:pt x="0" y="511"/>
                  </a:cubicBezTo>
                  <a:cubicBezTo>
                    <a:pt x="5" y="542"/>
                    <a:pt x="5" y="542"/>
                    <a:pt x="5" y="542"/>
                  </a:cubicBezTo>
                  <a:cubicBezTo>
                    <a:pt x="48" y="494"/>
                    <a:pt x="83" y="439"/>
                    <a:pt x="107" y="379"/>
                  </a:cubicBezTo>
                  <a:cubicBezTo>
                    <a:pt x="122" y="179"/>
                    <a:pt x="122" y="179"/>
                    <a:pt x="122" y="179"/>
                  </a:cubicBezTo>
                  <a:cubicBezTo>
                    <a:pt x="123" y="177"/>
                    <a:pt x="123" y="177"/>
                    <a:pt x="123" y="177"/>
                  </a:cubicBezTo>
                  <a:cubicBezTo>
                    <a:pt x="141" y="69"/>
                    <a:pt x="141" y="69"/>
                    <a:pt x="141" y="69"/>
                  </a:cubicBezTo>
                  <a:cubicBezTo>
                    <a:pt x="140" y="67"/>
                    <a:pt x="140" y="65"/>
                    <a:pt x="139" y="62"/>
                  </a:cubicBezTo>
                  <a:cubicBezTo>
                    <a:pt x="136" y="41"/>
                    <a:pt x="131" y="21"/>
                    <a:pt x="125" y="1"/>
                  </a:cubicBezTo>
                  <a:cubicBezTo>
                    <a:pt x="112" y="0"/>
                    <a:pt x="98" y="0"/>
                    <a:pt x="85" y="0"/>
                  </a:cubicBezTo>
                </a:path>
              </a:pathLst>
            </a:custGeom>
            <a:solidFill>
              <a:srgbClr val="27274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48" name="íŝľïdé"/>
            <p:cNvSpPr/>
            <p:nvPr/>
          </p:nvSpPr>
          <p:spPr bwMode="auto">
            <a:xfrm>
              <a:off x="6762750" y="3898901"/>
              <a:ext cx="141288" cy="176213"/>
            </a:xfrm>
            <a:custGeom>
              <a:avLst/>
              <a:gdLst>
                <a:gd name="T0" fmla="*/ 8 w 74"/>
                <a:gd name="T1" fmla="*/ 0 h 92"/>
                <a:gd name="T2" fmla="*/ 0 w 74"/>
                <a:gd name="T3" fmla="*/ 26 h 92"/>
                <a:gd name="T4" fmla="*/ 70 w 74"/>
                <a:gd name="T5" fmla="*/ 92 h 92"/>
                <a:gd name="T6" fmla="*/ 74 w 74"/>
                <a:gd name="T7" fmla="*/ 51 h 92"/>
                <a:gd name="T8" fmla="*/ 8 w 74"/>
                <a:gd name="T9" fmla="*/ 0 h 92"/>
              </a:gdLst>
              <a:ahLst/>
              <a:cxnLst>
                <a:cxn ang="0">
                  <a:pos x="T0" y="T1"/>
                </a:cxn>
                <a:cxn ang="0">
                  <a:pos x="T2" y="T3"/>
                </a:cxn>
                <a:cxn ang="0">
                  <a:pos x="T4" y="T5"/>
                </a:cxn>
                <a:cxn ang="0">
                  <a:pos x="T6" y="T7"/>
                </a:cxn>
                <a:cxn ang="0">
                  <a:pos x="T8" y="T9"/>
                </a:cxn>
              </a:cxnLst>
              <a:rect l="0" t="0" r="r" b="b"/>
              <a:pathLst>
                <a:path w="74" h="92">
                  <a:moveTo>
                    <a:pt x="8" y="0"/>
                  </a:moveTo>
                  <a:cubicBezTo>
                    <a:pt x="6" y="8"/>
                    <a:pt x="3" y="17"/>
                    <a:pt x="0" y="26"/>
                  </a:cubicBezTo>
                  <a:cubicBezTo>
                    <a:pt x="25" y="46"/>
                    <a:pt x="49" y="68"/>
                    <a:pt x="70" y="92"/>
                  </a:cubicBezTo>
                  <a:cubicBezTo>
                    <a:pt x="72" y="79"/>
                    <a:pt x="73" y="65"/>
                    <a:pt x="74" y="51"/>
                  </a:cubicBezTo>
                  <a:cubicBezTo>
                    <a:pt x="54" y="32"/>
                    <a:pt x="32" y="15"/>
                    <a:pt x="8" y="0"/>
                  </a:cubicBezTo>
                </a:path>
              </a:pathLst>
            </a:custGeom>
            <a:solidFill>
              <a:srgbClr val="ECECE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49" name="ïSļíďê"/>
            <p:cNvSpPr/>
            <p:nvPr/>
          </p:nvSpPr>
          <p:spPr bwMode="auto">
            <a:xfrm>
              <a:off x="6896100" y="3997326"/>
              <a:ext cx="317500" cy="504825"/>
            </a:xfrm>
            <a:custGeom>
              <a:avLst/>
              <a:gdLst>
                <a:gd name="T0" fmla="*/ 4 w 166"/>
                <a:gd name="T1" fmla="*/ 0 h 265"/>
                <a:gd name="T2" fmla="*/ 0 w 166"/>
                <a:gd name="T3" fmla="*/ 41 h 265"/>
                <a:gd name="T4" fmla="*/ 126 w 166"/>
                <a:gd name="T5" fmla="*/ 264 h 265"/>
                <a:gd name="T6" fmla="*/ 166 w 166"/>
                <a:gd name="T7" fmla="*/ 265 h 265"/>
                <a:gd name="T8" fmla="*/ 4 w 166"/>
                <a:gd name="T9" fmla="*/ 0 h 265"/>
              </a:gdLst>
              <a:ahLst/>
              <a:cxnLst>
                <a:cxn ang="0">
                  <a:pos x="T0" y="T1"/>
                </a:cxn>
                <a:cxn ang="0">
                  <a:pos x="T2" y="T3"/>
                </a:cxn>
                <a:cxn ang="0">
                  <a:pos x="T4" y="T5"/>
                </a:cxn>
                <a:cxn ang="0">
                  <a:pos x="T6" y="T7"/>
                </a:cxn>
                <a:cxn ang="0">
                  <a:pos x="T8" y="T9"/>
                </a:cxn>
              </a:cxnLst>
              <a:rect l="0" t="0" r="r" b="b"/>
              <a:pathLst>
                <a:path w="166" h="265">
                  <a:moveTo>
                    <a:pt x="4" y="0"/>
                  </a:moveTo>
                  <a:cubicBezTo>
                    <a:pt x="3" y="14"/>
                    <a:pt x="2" y="28"/>
                    <a:pt x="0" y="41"/>
                  </a:cubicBezTo>
                  <a:cubicBezTo>
                    <a:pt x="57" y="104"/>
                    <a:pt x="100" y="180"/>
                    <a:pt x="126" y="264"/>
                  </a:cubicBezTo>
                  <a:cubicBezTo>
                    <a:pt x="139" y="264"/>
                    <a:pt x="153" y="264"/>
                    <a:pt x="166" y="265"/>
                  </a:cubicBezTo>
                  <a:cubicBezTo>
                    <a:pt x="136" y="158"/>
                    <a:pt x="80" y="69"/>
                    <a:pt x="4" y="0"/>
                  </a:cubicBezTo>
                </a:path>
              </a:pathLst>
            </a:custGeom>
            <a:solidFill>
              <a:srgbClr val="E3CBCB"/>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50" name="iŝļíḓé"/>
            <p:cNvSpPr/>
            <p:nvPr/>
          </p:nvSpPr>
          <p:spPr bwMode="auto">
            <a:xfrm>
              <a:off x="6451600" y="3751263"/>
              <a:ext cx="139700" cy="76200"/>
            </a:xfrm>
            <a:custGeom>
              <a:avLst/>
              <a:gdLst>
                <a:gd name="T0" fmla="*/ 3 w 73"/>
                <a:gd name="T1" fmla="*/ 0 h 40"/>
                <a:gd name="T2" fmla="*/ 0 w 73"/>
                <a:gd name="T3" fmla="*/ 12 h 40"/>
                <a:gd name="T4" fmla="*/ 62 w 73"/>
                <a:gd name="T5" fmla="*/ 40 h 40"/>
                <a:gd name="T6" fmla="*/ 73 w 73"/>
                <a:gd name="T7" fmla="*/ 38 h 40"/>
                <a:gd name="T8" fmla="*/ 71 w 73"/>
                <a:gd name="T9" fmla="*/ 24 h 40"/>
                <a:gd name="T10" fmla="*/ 3 w 73"/>
                <a:gd name="T11" fmla="*/ 0 h 40"/>
              </a:gdLst>
              <a:ahLst/>
              <a:cxnLst>
                <a:cxn ang="0">
                  <a:pos x="T0" y="T1"/>
                </a:cxn>
                <a:cxn ang="0">
                  <a:pos x="T2" y="T3"/>
                </a:cxn>
                <a:cxn ang="0">
                  <a:pos x="T4" y="T5"/>
                </a:cxn>
                <a:cxn ang="0">
                  <a:pos x="T6" y="T7"/>
                </a:cxn>
                <a:cxn ang="0">
                  <a:pos x="T8" y="T9"/>
                </a:cxn>
                <a:cxn ang="0">
                  <a:pos x="T10" y="T11"/>
                </a:cxn>
              </a:cxnLst>
              <a:rect l="0" t="0" r="r" b="b"/>
              <a:pathLst>
                <a:path w="73" h="40">
                  <a:moveTo>
                    <a:pt x="3" y="0"/>
                  </a:moveTo>
                  <a:cubicBezTo>
                    <a:pt x="0" y="12"/>
                    <a:pt x="0" y="12"/>
                    <a:pt x="0" y="12"/>
                  </a:cubicBezTo>
                  <a:cubicBezTo>
                    <a:pt x="21" y="20"/>
                    <a:pt x="42" y="29"/>
                    <a:pt x="62" y="40"/>
                  </a:cubicBezTo>
                  <a:cubicBezTo>
                    <a:pt x="73" y="38"/>
                    <a:pt x="73" y="38"/>
                    <a:pt x="73" y="38"/>
                  </a:cubicBezTo>
                  <a:cubicBezTo>
                    <a:pt x="71" y="24"/>
                    <a:pt x="71" y="24"/>
                    <a:pt x="71" y="24"/>
                  </a:cubicBezTo>
                  <a:cubicBezTo>
                    <a:pt x="49" y="15"/>
                    <a:pt x="26" y="7"/>
                    <a:pt x="3" y="0"/>
                  </a:cubicBezTo>
                </a:path>
              </a:pathLst>
            </a:custGeom>
            <a:solidFill>
              <a:srgbClr val="DFBCA8"/>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51" name="îṩľïḑè"/>
            <p:cNvSpPr/>
            <p:nvPr/>
          </p:nvSpPr>
          <p:spPr bwMode="auto">
            <a:xfrm>
              <a:off x="4884738" y="4879976"/>
              <a:ext cx="136525" cy="517525"/>
            </a:xfrm>
            <a:custGeom>
              <a:avLst/>
              <a:gdLst>
                <a:gd name="T0" fmla="*/ 33 w 71"/>
                <a:gd name="T1" fmla="*/ 0 h 271"/>
                <a:gd name="T2" fmla="*/ 0 w 71"/>
                <a:gd name="T3" fmla="*/ 63 h 271"/>
                <a:gd name="T4" fmla="*/ 2 w 71"/>
                <a:gd name="T5" fmla="*/ 78 h 271"/>
                <a:gd name="T6" fmla="*/ 71 w 71"/>
                <a:gd name="T7" fmla="*/ 271 h 271"/>
                <a:gd name="T8" fmla="*/ 63 w 71"/>
                <a:gd name="T9" fmla="*/ 159 h 271"/>
                <a:gd name="T10" fmla="*/ 41 w 71"/>
                <a:gd name="T11" fmla="*/ 71 h 271"/>
                <a:gd name="T12" fmla="*/ 33 w 71"/>
                <a:gd name="T13" fmla="*/ 0 h 271"/>
              </a:gdLst>
              <a:ahLst/>
              <a:cxnLst>
                <a:cxn ang="0">
                  <a:pos x="T0" y="T1"/>
                </a:cxn>
                <a:cxn ang="0">
                  <a:pos x="T2" y="T3"/>
                </a:cxn>
                <a:cxn ang="0">
                  <a:pos x="T4" y="T5"/>
                </a:cxn>
                <a:cxn ang="0">
                  <a:pos x="T6" y="T7"/>
                </a:cxn>
                <a:cxn ang="0">
                  <a:pos x="T8" y="T9"/>
                </a:cxn>
                <a:cxn ang="0">
                  <a:pos x="T10" y="T11"/>
                </a:cxn>
                <a:cxn ang="0">
                  <a:pos x="T12" y="T13"/>
                </a:cxn>
              </a:cxnLst>
              <a:rect l="0" t="0" r="r" b="b"/>
              <a:pathLst>
                <a:path w="71" h="271">
                  <a:moveTo>
                    <a:pt x="33" y="0"/>
                  </a:moveTo>
                  <a:cubicBezTo>
                    <a:pt x="0" y="63"/>
                    <a:pt x="0" y="63"/>
                    <a:pt x="0" y="63"/>
                  </a:cubicBezTo>
                  <a:cubicBezTo>
                    <a:pt x="1" y="68"/>
                    <a:pt x="1" y="73"/>
                    <a:pt x="2" y="78"/>
                  </a:cubicBezTo>
                  <a:cubicBezTo>
                    <a:pt x="15" y="149"/>
                    <a:pt x="38" y="214"/>
                    <a:pt x="71" y="271"/>
                  </a:cubicBezTo>
                  <a:cubicBezTo>
                    <a:pt x="63" y="159"/>
                    <a:pt x="63" y="159"/>
                    <a:pt x="63" y="159"/>
                  </a:cubicBezTo>
                  <a:cubicBezTo>
                    <a:pt x="53" y="130"/>
                    <a:pt x="46" y="101"/>
                    <a:pt x="41" y="71"/>
                  </a:cubicBezTo>
                  <a:cubicBezTo>
                    <a:pt x="36" y="47"/>
                    <a:pt x="34" y="23"/>
                    <a:pt x="33" y="0"/>
                  </a:cubicBezTo>
                </a:path>
              </a:pathLst>
            </a:custGeom>
            <a:solidFill>
              <a:srgbClr val="F3F3F3"/>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52" name="íśļîdè"/>
            <p:cNvSpPr/>
            <p:nvPr/>
          </p:nvSpPr>
          <p:spPr bwMode="auto">
            <a:xfrm>
              <a:off x="6586538" y="3795713"/>
              <a:ext cx="73025" cy="41275"/>
            </a:xfrm>
            <a:custGeom>
              <a:avLst/>
              <a:gdLst>
                <a:gd name="T0" fmla="*/ 0 w 38"/>
                <a:gd name="T1" fmla="*/ 0 h 21"/>
                <a:gd name="T2" fmla="*/ 2 w 38"/>
                <a:gd name="T3" fmla="*/ 14 h 21"/>
                <a:gd name="T4" fmla="*/ 4 w 38"/>
                <a:gd name="T5" fmla="*/ 21 h 21"/>
                <a:gd name="T6" fmla="*/ 38 w 38"/>
                <a:gd name="T7" fmla="*/ 17 h 21"/>
                <a:gd name="T8" fmla="*/ 0 w 38"/>
                <a:gd name="T9" fmla="*/ 0 h 21"/>
              </a:gdLst>
              <a:ahLst/>
              <a:cxnLst>
                <a:cxn ang="0">
                  <a:pos x="T0" y="T1"/>
                </a:cxn>
                <a:cxn ang="0">
                  <a:pos x="T2" y="T3"/>
                </a:cxn>
                <a:cxn ang="0">
                  <a:pos x="T4" y="T5"/>
                </a:cxn>
                <a:cxn ang="0">
                  <a:pos x="T6" y="T7"/>
                </a:cxn>
                <a:cxn ang="0">
                  <a:pos x="T8" y="T9"/>
                </a:cxn>
              </a:cxnLst>
              <a:rect l="0" t="0" r="r" b="b"/>
              <a:pathLst>
                <a:path w="38" h="21">
                  <a:moveTo>
                    <a:pt x="0" y="0"/>
                  </a:moveTo>
                  <a:cubicBezTo>
                    <a:pt x="2" y="14"/>
                    <a:pt x="2" y="14"/>
                    <a:pt x="2" y="14"/>
                  </a:cubicBezTo>
                  <a:cubicBezTo>
                    <a:pt x="4" y="21"/>
                    <a:pt x="4" y="21"/>
                    <a:pt x="4" y="21"/>
                  </a:cubicBezTo>
                  <a:cubicBezTo>
                    <a:pt x="38" y="17"/>
                    <a:pt x="38" y="17"/>
                    <a:pt x="38" y="17"/>
                  </a:cubicBezTo>
                  <a:cubicBezTo>
                    <a:pt x="25" y="11"/>
                    <a:pt x="13" y="5"/>
                    <a:pt x="0" y="0"/>
                  </a:cubicBezTo>
                </a:path>
              </a:pathLst>
            </a:custGeom>
            <a:solidFill>
              <a:srgbClr val="ECECEC"/>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53" name="î$ľiḋe"/>
            <p:cNvSpPr/>
            <p:nvPr/>
          </p:nvSpPr>
          <p:spPr bwMode="auto">
            <a:xfrm>
              <a:off x="4857750" y="4498976"/>
              <a:ext cx="95250" cy="501650"/>
            </a:xfrm>
            <a:custGeom>
              <a:avLst/>
              <a:gdLst>
                <a:gd name="T0" fmla="*/ 34 w 50"/>
                <a:gd name="T1" fmla="*/ 0 h 263"/>
                <a:gd name="T2" fmla="*/ 14 w 50"/>
                <a:gd name="T3" fmla="*/ 263 h 263"/>
                <a:gd name="T4" fmla="*/ 47 w 50"/>
                <a:gd name="T5" fmla="*/ 200 h 263"/>
                <a:gd name="T6" fmla="*/ 50 w 50"/>
                <a:gd name="T7" fmla="*/ 97 h 263"/>
                <a:gd name="T8" fmla="*/ 34 w 50"/>
                <a:gd name="T9" fmla="*/ 0 h 263"/>
              </a:gdLst>
              <a:ahLst/>
              <a:cxnLst>
                <a:cxn ang="0">
                  <a:pos x="T0" y="T1"/>
                </a:cxn>
                <a:cxn ang="0">
                  <a:pos x="T2" y="T3"/>
                </a:cxn>
                <a:cxn ang="0">
                  <a:pos x="T4" y="T5"/>
                </a:cxn>
                <a:cxn ang="0">
                  <a:pos x="T6" y="T7"/>
                </a:cxn>
                <a:cxn ang="0">
                  <a:pos x="T8" y="T9"/>
                </a:cxn>
              </a:cxnLst>
              <a:rect l="0" t="0" r="r" b="b"/>
              <a:pathLst>
                <a:path w="50" h="263">
                  <a:moveTo>
                    <a:pt x="34" y="0"/>
                  </a:moveTo>
                  <a:cubicBezTo>
                    <a:pt x="8" y="81"/>
                    <a:pt x="0" y="170"/>
                    <a:pt x="14" y="263"/>
                  </a:cubicBezTo>
                  <a:cubicBezTo>
                    <a:pt x="47" y="200"/>
                    <a:pt x="47" y="200"/>
                    <a:pt x="47" y="200"/>
                  </a:cubicBezTo>
                  <a:cubicBezTo>
                    <a:pt x="45" y="165"/>
                    <a:pt x="46" y="131"/>
                    <a:pt x="50" y="97"/>
                  </a:cubicBezTo>
                  <a:cubicBezTo>
                    <a:pt x="34" y="0"/>
                    <a:pt x="34" y="0"/>
                    <a:pt x="34" y="0"/>
                  </a:cubicBezTo>
                </a:path>
              </a:pathLst>
            </a:custGeom>
            <a:solidFill>
              <a:srgbClr val="5961C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54" name="îsḷíḋê"/>
            <p:cNvSpPr/>
            <p:nvPr/>
          </p:nvSpPr>
          <p:spPr bwMode="auto">
            <a:xfrm>
              <a:off x="4922838" y="4405313"/>
              <a:ext cx="273050" cy="1206500"/>
            </a:xfrm>
            <a:custGeom>
              <a:avLst/>
              <a:gdLst>
                <a:gd name="T0" fmla="*/ 43 w 143"/>
                <a:gd name="T1" fmla="*/ 408 h 632"/>
                <a:gd name="T2" fmla="*/ 51 w 143"/>
                <a:gd name="T3" fmla="*/ 520 h 632"/>
                <a:gd name="T4" fmla="*/ 137 w 143"/>
                <a:gd name="T5" fmla="*/ 632 h 632"/>
                <a:gd name="T6" fmla="*/ 143 w 143"/>
                <a:gd name="T7" fmla="*/ 589 h 632"/>
                <a:gd name="T8" fmla="*/ 43 w 143"/>
                <a:gd name="T9" fmla="*/ 408 h 632"/>
                <a:gd name="T10" fmla="*/ 54 w 143"/>
                <a:gd name="T11" fmla="*/ 0 h 632"/>
                <a:gd name="T12" fmla="*/ 17 w 143"/>
                <a:gd name="T13" fmla="*/ 5 h 632"/>
                <a:gd name="T14" fmla="*/ 0 w 143"/>
                <a:gd name="T15" fmla="*/ 49 h 632"/>
                <a:gd name="T16" fmla="*/ 16 w 143"/>
                <a:gd name="T17" fmla="*/ 146 h 632"/>
                <a:gd name="T18" fmla="*/ 54 w 143"/>
                <a:gd name="T19"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632">
                  <a:moveTo>
                    <a:pt x="43" y="408"/>
                  </a:moveTo>
                  <a:cubicBezTo>
                    <a:pt x="51" y="520"/>
                    <a:pt x="51" y="520"/>
                    <a:pt x="51" y="520"/>
                  </a:cubicBezTo>
                  <a:cubicBezTo>
                    <a:pt x="75" y="561"/>
                    <a:pt x="104" y="599"/>
                    <a:pt x="137" y="632"/>
                  </a:cubicBezTo>
                  <a:cubicBezTo>
                    <a:pt x="143" y="589"/>
                    <a:pt x="143" y="589"/>
                    <a:pt x="143" y="589"/>
                  </a:cubicBezTo>
                  <a:cubicBezTo>
                    <a:pt x="100" y="536"/>
                    <a:pt x="65" y="475"/>
                    <a:pt x="43" y="408"/>
                  </a:cubicBezTo>
                  <a:moveTo>
                    <a:pt x="54" y="0"/>
                  </a:moveTo>
                  <a:cubicBezTo>
                    <a:pt x="42" y="2"/>
                    <a:pt x="29" y="3"/>
                    <a:pt x="17" y="5"/>
                  </a:cubicBezTo>
                  <a:cubicBezTo>
                    <a:pt x="11" y="19"/>
                    <a:pt x="5" y="34"/>
                    <a:pt x="0" y="49"/>
                  </a:cubicBezTo>
                  <a:cubicBezTo>
                    <a:pt x="16" y="146"/>
                    <a:pt x="16" y="146"/>
                    <a:pt x="16" y="146"/>
                  </a:cubicBezTo>
                  <a:cubicBezTo>
                    <a:pt x="23" y="95"/>
                    <a:pt x="36" y="46"/>
                    <a:pt x="54" y="0"/>
                  </a:cubicBezTo>
                </a:path>
              </a:pathLst>
            </a:custGeom>
            <a:solidFill>
              <a:srgbClr val="5961C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55" name="iSļïḍé"/>
            <p:cNvSpPr/>
            <p:nvPr/>
          </p:nvSpPr>
          <p:spPr bwMode="auto">
            <a:xfrm>
              <a:off x="4956175" y="3925888"/>
              <a:ext cx="412750" cy="488950"/>
            </a:xfrm>
            <a:custGeom>
              <a:avLst/>
              <a:gdLst>
                <a:gd name="T0" fmla="*/ 38 w 216"/>
                <a:gd name="T1" fmla="*/ 251 h 256"/>
                <a:gd name="T2" fmla="*/ 0 w 216"/>
                <a:gd name="T3" fmla="*/ 256 h 256"/>
                <a:gd name="T4" fmla="*/ 0 w 216"/>
                <a:gd name="T5" fmla="*/ 256 h 256"/>
                <a:gd name="T6" fmla="*/ 37 w 216"/>
                <a:gd name="T7" fmla="*/ 251 h 256"/>
                <a:gd name="T8" fmla="*/ 38 w 216"/>
                <a:gd name="T9" fmla="*/ 251 h 256"/>
                <a:gd name="T10" fmla="*/ 213 w 216"/>
                <a:gd name="T11" fmla="*/ 0 h 256"/>
                <a:gd name="T12" fmla="*/ 162 w 216"/>
                <a:gd name="T13" fmla="*/ 38 h 256"/>
                <a:gd name="T14" fmla="*/ 166 w 216"/>
                <a:gd name="T15" fmla="*/ 56 h 256"/>
                <a:gd name="T16" fmla="*/ 216 w 216"/>
                <a:gd name="T17" fmla="*/ 12 h 256"/>
                <a:gd name="T18" fmla="*/ 213 w 216"/>
                <a:gd name="T1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56">
                  <a:moveTo>
                    <a:pt x="38" y="251"/>
                  </a:moveTo>
                  <a:cubicBezTo>
                    <a:pt x="0" y="256"/>
                    <a:pt x="0" y="256"/>
                    <a:pt x="0" y="256"/>
                  </a:cubicBezTo>
                  <a:cubicBezTo>
                    <a:pt x="0" y="256"/>
                    <a:pt x="0" y="256"/>
                    <a:pt x="0" y="256"/>
                  </a:cubicBezTo>
                  <a:cubicBezTo>
                    <a:pt x="12" y="254"/>
                    <a:pt x="25" y="253"/>
                    <a:pt x="37" y="251"/>
                  </a:cubicBezTo>
                  <a:cubicBezTo>
                    <a:pt x="37" y="251"/>
                    <a:pt x="38" y="251"/>
                    <a:pt x="38" y="251"/>
                  </a:cubicBezTo>
                  <a:moveTo>
                    <a:pt x="213" y="0"/>
                  </a:moveTo>
                  <a:cubicBezTo>
                    <a:pt x="195" y="12"/>
                    <a:pt x="178" y="25"/>
                    <a:pt x="162" y="38"/>
                  </a:cubicBezTo>
                  <a:cubicBezTo>
                    <a:pt x="166" y="56"/>
                    <a:pt x="166" y="56"/>
                    <a:pt x="166" y="56"/>
                  </a:cubicBezTo>
                  <a:cubicBezTo>
                    <a:pt x="182" y="41"/>
                    <a:pt x="198" y="26"/>
                    <a:pt x="216" y="12"/>
                  </a:cubicBezTo>
                  <a:cubicBezTo>
                    <a:pt x="213" y="0"/>
                    <a:pt x="213" y="0"/>
                    <a:pt x="213" y="0"/>
                  </a:cubicBezTo>
                </a:path>
              </a:pathLst>
            </a:custGeom>
            <a:solidFill>
              <a:srgbClr val="D3D0DD"/>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56" name="íṥlîḋe"/>
            <p:cNvSpPr/>
            <p:nvPr/>
          </p:nvSpPr>
          <p:spPr bwMode="auto">
            <a:xfrm>
              <a:off x="4956175" y="3998913"/>
              <a:ext cx="315913" cy="415925"/>
            </a:xfrm>
            <a:custGeom>
              <a:avLst/>
              <a:gdLst>
                <a:gd name="T0" fmla="*/ 162 w 166"/>
                <a:gd name="T1" fmla="*/ 0 h 218"/>
                <a:gd name="T2" fmla="*/ 0 w 166"/>
                <a:gd name="T3" fmla="*/ 218 h 218"/>
                <a:gd name="T4" fmla="*/ 38 w 166"/>
                <a:gd name="T5" fmla="*/ 213 h 218"/>
                <a:gd name="T6" fmla="*/ 166 w 166"/>
                <a:gd name="T7" fmla="*/ 18 h 218"/>
                <a:gd name="T8" fmla="*/ 162 w 166"/>
                <a:gd name="T9" fmla="*/ 0 h 218"/>
              </a:gdLst>
              <a:ahLst/>
              <a:cxnLst>
                <a:cxn ang="0">
                  <a:pos x="T0" y="T1"/>
                </a:cxn>
                <a:cxn ang="0">
                  <a:pos x="T2" y="T3"/>
                </a:cxn>
                <a:cxn ang="0">
                  <a:pos x="T4" y="T5"/>
                </a:cxn>
                <a:cxn ang="0">
                  <a:pos x="T6" y="T7"/>
                </a:cxn>
                <a:cxn ang="0">
                  <a:pos x="T8" y="T9"/>
                </a:cxn>
              </a:cxnLst>
              <a:rect l="0" t="0" r="r" b="b"/>
              <a:pathLst>
                <a:path w="166" h="218">
                  <a:moveTo>
                    <a:pt x="162" y="0"/>
                  </a:moveTo>
                  <a:cubicBezTo>
                    <a:pt x="91" y="60"/>
                    <a:pt x="35" y="134"/>
                    <a:pt x="0" y="218"/>
                  </a:cubicBezTo>
                  <a:cubicBezTo>
                    <a:pt x="38" y="213"/>
                    <a:pt x="38" y="213"/>
                    <a:pt x="38" y="213"/>
                  </a:cubicBezTo>
                  <a:cubicBezTo>
                    <a:pt x="67" y="140"/>
                    <a:pt x="111" y="74"/>
                    <a:pt x="166" y="18"/>
                  </a:cubicBezTo>
                  <a:cubicBezTo>
                    <a:pt x="162" y="0"/>
                    <a:pt x="162" y="0"/>
                    <a:pt x="162" y="0"/>
                  </a:cubicBezTo>
                </a:path>
              </a:pathLst>
            </a:custGeom>
            <a:solidFill>
              <a:srgbClr val="5961C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57" name="iŝliḑê"/>
            <p:cNvSpPr/>
            <p:nvPr/>
          </p:nvSpPr>
          <p:spPr bwMode="auto">
            <a:xfrm>
              <a:off x="4872038" y="2905126"/>
              <a:ext cx="2403475" cy="3125788"/>
            </a:xfrm>
            <a:custGeom>
              <a:avLst/>
              <a:gdLst>
                <a:gd name="T0" fmla="*/ 1202 w 1258"/>
                <a:gd name="T1" fmla="*/ 905 h 1638"/>
                <a:gd name="T2" fmla="*/ 661 w 1258"/>
                <a:gd name="T3" fmla="*/ 421 h 1638"/>
                <a:gd name="T4" fmla="*/ 605 w 1258"/>
                <a:gd name="T5" fmla="*/ 99 h 1638"/>
                <a:gd name="T6" fmla="*/ 617 w 1258"/>
                <a:gd name="T7" fmla="*/ 97 h 1638"/>
                <a:gd name="T8" fmla="*/ 643 w 1258"/>
                <a:gd name="T9" fmla="*/ 61 h 1638"/>
                <a:gd name="T10" fmla="*/ 637 w 1258"/>
                <a:gd name="T11" fmla="*/ 28 h 1638"/>
                <a:gd name="T12" fmla="*/ 601 w 1258"/>
                <a:gd name="T13" fmla="*/ 3 h 1638"/>
                <a:gd name="T14" fmla="*/ 309 w 1258"/>
                <a:gd name="T15" fmla="*/ 54 h 1638"/>
                <a:gd name="T16" fmla="*/ 283 w 1258"/>
                <a:gd name="T17" fmla="*/ 90 h 1638"/>
                <a:gd name="T18" fmla="*/ 289 w 1258"/>
                <a:gd name="T19" fmla="*/ 123 h 1638"/>
                <a:gd name="T20" fmla="*/ 325 w 1258"/>
                <a:gd name="T21" fmla="*/ 148 h 1638"/>
                <a:gd name="T22" fmla="*/ 337 w 1258"/>
                <a:gd name="T23" fmla="*/ 146 h 1638"/>
                <a:gd name="T24" fmla="*/ 393 w 1258"/>
                <a:gd name="T25" fmla="*/ 467 h 1638"/>
                <a:gd name="T26" fmla="*/ 48 w 1258"/>
                <a:gd name="T27" fmla="*/ 1106 h 1638"/>
                <a:gd name="T28" fmla="*/ 725 w 1258"/>
                <a:gd name="T29" fmla="*/ 1583 h 1638"/>
                <a:gd name="T30" fmla="*/ 1202 w 1258"/>
                <a:gd name="T31" fmla="*/ 905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8" h="1638">
                  <a:moveTo>
                    <a:pt x="1202" y="905"/>
                  </a:moveTo>
                  <a:cubicBezTo>
                    <a:pt x="1155" y="632"/>
                    <a:pt x="926" y="437"/>
                    <a:pt x="661" y="421"/>
                  </a:cubicBezTo>
                  <a:cubicBezTo>
                    <a:pt x="605" y="99"/>
                    <a:pt x="605" y="99"/>
                    <a:pt x="605" y="99"/>
                  </a:cubicBezTo>
                  <a:cubicBezTo>
                    <a:pt x="617" y="97"/>
                    <a:pt x="617" y="97"/>
                    <a:pt x="617" y="97"/>
                  </a:cubicBezTo>
                  <a:cubicBezTo>
                    <a:pt x="634" y="94"/>
                    <a:pt x="646" y="78"/>
                    <a:pt x="643" y="61"/>
                  </a:cubicBezTo>
                  <a:cubicBezTo>
                    <a:pt x="637" y="28"/>
                    <a:pt x="637" y="28"/>
                    <a:pt x="637" y="28"/>
                  </a:cubicBezTo>
                  <a:cubicBezTo>
                    <a:pt x="634" y="11"/>
                    <a:pt x="618" y="0"/>
                    <a:pt x="601" y="3"/>
                  </a:cubicBezTo>
                  <a:cubicBezTo>
                    <a:pt x="309" y="54"/>
                    <a:pt x="309" y="54"/>
                    <a:pt x="309" y="54"/>
                  </a:cubicBezTo>
                  <a:cubicBezTo>
                    <a:pt x="292" y="57"/>
                    <a:pt x="280" y="73"/>
                    <a:pt x="283" y="90"/>
                  </a:cubicBezTo>
                  <a:cubicBezTo>
                    <a:pt x="289" y="123"/>
                    <a:pt x="289" y="123"/>
                    <a:pt x="289" y="123"/>
                  </a:cubicBezTo>
                  <a:cubicBezTo>
                    <a:pt x="292" y="140"/>
                    <a:pt x="308" y="151"/>
                    <a:pt x="325" y="148"/>
                  </a:cubicBezTo>
                  <a:cubicBezTo>
                    <a:pt x="337" y="146"/>
                    <a:pt x="337" y="146"/>
                    <a:pt x="337" y="146"/>
                  </a:cubicBezTo>
                  <a:cubicBezTo>
                    <a:pt x="393" y="467"/>
                    <a:pt x="393" y="467"/>
                    <a:pt x="393" y="467"/>
                  </a:cubicBezTo>
                  <a:cubicBezTo>
                    <a:pt x="149" y="572"/>
                    <a:pt x="0" y="833"/>
                    <a:pt x="48" y="1106"/>
                  </a:cubicBezTo>
                  <a:cubicBezTo>
                    <a:pt x="103" y="1425"/>
                    <a:pt x="407" y="1638"/>
                    <a:pt x="725" y="1583"/>
                  </a:cubicBezTo>
                  <a:cubicBezTo>
                    <a:pt x="1044" y="1527"/>
                    <a:pt x="1258" y="1224"/>
                    <a:pt x="1202" y="905"/>
                  </a:cubicBezTo>
                </a:path>
              </a:pathLst>
            </a:custGeom>
            <a:solidFill>
              <a:srgbClr val="353A85"/>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58" name="iśḻiḓé"/>
            <p:cNvSpPr/>
            <p:nvPr/>
          </p:nvSpPr>
          <p:spPr bwMode="auto">
            <a:xfrm>
              <a:off x="5119688" y="4260851"/>
              <a:ext cx="1906588" cy="1527175"/>
            </a:xfrm>
            <a:custGeom>
              <a:avLst/>
              <a:gdLst>
                <a:gd name="T0" fmla="*/ 890 w 998"/>
                <a:gd name="T1" fmla="*/ 14 h 801"/>
                <a:gd name="T2" fmla="*/ 530 w 998"/>
                <a:gd name="T3" fmla="*/ 206 h 801"/>
                <a:gd name="T4" fmla="*/ 156 w 998"/>
                <a:gd name="T5" fmla="*/ 270 h 801"/>
                <a:gd name="T6" fmla="*/ 0 w 998"/>
                <a:gd name="T7" fmla="*/ 383 h 801"/>
                <a:gd name="T8" fmla="*/ 489 w 998"/>
                <a:gd name="T9" fmla="*/ 798 h 801"/>
                <a:gd name="T10" fmla="*/ 997 w 998"/>
                <a:gd name="T11" fmla="*/ 301 h 801"/>
                <a:gd name="T12" fmla="*/ 901 w 998"/>
                <a:gd name="T13" fmla="*/ 0 h 801"/>
                <a:gd name="T14" fmla="*/ 890 w 998"/>
                <a:gd name="T15" fmla="*/ 14 h 8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8" h="801">
                  <a:moveTo>
                    <a:pt x="890" y="14"/>
                  </a:moveTo>
                  <a:cubicBezTo>
                    <a:pt x="866" y="56"/>
                    <a:pt x="700" y="205"/>
                    <a:pt x="530" y="206"/>
                  </a:cubicBezTo>
                  <a:cubicBezTo>
                    <a:pt x="465" y="207"/>
                    <a:pt x="304" y="200"/>
                    <a:pt x="156" y="270"/>
                  </a:cubicBezTo>
                  <a:cubicBezTo>
                    <a:pt x="121" y="287"/>
                    <a:pt x="23" y="349"/>
                    <a:pt x="0" y="383"/>
                  </a:cubicBezTo>
                  <a:cubicBezTo>
                    <a:pt x="41" y="617"/>
                    <a:pt x="244" y="795"/>
                    <a:pt x="489" y="798"/>
                  </a:cubicBezTo>
                  <a:cubicBezTo>
                    <a:pt x="766" y="801"/>
                    <a:pt x="994" y="579"/>
                    <a:pt x="997" y="301"/>
                  </a:cubicBezTo>
                  <a:cubicBezTo>
                    <a:pt x="998" y="189"/>
                    <a:pt x="963" y="85"/>
                    <a:pt x="901" y="0"/>
                  </a:cubicBezTo>
                  <a:cubicBezTo>
                    <a:pt x="897" y="4"/>
                    <a:pt x="893" y="9"/>
                    <a:pt x="890" y="14"/>
                  </a:cubicBezTo>
                  <a:close/>
                </a:path>
              </a:pathLst>
            </a:custGeom>
            <a:solidFill>
              <a:srgbClr val="F7F7F7"/>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59" name="íşļîḓé"/>
            <p:cNvSpPr/>
            <p:nvPr/>
          </p:nvSpPr>
          <p:spPr bwMode="auto">
            <a:xfrm>
              <a:off x="3811588" y="3257551"/>
              <a:ext cx="646113" cy="212725"/>
            </a:xfrm>
            <a:custGeom>
              <a:avLst/>
              <a:gdLst>
                <a:gd name="T0" fmla="*/ 407 w 407"/>
                <a:gd name="T1" fmla="*/ 41 h 134"/>
                <a:gd name="T2" fmla="*/ 9 w 407"/>
                <a:gd name="T3" fmla="*/ 134 h 134"/>
                <a:gd name="T4" fmla="*/ 0 w 407"/>
                <a:gd name="T5" fmla="*/ 93 h 134"/>
                <a:gd name="T6" fmla="*/ 396 w 407"/>
                <a:gd name="T7" fmla="*/ 0 h 134"/>
                <a:gd name="T8" fmla="*/ 407 w 407"/>
                <a:gd name="T9" fmla="*/ 41 h 134"/>
              </a:gdLst>
              <a:ahLst/>
              <a:cxnLst>
                <a:cxn ang="0">
                  <a:pos x="T0" y="T1"/>
                </a:cxn>
                <a:cxn ang="0">
                  <a:pos x="T2" y="T3"/>
                </a:cxn>
                <a:cxn ang="0">
                  <a:pos x="T4" y="T5"/>
                </a:cxn>
                <a:cxn ang="0">
                  <a:pos x="T6" y="T7"/>
                </a:cxn>
                <a:cxn ang="0">
                  <a:pos x="T8" y="T9"/>
                </a:cxn>
              </a:cxnLst>
              <a:rect l="0" t="0" r="r" b="b"/>
              <a:pathLst>
                <a:path w="407" h="134">
                  <a:moveTo>
                    <a:pt x="407" y="41"/>
                  </a:moveTo>
                  <a:lnTo>
                    <a:pt x="9" y="134"/>
                  </a:lnTo>
                  <a:lnTo>
                    <a:pt x="0" y="93"/>
                  </a:lnTo>
                  <a:lnTo>
                    <a:pt x="396" y="0"/>
                  </a:lnTo>
                  <a:lnTo>
                    <a:pt x="407" y="41"/>
                  </a:lnTo>
                  <a:close/>
                </a:path>
              </a:pathLst>
            </a:custGeom>
            <a:solidFill>
              <a:srgbClr val="8CAB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60" name="ïślîḑé"/>
            <p:cNvSpPr/>
            <p:nvPr/>
          </p:nvSpPr>
          <p:spPr bwMode="auto">
            <a:xfrm>
              <a:off x="3763963" y="3057526"/>
              <a:ext cx="644525" cy="212725"/>
            </a:xfrm>
            <a:custGeom>
              <a:avLst/>
              <a:gdLst>
                <a:gd name="T0" fmla="*/ 406 w 406"/>
                <a:gd name="T1" fmla="*/ 41 h 134"/>
                <a:gd name="T2" fmla="*/ 11 w 406"/>
                <a:gd name="T3" fmla="*/ 134 h 134"/>
                <a:gd name="T4" fmla="*/ 0 w 406"/>
                <a:gd name="T5" fmla="*/ 93 h 134"/>
                <a:gd name="T6" fmla="*/ 397 w 406"/>
                <a:gd name="T7" fmla="*/ 0 h 134"/>
                <a:gd name="T8" fmla="*/ 406 w 406"/>
                <a:gd name="T9" fmla="*/ 41 h 134"/>
              </a:gdLst>
              <a:ahLst/>
              <a:cxnLst>
                <a:cxn ang="0">
                  <a:pos x="T0" y="T1"/>
                </a:cxn>
                <a:cxn ang="0">
                  <a:pos x="T2" y="T3"/>
                </a:cxn>
                <a:cxn ang="0">
                  <a:pos x="T4" y="T5"/>
                </a:cxn>
                <a:cxn ang="0">
                  <a:pos x="T6" y="T7"/>
                </a:cxn>
                <a:cxn ang="0">
                  <a:pos x="T8" y="T9"/>
                </a:cxn>
              </a:cxnLst>
              <a:rect l="0" t="0" r="r" b="b"/>
              <a:pathLst>
                <a:path w="406" h="134">
                  <a:moveTo>
                    <a:pt x="406" y="41"/>
                  </a:moveTo>
                  <a:lnTo>
                    <a:pt x="11" y="134"/>
                  </a:lnTo>
                  <a:lnTo>
                    <a:pt x="0" y="93"/>
                  </a:lnTo>
                  <a:lnTo>
                    <a:pt x="397" y="0"/>
                  </a:lnTo>
                  <a:lnTo>
                    <a:pt x="406" y="41"/>
                  </a:lnTo>
                  <a:close/>
                </a:path>
              </a:pathLst>
            </a:custGeom>
            <a:solidFill>
              <a:srgbClr val="D6708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61" name="ïṡḷïḋé"/>
            <p:cNvSpPr/>
            <p:nvPr/>
          </p:nvSpPr>
          <p:spPr bwMode="auto">
            <a:xfrm>
              <a:off x="3717925" y="2857501"/>
              <a:ext cx="642938" cy="211138"/>
            </a:xfrm>
            <a:custGeom>
              <a:avLst/>
              <a:gdLst>
                <a:gd name="T0" fmla="*/ 405 w 405"/>
                <a:gd name="T1" fmla="*/ 41 h 133"/>
                <a:gd name="T2" fmla="*/ 9 w 405"/>
                <a:gd name="T3" fmla="*/ 133 h 133"/>
                <a:gd name="T4" fmla="*/ 0 w 405"/>
                <a:gd name="T5" fmla="*/ 93 h 133"/>
                <a:gd name="T6" fmla="*/ 396 w 405"/>
                <a:gd name="T7" fmla="*/ 0 h 133"/>
                <a:gd name="T8" fmla="*/ 405 w 405"/>
                <a:gd name="T9" fmla="*/ 41 h 133"/>
              </a:gdLst>
              <a:ahLst/>
              <a:cxnLst>
                <a:cxn ang="0">
                  <a:pos x="T0" y="T1"/>
                </a:cxn>
                <a:cxn ang="0">
                  <a:pos x="T2" y="T3"/>
                </a:cxn>
                <a:cxn ang="0">
                  <a:pos x="T4" y="T5"/>
                </a:cxn>
                <a:cxn ang="0">
                  <a:pos x="T6" y="T7"/>
                </a:cxn>
                <a:cxn ang="0">
                  <a:pos x="T8" y="T9"/>
                </a:cxn>
              </a:cxnLst>
              <a:rect l="0" t="0" r="r" b="b"/>
              <a:pathLst>
                <a:path w="405" h="133">
                  <a:moveTo>
                    <a:pt x="405" y="41"/>
                  </a:moveTo>
                  <a:lnTo>
                    <a:pt x="9" y="133"/>
                  </a:lnTo>
                  <a:lnTo>
                    <a:pt x="0" y="93"/>
                  </a:lnTo>
                  <a:lnTo>
                    <a:pt x="396" y="0"/>
                  </a:lnTo>
                  <a:lnTo>
                    <a:pt x="405" y="41"/>
                  </a:lnTo>
                  <a:close/>
                </a:path>
              </a:pathLst>
            </a:custGeom>
            <a:solidFill>
              <a:srgbClr val="EED5D5"/>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62" name="işḻíďé"/>
            <p:cNvSpPr/>
            <p:nvPr/>
          </p:nvSpPr>
          <p:spPr bwMode="auto">
            <a:xfrm>
              <a:off x="3629025" y="2319338"/>
              <a:ext cx="561975" cy="192088"/>
            </a:xfrm>
            <a:custGeom>
              <a:avLst/>
              <a:gdLst>
                <a:gd name="T0" fmla="*/ 354 w 354"/>
                <a:gd name="T1" fmla="*/ 41 h 121"/>
                <a:gd name="T2" fmla="*/ 11 w 354"/>
                <a:gd name="T3" fmla="*/ 121 h 121"/>
                <a:gd name="T4" fmla="*/ 0 w 354"/>
                <a:gd name="T5" fmla="*/ 81 h 121"/>
                <a:gd name="T6" fmla="*/ 345 w 354"/>
                <a:gd name="T7" fmla="*/ 0 h 121"/>
                <a:gd name="T8" fmla="*/ 354 w 354"/>
                <a:gd name="T9" fmla="*/ 41 h 121"/>
              </a:gdLst>
              <a:ahLst/>
              <a:cxnLst>
                <a:cxn ang="0">
                  <a:pos x="T0" y="T1"/>
                </a:cxn>
                <a:cxn ang="0">
                  <a:pos x="T2" y="T3"/>
                </a:cxn>
                <a:cxn ang="0">
                  <a:pos x="T4" y="T5"/>
                </a:cxn>
                <a:cxn ang="0">
                  <a:pos x="T6" y="T7"/>
                </a:cxn>
                <a:cxn ang="0">
                  <a:pos x="T8" y="T9"/>
                </a:cxn>
              </a:cxnLst>
              <a:rect l="0" t="0" r="r" b="b"/>
              <a:pathLst>
                <a:path w="354" h="121">
                  <a:moveTo>
                    <a:pt x="354" y="41"/>
                  </a:moveTo>
                  <a:lnTo>
                    <a:pt x="11" y="121"/>
                  </a:lnTo>
                  <a:lnTo>
                    <a:pt x="0" y="81"/>
                  </a:lnTo>
                  <a:lnTo>
                    <a:pt x="345" y="0"/>
                  </a:lnTo>
                  <a:lnTo>
                    <a:pt x="354" y="41"/>
                  </a:lnTo>
                  <a:close/>
                </a:path>
              </a:pathLst>
            </a:custGeom>
            <a:solidFill>
              <a:srgbClr val="D6708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63" name="ïṣļïḋê"/>
            <p:cNvSpPr/>
            <p:nvPr/>
          </p:nvSpPr>
          <p:spPr bwMode="auto">
            <a:xfrm>
              <a:off x="3541713" y="2109788"/>
              <a:ext cx="644525" cy="211138"/>
            </a:xfrm>
            <a:custGeom>
              <a:avLst/>
              <a:gdLst>
                <a:gd name="T0" fmla="*/ 406 w 406"/>
                <a:gd name="T1" fmla="*/ 41 h 133"/>
                <a:gd name="T2" fmla="*/ 10 w 406"/>
                <a:gd name="T3" fmla="*/ 133 h 133"/>
                <a:gd name="T4" fmla="*/ 0 w 406"/>
                <a:gd name="T5" fmla="*/ 92 h 133"/>
                <a:gd name="T6" fmla="*/ 396 w 406"/>
                <a:gd name="T7" fmla="*/ 0 h 133"/>
                <a:gd name="T8" fmla="*/ 406 w 406"/>
                <a:gd name="T9" fmla="*/ 41 h 133"/>
              </a:gdLst>
              <a:ahLst/>
              <a:cxnLst>
                <a:cxn ang="0">
                  <a:pos x="T0" y="T1"/>
                </a:cxn>
                <a:cxn ang="0">
                  <a:pos x="T2" y="T3"/>
                </a:cxn>
                <a:cxn ang="0">
                  <a:pos x="T4" y="T5"/>
                </a:cxn>
                <a:cxn ang="0">
                  <a:pos x="T6" y="T7"/>
                </a:cxn>
                <a:cxn ang="0">
                  <a:pos x="T8" y="T9"/>
                </a:cxn>
              </a:cxnLst>
              <a:rect l="0" t="0" r="r" b="b"/>
              <a:pathLst>
                <a:path w="406" h="133">
                  <a:moveTo>
                    <a:pt x="406" y="41"/>
                  </a:moveTo>
                  <a:lnTo>
                    <a:pt x="10" y="133"/>
                  </a:lnTo>
                  <a:lnTo>
                    <a:pt x="0" y="92"/>
                  </a:lnTo>
                  <a:lnTo>
                    <a:pt x="396" y="0"/>
                  </a:lnTo>
                  <a:lnTo>
                    <a:pt x="406" y="41"/>
                  </a:lnTo>
                  <a:close/>
                </a:path>
              </a:pathLst>
            </a:custGeom>
            <a:solidFill>
              <a:srgbClr val="8CAB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64" name="ïSlïḍé"/>
            <p:cNvSpPr/>
            <p:nvPr/>
          </p:nvSpPr>
          <p:spPr bwMode="auto">
            <a:xfrm>
              <a:off x="3979863" y="3800476"/>
              <a:ext cx="558800" cy="193675"/>
            </a:xfrm>
            <a:custGeom>
              <a:avLst/>
              <a:gdLst>
                <a:gd name="T0" fmla="*/ 0 w 352"/>
                <a:gd name="T1" fmla="*/ 80 h 122"/>
                <a:gd name="T2" fmla="*/ 343 w 352"/>
                <a:gd name="T3" fmla="*/ 0 h 122"/>
                <a:gd name="T4" fmla="*/ 352 w 352"/>
                <a:gd name="T5" fmla="*/ 42 h 122"/>
                <a:gd name="T6" fmla="*/ 9 w 352"/>
                <a:gd name="T7" fmla="*/ 122 h 122"/>
                <a:gd name="T8" fmla="*/ 0 w 352"/>
                <a:gd name="T9" fmla="*/ 80 h 122"/>
              </a:gdLst>
              <a:ahLst/>
              <a:cxnLst>
                <a:cxn ang="0">
                  <a:pos x="T0" y="T1"/>
                </a:cxn>
                <a:cxn ang="0">
                  <a:pos x="T2" y="T3"/>
                </a:cxn>
                <a:cxn ang="0">
                  <a:pos x="T4" y="T5"/>
                </a:cxn>
                <a:cxn ang="0">
                  <a:pos x="T6" y="T7"/>
                </a:cxn>
                <a:cxn ang="0">
                  <a:pos x="T8" y="T9"/>
                </a:cxn>
              </a:cxnLst>
              <a:rect l="0" t="0" r="r" b="b"/>
              <a:pathLst>
                <a:path w="352" h="122">
                  <a:moveTo>
                    <a:pt x="0" y="80"/>
                  </a:moveTo>
                  <a:lnTo>
                    <a:pt x="343" y="0"/>
                  </a:lnTo>
                  <a:lnTo>
                    <a:pt x="352" y="42"/>
                  </a:lnTo>
                  <a:lnTo>
                    <a:pt x="9" y="122"/>
                  </a:lnTo>
                  <a:lnTo>
                    <a:pt x="0" y="80"/>
                  </a:lnTo>
                  <a:close/>
                </a:path>
              </a:pathLst>
            </a:custGeom>
            <a:solidFill>
              <a:srgbClr val="D6708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65" name="išḻîḓe"/>
            <p:cNvSpPr/>
            <p:nvPr/>
          </p:nvSpPr>
          <p:spPr bwMode="auto">
            <a:xfrm>
              <a:off x="3983038" y="3990976"/>
              <a:ext cx="646113" cy="214313"/>
            </a:xfrm>
            <a:custGeom>
              <a:avLst/>
              <a:gdLst>
                <a:gd name="T0" fmla="*/ 0 w 407"/>
                <a:gd name="T1" fmla="*/ 94 h 135"/>
                <a:gd name="T2" fmla="*/ 397 w 407"/>
                <a:gd name="T3" fmla="*/ 0 h 135"/>
                <a:gd name="T4" fmla="*/ 407 w 407"/>
                <a:gd name="T5" fmla="*/ 42 h 135"/>
                <a:gd name="T6" fmla="*/ 10 w 407"/>
                <a:gd name="T7" fmla="*/ 135 h 135"/>
                <a:gd name="T8" fmla="*/ 0 w 407"/>
                <a:gd name="T9" fmla="*/ 94 h 135"/>
              </a:gdLst>
              <a:ahLst/>
              <a:cxnLst>
                <a:cxn ang="0">
                  <a:pos x="T0" y="T1"/>
                </a:cxn>
                <a:cxn ang="0">
                  <a:pos x="T2" y="T3"/>
                </a:cxn>
                <a:cxn ang="0">
                  <a:pos x="T4" y="T5"/>
                </a:cxn>
                <a:cxn ang="0">
                  <a:pos x="T6" y="T7"/>
                </a:cxn>
                <a:cxn ang="0">
                  <a:pos x="T8" y="T9"/>
                </a:cxn>
              </a:cxnLst>
              <a:rect l="0" t="0" r="r" b="b"/>
              <a:pathLst>
                <a:path w="407" h="135">
                  <a:moveTo>
                    <a:pt x="0" y="94"/>
                  </a:moveTo>
                  <a:lnTo>
                    <a:pt x="397" y="0"/>
                  </a:lnTo>
                  <a:lnTo>
                    <a:pt x="407" y="42"/>
                  </a:lnTo>
                  <a:lnTo>
                    <a:pt x="10" y="135"/>
                  </a:lnTo>
                  <a:lnTo>
                    <a:pt x="0" y="94"/>
                  </a:lnTo>
                  <a:close/>
                </a:path>
              </a:pathLst>
            </a:custGeom>
            <a:solidFill>
              <a:srgbClr val="8CAB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66" name="ïṩ1îḋe"/>
            <p:cNvSpPr/>
            <p:nvPr/>
          </p:nvSpPr>
          <p:spPr bwMode="auto">
            <a:xfrm>
              <a:off x="3670300" y="2020888"/>
              <a:ext cx="1042988" cy="2111375"/>
            </a:xfrm>
            <a:custGeom>
              <a:avLst/>
              <a:gdLst>
                <a:gd name="T0" fmla="*/ 87 w 546"/>
                <a:gd name="T1" fmla="*/ 778 h 1106"/>
                <a:gd name="T2" fmla="*/ 249 w 546"/>
                <a:gd name="T3" fmla="*/ 876 h 1106"/>
                <a:gd name="T4" fmla="*/ 361 w 546"/>
                <a:gd name="T5" fmla="*/ 931 h 1106"/>
                <a:gd name="T6" fmla="*/ 492 w 546"/>
                <a:gd name="T7" fmla="*/ 1106 h 1106"/>
                <a:gd name="T8" fmla="*/ 546 w 546"/>
                <a:gd name="T9" fmla="*/ 1093 h 1106"/>
                <a:gd name="T10" fmla="*/ 394 w 546"/>
                <a:gd name="T11" fmla="*/ 887 h 1106"/>
                <a:gd name="T12" fmla="*/ 269 w 546"/>
                <a:gd name="T13" fmla="*/ 824 h 1106"/>
                <a:gd name="T14" fmla="*/ 128 w 546"/>
                <a:gd name="T15" fmla="*/ 741 h 1106"/>
                <a:gd name="T16" fmla="*/ 79 w 546"/>
                <a:gd name="T17" fmla="*/ 661 h 1106"/>
                <a:gd name="T18" fmla="*/ 83 w 546"/>
                <a:gd name="T19" fmla="*/ 483 h 1106"/>
                <a:gd name="T20" fmla="*/ 131 w 546"/>
                <a:gd name="T21" fmla="*/ 413 h 1106"/>
                <a:gd name="T22" fmla="*/ 162 w 546"/>
                <a:gd name="T23" fmla="*/ 376 h 1106"/>
                <a:gd name="T24" fmla="*/ 247 w 546"/>
                <a:gd name="T25" fmla="*/ 262 h 1106"/>
                <a:gd name="T26" fmla="*/ 290 w 546"/>
                <a:gd name="T27" fmla="*/ 0 h 1106"/>
                <a:gd name="T28" fmla="*/ 236 w 546"/>
                <a:gd name="T29" fmla="*/ 13 h 1106"/>
                <a:gd name="T30" fmla="*/ 198 w 546"/>
                <a:gd name="T31" fmla="*/ 237 h 1106"/>
                <a:gd name="T32" fmla="*/ 121 w 546"/>
                <a:gd name="T33" fmla="*/ 339 h 1106"/>
                <a:gd name="T34" fmla="*/ 88 w 546"/>
                <a:gd name="T35" fmla="*/ 377 h 1106"/>
                <a:gd name="T36" fmla="*/ 33 w 546"/>
                <a:gd name="T37" fmla="*/ 459 h 1106"/>
                <a:gd name="T38" fmla="*/ 28 w 546"/>
                <a:gd name="T39" fmla="*/ 681 h 1106"/>
                <a:gd name="T40" fmla="*/ 87 w 546"/>
                <a:gd name="T41" fmla="*/ 778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6" h="1106">
                  <a:moveTo>
                    <a:pt x="87" y="778"/>
                  </a:moveTo>
                  <a:cubicBezTo>
                    <a:pt x="132" y="830"/>
                    <a:pt x="192" y="853"/>
                    <a:pt x="249" y="876"/>
                  </a:cubicBezTo>
                  <a:cubicBezTo>
                    <a:pt x="289" y="892"/>
                    <a:pt x="328" y="907"/>
                    <a:pt x="361" y="931"/>
                  </a:cubicBezTo>
                  <a:cubicBezTo>
                    <a:pt x="422" y="977"/>
                    <a:pt x="470" y="1045"/>
                    <a:pt x="492" y="1106"/>
                  </a:cubicBezTo>
                  <a:cubicBezTo>
                    <a:pt x="546" y="1093"/>
                    <a:pt x="546" y="1093"/>
                    <a:pt x="546" y="1093"/>
                  </a:cubicBezTo>
                  <a:cubicBezTo>
                    <a:pt x="522" y="1020"/>
                    <a:pt x="465" y="940"/>
                    <a:pt x="394" y="887"/>
                  </a:cubicBezTo>
                  <a:cubicBezTo>
                    <a:pt x="355" y="858"/>
                    <a:pt x="311" y="841"/>
                    <a:pt x="269" y="824"/>
                  </a:cubicBezTo>
                  <a:cubicBezTo>
                    <a:pt x="216" y="803"/>
                    <a:pt x="165" y="783"/>
                    <a:pt x="128" y="741"/>
                  </a:cubicBezTo>
                  <a:cubicBezTo>
                    <a:pt x="107" y="718"/>
                    <a:pt x="91" y="691"/>
                    <a:pt x="79" y="661"/>
                  </a:cubicBezTo>
                  <a:cubicBezTo>
                    <a:pt x="57" y="602"/>
                    <a:pt x="58" y="537"/>
                    <a:pt x="83" y="483"/>
                  </a:cubicBezTo>
                  <a:cubicBezTo>
                    <a:pt x="93" y="463"/>
                    <a:pt x="109" y="438"/>
                    <a:pt x="131" y="413"/>
                  </a:cubicBezTo>
                  <a:cubicBezTo>
                    <a:pt x="141" y="400"/>
                    <a:pt x="152" y="388"/>
                    <a:pt x="162" y="376"/>
                  </a:cubicBezTo>
                  <a:cubicBezTo>
                    <a:pt x="193" y="342"/>
                    <a:pt x="225" y="306"/>
                    <a:pt x="247" y="262"/>
                  </a:cubicBezTo>
                  <a:cubicBezTo>
                    <a:pt x="289" y="180"/>
                    <a:pt x="303" y="78"/>
                    <a:pt x="290" y="0"/>
                  </a:cubicBezTo>
                  <a:cubicBezTo>
                    <a:pt x="236" y="13"/>
                    <a:pt x="236" y="13"/>
                    <a:pt x="236" y="13"/>
                  </a:cubicBezTo>
                  <a:cubicBezTo>
                    <a:pt x="246" y="78"/>
                    <a:pt x="234" y="167"/>
                    <a:pt x="198" y="237"/>
                  </a:cubicBezTo>
                  <a:cubicBezTo>
                    <a:pt x="179" y="275"/>
                    <a:pt x="151" y="306"/>
                    <a:pt x="121" y="339"/>
                  </a:cubicBezTo>
                  <a:cubicBezTo>
                    <a:pt x="110" y="352"/>
                    <a:pt x="99" y="364"/>
                    <a:pt x="88" y="377"/>
                  </a:cubicBezTo>
                  <a:cubicBezTo>
                    <a:pt x="63" y="407"/>
                    <a:pt x="45" y="435"/>
                    <a:pt x="33" y="459"/>
                  </a:cubicBezTo>
                  <a:cubicBezTo>
                    <a:pt x="2" y="527"/>
                    <a:pt x="0" y="607"/>
                    <a:pt x="28" y="681"/>
                  </a:cubicBezTo>
                  <a:cubicBezTo>
                    <a:pt x="41" y="717"/>
                    <a:pt x="61" y="750"/>
                    <a:pt x="87" y="778"/>
                  </a:cubicBezTo>
                  <a:close/>
                </a:path>
              </a:pathLst>
            </a:custGeom>
            <a:solidFill>
              <a:srgbClr val="474EBB"/>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67" name="is1íďê"/>
            <p:cNvSpPr/>
            <p:nvPr/>
          </p:nvSpPr>
          <p:spPr bwMode="auto">
            <a:xfrm>
              <a:off x="3455988" y="2178051"/>
              <a:ext cx="1033463" cy="2108200"/>
            </a:xfrm>
            <a:custGeom>
              <a:avLst/>
              <a:gdLst>
                <a:gd name="T0" fmla="*/ 281 w 541"/>
                <a:gd name="T1" fmla="*/ 293 h 1105"/>
                <a:gd name="T2" fmla="*/ 326 w 541"/>
                <a:gd name="T3" fmla="*/ 311 h 1105"/>
                <a:gd name="T4" fmla="*/ 400 w 541"/>
                <a:gd name="T5" fmla="*/ 353 h 1105"/>
                <a:gd name="T6" fmla="*/ 482 w 541"/>
                <a:gd name="T7" fmla="*/ 511 h 1105"/>
                <a:gd name="T8" fmla="*/ 475 w 541"/>
                <a:gd name="T9" fmla="*/ 604 h 1105"/>
                <a:gd name="T10" fmla="*/ 385 w 541"/>
                <a:gd name="T11" fmla="*/ 741 h 1105"/>
                <a:gd name="T12" fmla="*/ 301 w 541"/>
                <a:gd name="T13" fmla="*/ 853 h 1105"/>
                <a:gd name="T14" fmla="*/ 257 w 541"/>
                <a:gd name="T15" fmla="*/ 1105 h 1105"/>
                <a:gd name="T16" fmla="*/ 311 w 541"/>
                <a:gd name="T17" fmla="*/ 1093 h 1105"/>
                <a:gd name="T18" fmla="*/ 350 w 541"/>
                <a:gd name="T19" fmla="*/ 878 h 1105"/>
                <a:gd name="T20" fmla="*/ 426 w 541"/>
                <a:gd name="T21" fmla="*/ 778 h 1105"/>
                <a:gd name="T22" fmla="*/ 528 w 541"/>
                <a:gd name="T23" fmla="*/ 619 h 1105"/>
                <a:gd name="T24" fmla="*/ 537 w 541"/>
                <a:gd name="T25" fmla="*/ 506 h 1105"/>
                <a:gd name="T26" fmla="*/ 434 w 541"/>
                <a:gd name="T27" fmla="*/ 310 h 1105"/>
                <a:gd name="T28" fmla="*/ 348 w 541"/>
                <a:gd name="T29" fmla="*/ 260 h 1105"/>
                <a:gd name="T30" fmla="*/ 302 w 541"/>
                <a:gd name="T31" fmla="*/ 241 h 1105"/>
                <a:gd name="T32" fmla="*/ 188 w 541"/>
                <a:gd name="T33" fmla="*/ 184 h 1105"/>
                <a:gd name="T34" fmla="*/ 54 w 541"/>
                <a:gd name="T35" fmla="*/ 0 h 1105"/>
                <a:gd name="T36" fmla="*/ 0 w 541"/>
                <a:gd name="T37" fmla="*/ 12 h 1105"/>
                <a:gd name="T38" fmla="*/ 155 w 541"/>
                <a:gd name="T39" fmla="*/ 228 h 1105"/>
                <a:gd name="T40" fmla="*/ 281 w 541"/>
                <a:gd name="T41" fmla="*/ 293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1" h="1105">
                  <a:moveTo>
                    <a:pt x="281" y="293"/>
                  </a:moveTo>
                  <a:cubicBezTo>
                    <a:pt x="296" y="299"/>
                    <a:pt x="311" y="305"/>
                    <a:pt x="326" y="311"/>
                  </a:cubicBezTo>
                  <a:cubicBezTo>
                    <a:pt x="357" y="325"/>
                    <a:pt x="382" y="339"/>
                    <a:pt x="400" y="353"/>
                  </a:cubicBezTo>
                  <a:cubicBezTo>
                    <a:pt x="446" y="390"/>
                    <a:pt x="476" y="447"/>
                    <a:pt x="482" y="511"/>
                  </a:cubicBezTo>
                  <a:cubicBezTo>
                    <a:pt x="485" y="542"/>
                    <a:pt x="483" y="574"/>
                    <a:pt x="475" y="604"/>
                  </a:cubicBezTo>
                  <a:cubicBezTo>
                    <a:pt x="460" y="658"/>
                    <a:pt x="423" y="699"/>
                    <a:pt x="385" y="741"/>
                  </a:cubicBezTo>
                  <a:cubicBezTo>
                    <a:pt x="354" y="775"/>
                    <a:pt x="323" y="810"/>
                    <a:pt x="301" y="853"/>
                  </a:cubicBezTo>
                  <a:cubicBezTo>
                    <a:pt x="261" y="932"/>
                    <a:pt x="246" y="1029"/>
                    <a:pt x="257" y="1105"/>
                  </a:cubicBezTo>
                  <a:cubicBezTo>
                    <a:pt x="311" y="1093"/>
                    <a:pt x="311" y="1093"/>
                    <a:pt x="311" y="1093"/>
                  </a:cubicBezTo>
                  <a:cubicBezTo>
                    <a:pt x="303" y="1028"/>
                    <a:pt x="316" y="946"/>
                    <a:pt x="350" y="878"/>
                  </a:cubicBezTo>
                  <a:cubicBezTo>
                    <a:pt x="369" y="841"/>
                    <a:pt x="397" y="811"/>
                    <a:pt x="426" y="778"/>
                  </a:cubicBezTo>
                  <a:cubicBezTo>
                    <a:pt x="467" y="733"/>
                    <a:pt x="510" y="686"/>
                    <a:pt x="528" y="619"/>
                  </a:cubicBezTo>
                  <a:cubicBezTo>
                    <a:pt x="538" y="582"/>
                    <a:pt x="541" y="544"/>
                    <a:pt x="537" y="506"/>
                  </a:cubicBezTo>
                  <a:cubicBezTo>
                    <a:pt x="530" y="427"/>
                    <a:pt x="492" y="356"/>
                    <a:pt x="434" y="310"/>
                  </a:cubicBezTo>
                  <a:cubicBezTo>
                    <a:pt x="413" y="293"/>
                    <a:pt x="384" y="276"/>
                    <a:pt x="348" y="260"/>
                  </a:cubicBezTo>
                  <a:cubicBezTo>
                    <a:pt x="333" y="254"/>
                    <a:pt x="317" y="247"/>
                    <a:pt x="302" y="241"/>
                  </a:cubicBezTo>
                  <a:cubicBezTo>
                    <a:pt x="260" y="225"/>
                    <a:pt x="221" y="209"/>
                    <a:pt x="188" y="184"/>
                  </a:cubicBezTo>
                  <a:cubicBezTo>
                    <a:pt x="124" y="137"/>
                    <a:pt x="74" y="63"/>
                    <a:pt x="54" y="0"/>
                  </a:cubicBezTo>
                  <a:cubicBezTo>
                    <a:pt x="0" y="12"/>
                    <a:pt x="0" y="12"/>
                    <a:pt x="0" y="12"/>
                  </a:cubicBezTo>
                  <a:cubicBezTo>
                    <a:pt x="23" y="88"/>
                    <a:pt x="81" y="173"/>
                    <a:pt x="155" y="228"/>
                  </a:cubicBezTo>
                  <a:cubicBezTo>
                    <a:pt x="194" y="258"/>
                    <a:pt x="238" y="275"/>
                    <a:pt x="281" y="293"/>
                  </a:cubicBezTo>
                  <a:close/>
                </a:path>
              </a:pathLst>
            </a:custGeom>
            <a:solidFill>
              <a:srgbClr val="474EBB"/>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68" name="î$ḻïḑe"/>
            <p:cNvSpPr/>
            <p:nvPr/>
          </p:nvSpPr>
          <p:spPr bwMode="auto">
            <a:xfrm>
              <a:off x="6219825" y="873126"/>
              <a:ext cx="601663" cy="1665288"/>
            </a:xfrm>
            <a:custGeom>
              <a:avLst/>
              <a:gdLst>
                <a:gd name="T0" fmla="*/ 115 w 315"/>
                <a:gd name="T1" fmla="*/ 873 h 873"/>
                <a:gd name="T2" fmla="*/ 108 w 315"/>
                <a:gd name="T3" fmla="*/ 873 h 873"/>
                <a:gd name="T4" fmla="*/ 15 w 315"/>
                <a:gd name="T5" fmla="*/ 723 h 873"/>
                <a:gd name="T6" fmla="*/ 13 w 315"/>
                <a:gd name="T7" fmla="*/ 423 h 873"/>
                <a:gd name="T8" fmla="*/ 82 w 315"/>
                <a:gd name="T9" fmla="*/ 132 h 873"/>
                <a:gd name="T10" fmla="*/ 207 w 315"/>
                <a:gd name="T11" fmla="*/ 6 h 873"/>
                <a:gd name="T12" fmla="*/ 300 w 315"/>
                <a:gd name="T13" fmla="*/ 157 h 873"/>
                <a:gd name="T14" fmla="*/ 302 w 315"/>
                <a:gd name="T15" fmla="*/ 456 h 873"/>
                <a:gd name="T16" fmla="*/ 233 w 315"/>
                <a:gd name="T17" fmla="*/ 747 h 873"/>
                <a:gd name="T18" fmla="*/ 115 w 315"/>
                <a:gd name="T19" fmla="*/ 873 h 873"/>
                <a:gd name="T20" fmla="*/ 200 w 315"/>
                <a:gd name="T21" fmla="*/ 58 h 873"/>
                <a:gd name="T22" fmla="*/ 130 w 315"/>
                <a:gd name="T23" fmla="*/ 152 h 873"/>
                <a:gd name="T24" fmla="*/ 64 w 315"/>
                <a:gd name="T25" fmla="*/ 429 h 873"/>
                <a:gd name="T26" fmla="*/ 66 w 315"/>
                <a:gd name="T27" fmla="*/ 714 h 873"/>
                <a:gd name="T28" fmla="*/ 114 w 315"/>
                <a:gd name="T29" fmla="*/ 821 h 873"/>
                <a:gd name="T30" fmla="*/ 185 w 315"/>
                <a:gd name="T31" fmla="*/ 727 h 873"/>
                <a:gd name="T32" fmla="*/ 250 w 315"/>
                <a:gd name="T33" fmla="*/ 450 h 873"/>
                <a:gd name="T34" fmla="*/ 248 w 315"/>
                <a:gd name="T35" fmla="*/ 166 h 873"/>
                <a:gd name="T36" fmla="*/ 201 w 315"/>
                <a:gd name="T37" fmla="*/ 58 h 873"/>
                <a:gd name="T38" fmla="*/ 200 w 315"/>
                <a:gd name="T39" fmla="*/ 58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5" h="873">
                  <a:moveTo>
                    <a:pt x="115" y="873"/>
                  </a:moveTo>
                  <a:cubicBezTo>
                    <a:pt x="113" y="873"/>
                    <a:pt x="111" y="873"/>
                    <a:pt x="108" y="873"/>
                  </a:cubicBezTo>
                  <a:cubicBezTo>
                    <a:pt x="51" y="867"/>
                    <a:pt x="26" y="788"/>
                    <a:pt x="15" y="723"/>
                  </a:cubicBezTo>
                  <a:cubicBezTo>
                    <a:pt x="1" y="641"/>
                    <a:pt x="0" y="534"/>
                    <a:pt x="13" y="423"/>
                  </a:cubicBezTo>
                  <a:cubicBezTo>
                    <a:pt x="25" y="312"/>
                    <a:pt x="50" y="209"/>
                    <a:pt x="82" y="132"/>
                  </a:cubicBezTo>
                  <a:cubicBezTo>
                    <a:pt x="108" y="71"/>
                    <a:pt x="150" y="0"/>
                    <a:pt x="207" y="6"/>
                  </a:cubicBezTo>
                  <a:cubicBezTo>
                    <a:pt x="263" y="13"/>
                    <a:pt x="289" y="92"/>
                    <a:pt x="300" y="157"/>
                  </a:cubicBezTo>
                  <a:cubicBezTo>
                    <a:pt x="314" y="239"/>
                    <a:pt x="315" y="345"/>
                    <a:pt x="302" y="456"/>
                  </a:cubicBezTo>
                  <a:cubicBezTo>
                    <a:pt x="289" y="567"/>
                    <a:pt x="265" y="671"/>
                    <a:pt x="233" y="747"/>
                  </a:cubicBezTo>
                  <a:cubicBezTo>
                    <a:pt x="208" y="806"/>
                    <a:pt x="168" y="873"/>
                    <a:pt x="115" y="873"/>
                  </a:cubicBezTo>
                  <a:close/>
                  <a:moveTo>
                    <a:pt x="200" y="58"/>
                  </a:moveTo>
                  <a:cubicBezTo>
                    <a:pt x="189" y="58"/>
                    <a:pt x="161" y="77"/>
                    <a:pt x="130" y="152"/>
                  </a:cubicBezTo>
                  <a:cubicBezTo>
                    <a:pt x="100" y="224"/>
                    <a:pt x="77" y="323"/>
                    <a:pt x="64" y="429"/>
                  </a:cubicBezTo>
                  <a:cubicBezTo>
                    <a:pt x="52" y="536"/>
                    <a:pt x="53" y="637"/>
                    <a:pt x="66" y="714"/>
                  </a:cubicBezTo>
                  <a:cubicBezTo>
                    <a:pt x="80" y="796"/>
                    <a:pt x="104" y="820"/>
                    <a:pt x="114" y="821"/>
                  </a:cubicBezTo>
                  <a:cubicBezTo>
                    <a:pt x="124" y="822"/>
                    <a:pt x="152" y="804"/>
                    <a:pt x="185" y="727"/>
                  </a:cubicBezTo>
                  <a:cubicBezTo>
                    <a:pt x="215" y="655"/>
                    <a:pt x="238" y="557"/>
                    <a:pt x="250" y="450"/>
                  </a:cubicBezTo>
                  <a:cubicBezTo>
                    <a:pt x="262" y="344"/>
                    <a:pt x="262" y="243"/>
                    <a:pt x="248" y="166"/>
                  </a:cubicBezTo>
                  <a:cubicBezTo>
                    <a:pt x="234" y="83"/>
                    <a:pt x="211" y="59"/>
                    <a:pt x="201" y="58"/>
                  </a:cubicBezTo>
                  <a:lnTo>
                    <a:pt x="200" y="58"/>
                  </a:lnTo>
                  <a:close/>
                </a:path>
              </a:pathLst>
            </a:custGeom>
            <a:solidFill>
              <a:srgbClr val="D6708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69" name="işḻíḓé"/>
            <p:cNvSpPr/>
            <p:nvPr/>
          </p:nvSpPr>
          <p:spPr bwMode="auto">
            <a:xfrm>
              <a:off x="5741988" y="1069976"/>
              <a:ext cx="1514475" cy="1192213"/>
            </a:xfrm>
            <a:custGeom>
              <a:avLst/>
              <a:gdLst>
                <a:gd name="T0" fmla="*/ 688 w 792"/>
                <a:gd name="T1" fmla="*/ 625 h 625"/>
                <a:gd name="T2" fmla="*/ 581 w 792"/>
                <a:gd name="T3" fmla="*/ 602 h 625"/>
                <a:gd name="T4" fmla="*/ 321 w 792"/>
                <a:gd name="T5" fmla="*/ 454 h 625"/>
                <a:gd name="T6" fmla="*/ 57 w 792"/>
                <a:gd name="T7" fmla="*/ 77 h 625"/>
                <a:gd name="T8" fmla="*/ 494 w 792"/>
                <a:gd name="T9" fmla="*/ 220 h 625"/>
                <a:gd name="T10" fmla="*/ 712 w 792"/>
                <a:gd name="T11" fmla="*/ 425 h 625"/>
                <a:gd name="T12" fmla="*/ 758 w 792"/>
                <a:gd name="T13" fmla="*/ 596 h 625"/>
                <a:gd name="T14" fmla="*/ 688 w 792"/>
                <a:gd name="T15" fmla="*/ 625 h 625"/>
                <a:gd name="T16" fmla="*/ 125 w 792"/>
                <a:gd name="T17" fmla="*/ 100 h 625"/>
                <a:gd name="T18" fmla="*/ 99 w 792"/>
                <a:gd name="T19" fmla="*/ 108 h 625"/>
                <a:gd name="T20" fmla="*/ 352 w 792"/>
                <a:gd name="T21" fmla="*/ 412 h 625"/>
                <a:gd name="T22" fmla="*/ 599 w 792"/>
                <a:gd name="T23" fmla="*/ 553 h 625"/>
                <a:gd name="T24" fmla="*/ 716 w 792"/>
                <a:gd name="T25" fmla="*/ 565 h 625"/>
                <a:gd name="T26" fmla="*/ 670 w 792"/>
                <a:gd name="T27" fmla="*/ 457 h 625"/>
                <a:gd name="T28" fmla="*/ 463 w 792"/>
                <a:gd name="T29" fmla="*/ 262 h 625"/>
                <a:gd name="T30" fmla="*/ 125 w 792"/>
                <a:gd name="T31" fmla="*/ 10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92" h="625">
                  <a:moveTo>
                    <a:pt x="688" y="625"/>
                  </a:moveTo>
                  <a:cubicBezTo>
                    <a:pt x="654" y="625"/>
                    <a:pt x="615" y="614"/>
                    <a:pt x="581" y="602"/>
                  </a:cubicBezTo>
                  <a:cubicBezTo>
                    <a:pt x="503" y="573"/>
                    <a:pt x="411" y="520"/>
                    <a:pt x="321" y="454"/>
                  </a:cubicBezTo>
                  <a:cubicBezTo>
                    <a:pt x="147" y="325"/>
                    <a:pt x="0" y="154"/>
                    <a:pt x="57" y="77"/>
                  </a:cubicBezTo>
                  <a:cubicBezTo>
                    <a:pt x="114" y="0"/>
                    <a:pt x="320" y="91"/>
                    <a:pt x="494" y="220"/>
                  </a:cubicBezTo>
                  <a:cubicBezTo>
                    <a:pt x="584" y="286"/>
                    <a:pt x="661" y="359"/>
                    <a:pt x="712" y="425"/>
                  </a:cubicBezTo>
                  <a:cubicBezTo>
                    <a:pt x="751" y="478"/>
                    <a:pt x="792" y="550"/>
                    <a:pt x="758" y="596"/>
                  </a:cubicBezTo>
                  <a:cubicBezTo>
                    <a:pt x="742" y="617"/>
                    <a:pt x="717" y="625"/>
                    <a:pt x="688" y="625"/>
                  </a:cubicBezTo>
                  <a:close/>
                  <a:moveTo>
                    <a:pt x="125" y="100"/>
                  </a:moveTo>
                  <a:cubicBezTo>
                    <a:pt x="112" y="100"/>
                    <a:pt x="103" y="103"/>
                    <a:pt x="99" y="108"/>
                  </a:cubicBezTo>
                  <a:cubicBezTo>
                    <a:pt x="80" y="134"/>
                    <a:pt x="152" y="264"/>
                    <a:pt x="352" y="412"/>
                  </a:cubicBezTo>
                  <a:cubicBezTo>
                    <a:pt x="438" y="476"/>
                    <a:pt x="526" y="526"/>
                    <a:pt x="599" y="553"/>
                  </a:cubicBezTo>
                  <a:cubicBezTo>
                    <a:pt x="678" y="581"/>
                    <a:pt x="710" y="573"/>
                    <a:pt x="716" y="565"/>
                  </a:cubicBezTo>
                  <a:cubicBezTo>
                    <a:pt x="722" y="557"/>
                    <a:pt x="721" y="523"/>
                    <a:pt x="670" y="457"/>
                  </a:cubicBezTo>
                  <a:cubicBezTo>
                    <a:pt x="623" y="395"/>
                    <a:pt x="549" y="325"/>
                    <a:pt x="463" y="262"/>
                  </a:cubicBezTo>
                  <a:cubicBezTo>
                    <a:pt x="304" y="144"/>
                    <a:pt x="179" y="100"/>
                    <a:pt x="125" y="100"/>
                  </a:cubicBezTo>
                  <a:close/>
                </a:path>
              </a:pathLst>
            </a:custGeom>
            <a:solidFill>
              <a:srgbClr val="3B3387"/>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70" name="íşḻíḓè"/>
            <p:cNvSpPr/>
            <p:nvPr/>
          </p:nvSpPr>
          <p:spPr bwMode="auto">
            <a:xfrm>
              <a:off x="5713413" y="1212851"/>
              <a:ext cx="1614488" cy="920750"/>
            </a:xfrm>
            <a:custGeom>
              <a:avLst/>
              <a:gdLst>
                <a:gd name="T0" fmla="*/ 138 w 845"/>
                <a:gd name="T1" fmla="*/ 483 h 483"/>
                <a:gd name="T2" fmla="*/ 22 w 845"/>
                <a:gd name="T3" fmla="*/ 436 h 483"/>
                <a:gd name="T4" fmla="*/ 106 w 845"/>
                <a:gd name="T5" fmla="*/ 280 h 483"/>
                <a:gd name="T6" fmla="*/ 364 w 845"/>
                <a:gd name="T7" fmla="*/ 128 h 483"/>
                <a:gd name="T8" fmla="*/ 822 w 845"/>
                <a:gd name="T9" fmla="*/ 88 h 483"/>
                <a:gd name="T10" fmla="*/ 739 w 845"/>
                <a:gd name="T11" fmla="*/ 244 h 483"/>
                <a:gd name="T12" fmla="*/ 480 w 845"/>
                <a:gd name="T13" fmla="*/ 395 h 483"/>
                <a:gd name="T14" fmla="*/ 194 w 845"/>
                <a:gd name="T15" fmla="*/ 481 h 483"/>
                <a:gd name="T16" fmla="*/ 138 w 845"/>
                <a:gd name="T17" fmla="*/ 483 h 483"/>
                <a:gd name="T18" fmla="*/ 710 w 845"/>
                <a:gd name="T19" fmla="*/ 91 h 483"/>
                <a:gd name="T20" fmla="*/ 385 w 845"/>
                <a:gd name="T21" fmla="*/ 176 h 483"/>
                <a:gd name="T22" fmla="*/ 139 w 845"/>
                <a:gd name="T23" fmla="*/ 320 h 483"/>
                <a:gd name="T24" fmla="*/ 70 w 845"/>
                <a:gd name="T25" fmla="*/ 415 h 483"/>
                <a:gd name="T26" fmla="*/ 187 w 845"/>
                <a:gd name="T27" fmla="*/ 429 h 483"/>
                <a:gd name="T28" fmla="*/ 460 w 845"/>
                <a:gd name="T29" fmla="*/ 347 h 483"/>
                <a:gd name="T30" fmla="*/ 705 w 845"/>
                <a:gd name="T31" fmla="*/ 204 h 483"/>
                <a:gd name="T32" fmla="*/ 774 w 845"/>
                <a:gd name="T33" fmla="*/ 109 h 483"/>
                <a:gd name="T34" fmla="*/ 710 w 845"/>
                <a:gd name="T35" fmla="*/ 91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5" h="483">
                  <a:moveTo>
                    <a:pt x="138" y="483"/>
                  </a:moveTo>
                  <a:cubicBezTo>
                    <a:pt x="88" y="483"/>
                    <a:pt x="39" y="474"/>
                    <a:pt x="22" y="436"/>
                  </a:cubicBezTo>
                  <a:cubicBezTo>
                    <a:pt x="0" y="383"/>
                    <a:pt x="55" y="322"/>
                    <a:pt x="106" y="280"/>
                  </a:cubicBezTo>
                  <a:cubicBezTo>
                    <a:pt x="170" y="227"/>
                    <a:pt x="262" y="173"/>
                    <a:pt x="364" y="128"/>
                  </a:cubicBezTo>
                  <a:cubicBezTo>
                    <a:pt x="563" y="42"/>
                    <a:pt x="784" y="0"/>
                    <a:pt x="822" y="88"/>
                  </a:cubicBezTo>
                  <a:cubicBezTo>
                    <a:pt x="845" y="140"/>
                    <a:pt x="789" y="201"/>
                    <a:pt x="739" y="244"/>
                  </a:cubicBezTo>
                  <a:cubicBezTo>
                    <a:pt x="675" y="297"/>
                    <a:pt x="583" y="351"/>
                    <a:pt x="480" y="395"/>
                  </a:cubicBezTo>
                  <a:cubicBezTo>
                    <a:pt x="378" y="440"/>
                    <a:pt x="276" y="470"/>
                    <a:pt x="194" y="481"/>
                  </a:cubicBezTo>
                  <a:cubicBezTo>
                    <a:pt x="176" y="483"/>
                    <a:pt x="157" y="483"/>
                    <a:pt x="138" y="483"/>
                  </a:cubicBezTo>
                  <a:close/>
                  <a:moveTo>
                    <a:pt x="710" y="91"/>
                  </a:moveTo>
                  <a:cubicBezTo>
                    <a:pt x="643" y="91"/>
                    <a:pt x="530" y="113"/>
                    <a:pt x="385" y="176"/>
                  </a:cubicBezTo>
                  <a:cubicBezTo>
                    <a:pt x="287" y="219"/>
                    <a:pt x="200" y="270"/>
                    <a:pt x="139" y="320"/>
                  </a:cubicBezTo>
                  <a:cubicBezTo>
                    <a:pt x="75" y="373"/>
                    <a:pt x="66" y="405"/>
                    <a:pt x="70" y="415"/>
                  </a:cubicBezTo>
                  <a:cubicBezTo>
                    <a:pt x="74" y="424"/>
                    <a:pt x="104" y="440"/>
                    <a:pt x="187" y="429"/>
                  </a:cubicBezTo>
                  <a:cubicBezTo>
                    <a:pt x="265" y="419"/>
                    <a:pt x="361" y="390"/>
                    <a:pt x="460" y="347"/>
                  </a:cubicBezTo>
                  <a:cubicBezTo>
                    <a:pt x="558" y="305"/>
                    <a:pt x="645" y="254"/>
                    <a:pt x="705" y="204"/>
                  </a:cubicBezTo>
                  <a:cubicBezTo>
                    <a:pt x="769" y="150"/>
                    <a:pt x="779" y="118"/>
                    <a:pt x="774" y="109"/>
                  </a:cubicBezTo>
                  <a:cubicBezTo>
                    <a:pt x="770" y="98"/>
                    <a:pt x="747" y="91"/>
                    <a:pt x="710" y="91"/>
                  </a:cubicBezTo>
                  <a:close/>
                </a:path>
              </a:pathLst>
            </a:custGeom>
            <a:solidFill>
              <a:srgbClr val="8CAB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71" name="îṣ1ïḋé"/>
            <p:cNvSpPr/>
            <p:nvPr/>
          </p:nvSpPr>
          <p:spPr bwMode="auto">
            <a:xfrm>
              <a:off x="3022600" y="5786438"/>
              <a:ext cx="171450" cy="122238"/>
            </a:xfrm>
            <a:custGeom>
              <a:avLst/>
              <a:gdLst>
                <a:gd name="T0" fmla="*/ 108 w 108"/>
                <a:gd name="T1" fmla="*/ 0 h 77"/>
                <a:gd name="T2" fmla="*/ 107 w 108"/>
                <a:gd name="T3" fmla="*/ 11 h 77"/>
                <a:gd name="T4" fmla="*/ 103 w 108"/>
                <a:gd name="T5" fmla="*/ 46 h 77"/>
                <a:gd name="T6" fmla="*/ 31 w 108"/>
                <a:gd name="T7" fmla="*/ 77 h 77"/>
                <a:gd name="T8" fmla="*/ 0 w 108"/>
                <a:gd name="T9" fmla="*/ 40 h 77"/>
                <a:gd name="T10" fmla="*/ 38 w 108"/>
                <a:gd name="T11" fmla="*/ 6 h 77"/>
                <a:gd name="T12" fmla="*/ 42 w 108"/>
                <a:gd name="T13" fmla="*/ 4 h 77"/>
                <a:gd name="T14" fmla="*/ 42 w 108"/>
                <a:gd name="T15" fmla="*/ 9 h 77"/>
                <a:gd name="T16" fmla="*/ 108 w 108"/>
                <a:gd name="T1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77">
                  <a:moveTo>
                    <a:pt x="108" y="0"/>
                  </a:moveTo>
                  <a:lnTo>
                    <a:pt x="107" y="11"/>
                  </a:lnTo>
                  <a:lnTo>
                    <a:pt x="103" y="46"/>
                  </a:lnTo>
                  <a:lnTo>
                    <a:pt x="31" y="77"/>
                  </a:lnTo>
                  <a:lnTo>
                    <a:pt x="0" y="40"/>
                  </a:lnTo>
                  <a:lnTo>
                    <a:pt x="38" y="6"/>
                  </a:lnTo>
                  <a:lnTo>
                    <a:pt x="42" y="4"/>
                  </a:lnTo>
                  <a:lnTo>
                    <a:pt x="42" y="9"/>
                  </a:lnTo>
                  <a:lnTo>
                    <a:pt x="108" y="0"/>
                  </a:ln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72" name="í$ľíďe"/>
            <p:cNvSpPr/>
            <p:nvPr/>
          </p:nvSpPr>
          <p:spPr bwMode="auto">
            <a:xfrm>
              <a:off x="2986088" y="4789488"/>
              <a:ext cx="292100" cy="1011238"/>
            </a:xfrm>
            <a:custGeom>
              <a:avLst/>
              <a:gdLst>
                <a:gd name="T0" fmla="*/ 0 w 153"/>
                <a:gd name="T1" fmla="*/ 0 h 530"/>
                <a:gd name="T2" fmla="*/ 6 w 153"/>
                <a:gd name="T3" fmla="*/ 24 h 530"/>
                <a:gd name="T4" fmla="*/ 54 w 153"/>
                <a:gd name="T5" fmla="*/ 526 h 530"/>
                <a:gd name="T6" fmla="*/ 111 w 153"/>
                <a:gd name="T7" fmla="*/ 502 h 530"/>
                <a:gd name="T8" fmla="*/ 54 w 153"/>
                <a:gd name="T9" fmla="*/ 526 h 530"/>
                <a:gd name="T10" fmla="*/ 54 w 153"/>
                <a:gd name="T11" fmla="*/ 530 h 530"/>
                <a:gd name="T12" fmla="*/ 109 w 153"/>
                <a:gd name="T13" fmla="*/ 523 h 530"/>
                <a:gd name="T14" fmla="*/ 112 w 153"/>
                <a:gd name="T15" fmla="*/ 522 h 530"/>
                <a:gd name="T16" fmla="*/ 153 w 153"/>
                <a:gd name="T17" fmla="*/ 2 h 530"/>
                <a:gd name="T18" fmla="*/ 0 w 153"/>
                <a:gd name="T19" fmla="*/ 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530">
                  <a:moveTo>
                    <a:pt x="0" y="0"/>
                  </a:moveTo>
                  <a:cubicBezTo>
                    <a:pt x="6" y="24"/>
                    <a:pt x="6" y="24"/>
                    <a:pt x="6" y="24"/>
                  </a:cubicBezTo>
                  <a:cubicBezTo>
                    <a:pt x="54" y="526"/>
                    <a:pt x="54" y="526"/>
                    <a:pt x="54" y="526"/>
                  </a:cubicBezTo>
                  <a:cubicBezTo>
                    <a:pt x="111" y="502"/>
                    <a:pt x="111" y="502"/>
                    <a:pt x="111" y="502"/>
                  </a:cubicBezTo>
                  <a:cubicBezTo>
                    <a:pt x="54" y="526"/>
                    <a:pt x="54" y="526"/>
                    <a:pt x="54" y="526"/>
                  </a:cubicBezTo>
                  <a:cubicBezTo>
                    <a:pt x="54" y="530"/>
                    <a:pt x="54" y="530"/>
                    <a:pt x="54" y="530"/>
                  </a:cubicBezTo>
                  <a:cubicBezTo>
                    <a:pt x="109" y="523"/>
                    <a:pt x="109" y="523"/>
                    <a:pt x="109" y="523"/>
                  </a:cubicBezTo>
                  <a:cubicBezTo>
                    <a:pt x="112" y="522"/>
                    <a:pt x="112" y="522"/>
                    <a:pt x="112" y="522"/>
                  </a:cubicBezTo>
                  <a:cubicBezTo>
                    <a:pt x="153" y="2"/>
                    <a:pt x="153" y="2"/>
                    <a:pt x="153" y="2"/>
                  </a:cubicBezTo>
                  <a:cubicBezTo>
                    <a:pt x="99" y="2"/>
                    <a:pt x="45" y="1"/>
                    <a:pt x="0" y="0"/>
                  </a:cubicBez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73" name="ïṡlídè"/>
            <p:cNvSpPr/>
            <p:nvPr/>
          </p:nvSpPr>
          <p:spPr bwMode="auto">
            <a:xfrm>
              <a:off x="3321050" y="4792663"/>
              <a:ext cx="339725" cy="900113"/>
            </a:xfrm>
            <a:custGeom>
              <a:avLst/>
              <a:gdLst>
                <a:gd name="T0" fmla="*/ 178 w 178"/>
                <a:gd name="T1" fmla="*/ 0 h 472"/>
                <a:gd name="T2" fmla="*/ 167 w 178"/>
                <a:gd name="T3" fmla="*/ 131 h 472"/>
                <a:gd name="T4" fmla="*/ 56 w 178"/>
                <a:gd name="T5" fmla="*/ 472 h 472"/>
                <a:gd name="T6" fmla="*/ 1 w 178"/>
                <a:gd name="T7" fmla="*/ 465 h 472"/>
                <a:gd name="T8" fmla="*/ 1 w 178"/>
                <a:gd name="T9" fmla="*/ 472 h 472"/>
                <a:gd name="T10" fmla="*/ 0 w 178"/>
                <a:gd name="T11" fmla="*/ 472 h 472"/>
                <a:gd name="T12" fmla="*/ 40 w 178"/>
                <a:gd name="T13" fmla="*/ 120 h 472"/>
                <a:gd name="T14" fmla="*/ 6 w 178"/>
                <a:gd name="T15" fmla="*/ 0 h 472"/>
                <a:gd name="T16" fmla="*/ 178 w 178"/>
                <a:gd name="T17"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472">
                  <a:moveTo>
                    <a:pt x="178" y="0"/>
                  </a:moveTo>
                  <a:cubicBezTo>
                    <a:pt x="167" y="131"/>
                    <a:pt x="167" y="131"/>
                    <a:pt x="167" y="131"/>
                  </a:cubicBezTo>
                  <a:cubicBezTo>
                    <a:pt x="56" y="472"/>
                    <a:pt x="56" y="472"/>
                    <a:pt x="56" y="472"/>
                  </a:cubicBezTo>
                  <a:cubicBezTo>
                    <a:pt x="1" y="465"/>
                    <a:pt x="1" y="465"/>
                    <a:pt x="1" y="465"/>
                  </a:cubicBezTo>
                  <a:cubicBezTo>
                    <a:pt x="1" y="472"/>
                    <a:pt x="1" y="472"/>
                    <a:pt x="1" y="472"/>
                  </a:cubicBezTo>
                  <a:cubicBezTo>
                    <a:pt x="0" y="472"/>
                    <a:pt x="0" y="472"/>
                    <a:pt x="0" y="472"/>
                  </a:cubicBezTo>
                  <a:cubicBezTo>
                    <a:pt x="40" y="120"/>
                    <a:pt x="40" y="120"/>
                    <a:pt x="40" y="120"/>
                  </a:cubicBezTo>
                  <a:cubicBezTo>
                    <a:pt x="6" y="0"/>
                    <a:pt x="6" y="0"/>
                    <a:pt x="6" y="0"/>
                  </a:cubicBezTo>
                  <a:cubicBezTo>
                    <a:pt x="69" y="1"/>
                    <a:pt x="131" y="1"/>
                    <a:pt x="178" y="0"/>
                  </a:cubicBez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74" name="î$lïḑê"/>
            <p:cNvSpPr/>
            <p:nvPr/>
          </p:nvSpPr>
          <p:spPr bwMode="auto">
            <a:xfrm>
              <a:off x="3314700" y="5692776"/>
              <a:ext cx="166688" cy="117475"/>
            </a:xfrm>
            <a:custGeom>
              <a:avLst/>
              <a:gdLst>
                <a:gd name="T0" fmla="*/ 71 w 105"/>
                <a:gd name="T1" fmla="*/ 0 h 74"/>
                <a:gd name="T2" fmla="*/ 75 w 105"/>
                <a:gd name="T3" fmla="*/ 2 h 74"/>
                <a:gd name="T4" fmla="*/ 105 w 105"/>
                <a:gd name="T5" fmla="*/ 42 h 74"/>
                <a:gd name="T6" fmla="*/ 65 w 105"/>
                <a:gd name="T7" fmla="*/ 74 h 74"/>
                <a:gd name="T8" fmla="*/ 0 w 105"/>
                <a:gd name="T9" fmla="*/ 28 h 74"/>
                <a:gd name="T10" fmla="*/ 5 w 105"/>
                <a:gd name="T11" fmla="*/ 0 h 74"/>
                <a:gd name="T12" fmla="*/ 69 w 105"/>
                <a:gd name="T13" fmla="*/ 9 h 74"/>
                <a:gd name="T14" fmla="*/ 71 w 105"/>
                <a:gd name="T15" fmla="*/ 0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74">
                  <a:moveTo>
                    <a:pt x="71" y="0"/>
                  </a:moveTo>
                  <a:lnTo>
                    <a:pt x="75" y="2"/>
                  </a:lnTo>
                  <a:lnTo>
                    <a:pt x="105" y="42"/>
                  </a:lnTo>
                  <a:lnTo>
                    <a:pt x="65" y="74"/>
                  </a:lnTo>
                  <a:lnTo>
                    <a:pt x="0" y="28"/>
                  </a:lnTo>
                  <a:lnTo>
                    <a:pt x="5" y="0"/>
                  </a:lnTo>
                  <a:lnTo>
                    <a:pt x="69" y="9"/>
                  </a:lnTo>
                  <a:lnTo>
                    <a:pt x="71" y="0"/>
                  </a:ln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75" name="iṣḷîḍe"/>
            <p:cNvSpPr/>
            <p:nvPr/>
          </p:nvSpPr>
          <p:spPr bwMode="auto">
            <a:xfrm>
              <a:off x="3322638" y="5680076"/>
              <a:ext cx="104775" cy="26988"/>
            </a:xfrm>
            <a:custGeom>
              <a:avLst/>
              <a:gdLst>
                <a:gd name="T0" fmla="*/ 66 w 66"/>
                <a:gd name="T1" fmla="*/ 8 h 17"/>
                <a:gd name="T2" fmla="*/ 64 w 66"/>
                <a:gd name="T3" fmla="*/ 17 h 17"/>
                <a:gd name="T4" fmla="*/ 0 w 66"/>
                <a:gd name="T5" fmla="*/ 8 h 17"/>
                <a:gd name="T6" fmla="*/ 0 w 66"/>
                <a:gd name="T7" fmla="*/ 0 h 17"/>
                <a:gd name="T8" fmla="*/ 66 w 66"/>
                <a:gd name="T9" fmla="*/ 8 h 17"/>
              </a:gdLst>
              <a:ahLst/>
              <a:cxnLst>
                <a:cxn ang="0">
                  <a:pos x="T0" y="T1"/>
                </a:cxn>
                <a:cxn ang="0">
                  <a:pos x="T2" y="T3"/>
                </a:cxn>
                <a:cxn ang="0">
                  <a:pos x="T4" y="T5"/>
                </a:cxn>
                <a:cxn ang="0">
                  <a:pos x="T6" y="T7"/>
                </a:cxn>
                <a:cxn ang="0">
                  <a:pos x="T8" y="T9"/>
                </a:cxn>
              </a:cxnLst>
              <a:rect l="0" t="0" r="r" b="b"/>
              <a:pathLst>
                <a:path w="66" h="17">
                  <a:moveTo>
                    <a:pt x="66" y="8"/>
                  </a:moveTo>
                  <a:lnTo>
                    <a:pt x="64" y="17"/>
                  </a:lnTo>
                  <a:lnTo>
                    <a:pt x="0" y="8"/>
                  </a:lnTo>
                  <a:lnTo>
                    <a:pt x="0" y="0"/>
                  </a:lnTo>
                  <a:lnTo>
                    <a:pt x="66" y="8"/>
                  </a:lnTo>
                  <a:close/>
                </a:path>
              </a:pathLst>
            </a:custGeom>
            <a:solidFill>
              <a:srgbClr val="3E3D3B"/>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76" name="iŝľîḓè"/>
            <p:cNvSpPr/>
            <p:nvPr/>
          </p:nvSpPr>
          <p:spPr bwMode="auto">
            <a:xfrm>
              <a:off x="2828925" y="3243263"/>
              <a:ext cx="119063" cy="241300"/>
            </a:xfrm>
            <a:custGeom>
              <a:avLst/>
              <a:gdLst>
                <a:gd name="T0" fmla="*/ 58 w 62"/>
                <a:gd name="T1" fmla="*/ 48 h 127"/>
                <a:gd name="T2" fmla="*/ 0 w 62"/>
                <a:gd name="T3" fmla="*/ 127 h 127"/>
                <a:gd name="T4" fmla="*/ 57 w 62"/>
                <a:gd name="T5" fmla="*/ 0 h 127"/>
                <a:gd name="T6" fmla="*/ 58 w 62"/>
                <a:gd name="T7" fmla="*/ 48 h 127"/>
              </a:gdLst>
              <a:ahLst/>
              <a:cxnLst>
                <a:cxn ang="0">
                  <a:pos x="T0" y="T1"/>
                </a:cxn>
                <a:cxn ang="0">
                  <a:pos x="T2" y="T3"/>
                </a:cxn>
                <a:cxn ang="0">
                  <a:pos x="T4" y="T5"/>
                </a:cxn>
                <a:cxn ang="0">
                  <a:pos x="T6" y="T7"/>
                </a:cxn>
              </a:cxnLst>
              <a:rect l="0" t="0" r="r" b="b"/>
              <a:pathLst>
                <a:path w="62" h="127">
                  <a:moveTo>
                    <a:pt x="58" y="48"/>
                  </a:moveTo>
                  <a:cubicBezTo>
                    <a:pt x="51" y="80"/>
                    <a:pt x="25" y="105"/>
                    <a:pt x="0" y="127"/>
                  </a:cubicBezTo>
                  <a:cubicBezTo>
                    <a:pt x="19" y="79"/>
                    <a:pt x="38" y="37"/>
                    <a:pt x="57" y="0"/>
                  </a:cubicBezTo>
                  <a:cubicBezTo>
                    <a:pt x="60" y="16"/>
                    <a:pt x="62" y="32"/>
                    <a:pt x="58" y="48"/>
                  </a:cubicBezTo>
                  <a:close/>
                </a:path>
              </a:pathLst>
            </a:custGeom>
            <a:solidFill>
              <a:srgbClr val="E0E0E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77" name="îšḻíḑè"/>
            <p:cNvSpPr/>
            <p:nvPr/>
          </p:nvSpPr>
          <p:spPr bwMode="auto">
            <a:xfrm>
              <a:off x="2679700" y="2924176"/>
              <a:ext cx="1127125" cy="1870075"/>
            </a:xfrm>
            <a:custGeom>
              <a:avLst/>
              <a:gdLst>
                <a:gd name="T0" fmla="*/ 42 w 590"/>
                <a:gd name="T1" fmla="*/ 976 h 980"/>
                <a:gd name="T2" fmla="*/ 160 w 590"/>
                <a:gd name="T3" fmla="*/ 977 h 980"/>
                <a:gd name="T4" fmla="*/ 313 w 590"/>
                <a:gd name="T5" fmla="*/ 979 h 980"/>
                <a:gd name="T6" fmla="*/ 341 w 590"/>
                <a:gd name="T7" fmla="*/ 979 h 980"/>
                <a:gd name="T8" fmla="*/ 513 w 590"/>
                <a:gd name="T9" fmla="*/ 979 h 980"/>
                <a:gd name="T10" fmla="*/ 590 w 590"/>
                <a:gd name="T11" fmla="*/ 976 h 980"/>
                <a:gd name="T12" fmla="*/ 475 w 590"/>
                <a:gd name="T13" fmla="*/ 379 h 980"/>
                <a:gd name="T14" fmla="*/ 474 w 590"/>
                <a:gd name="T15" fmla="*/ 377 h 980"/>
                <a:gd name="T16" fmla="*/ 444 w 590"/>
                <a:gd name="T17" fmla="*/ 252 h 980"/>
                <a:gd name="T18" fmla="*/ 399 w 590"/>
                <a:gd name="T19" fmla="*/ 70 h 980"/>
                <a:gd name="T20" fmla="*/ 287 w 590"/>
                <a:gd name="T21" fmla="*/ 17 h 980"/>
                <a:gd name="T22" fmla="*/ 255 w 590"/>
                <a:gd name="T23" fmla="*/ 2 h 980"/>
                <a:gd name="T24" fmla="*/ 251 w 590"/>
                <a:gd name="T25" fmla="*/ 0 h 980"/>
                <a:gd name="T26" fmla="*/ 256 w 590"/>
                <a:gd name="T27" fmla="*/ 14 h 980"/>
                <a:gd name="T28" fmla="*/ 259 w 590"/>
                <a:gd name="T29" fmla="*/ 19 h 980"/>
                <a:gd name="T30" fmla="*/ 282 w 590"/>
                <a:gd name="T31" fmla="*/ 71 h 980"/>
                <a:gd name="T32" fmla="*/ 280 w 590"/>
                <a:gd name="T33" fmla="*/ 82 h 980"/>
                <a:gd name="T34" fmla="*/ 274 w 590"/>
                <a:gd name="T35" fmla="*/ 100 h 980"/>
                <a:gd name="T36" fmla="*/ 317 w 590"/>
                <a:gd name="T37" fmla="*/ 293 h 980"/>
                <a:gd name="T38" fmla="*/ 376 w 590"/>
                <a:gd name="T39" fmla="*/ 378 h 980"/>
                <a:gd name="T40" fmla="*/ 380 w 590"/>
                <a:gd name="T41" fmla="*/ 396 h 980"/>
                <a:gd name="T42" fmla="*/ 340 w 590"/>
                <a:gd name="T43" fmla="*/ 462 h 980"/>
                <a:gd name="T44" fmla="*/ 320 w 590"/>
                <a:gd name="T45" fmla="*/ 466 h 980"/>
                <a:gd name="T46" fmla="*/ 293 w 590"/>
                <a:gd name="T47" fmla="*/ 527 h 980"/>
                <a:gd name="T48" fmla="*/ 251 w 590"/>
                <a:gd name="T49" fmla="*/ 538 h 980"/>
                <a:gd name="T50" fmla="*/ 237 w 590"/>
                <a:gd name="T51" fmla="*/ 535 h 980"/>
                <a:gd name="T52" fmla="*/ 226 w 590"/>
                <a:gd name="T53" fmla="*/ 507 h 980"/>
                <a:gd name="T54" fmla="*/ 185 w 590"/>
                <a:gd name="T55" fmla="*/ 472 h 980"/>
                <a:gd name="T56" fmla="*/ 128 w 590"/>
                <a:gd name="T57" fmla="*/ 471 h 980"/>
                <a:gd name="T58" fmla="*/ 60 w 590"/>
                <a:gd name="T59" fmla="*/ 456 h 980"/>
                <a:gd name="T60" fmla="*/ 37 w 590"/>
                <a:gd name="T61" fmla="*/ 439 h 980"/>
                <a:gd name="T62" fmla="*/ 42 w 590"/>
                <a:gd name="T63" fmla="*/ 976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0" h="980">
                  <a:moveTo>
                    <a:pt x="42" y="976"/>
                  </a:moveTo>
                  <a:cubicBezTo>
                    <a:pt x="42" y="976"/>
                    <a:pt x="91" y="976"/>
                    <a:pt x="160" y="977"/>
                  </a:cubicBezTo>
                  <a:cubicBezTo>
                    <a:pt x="205" y="978"/>
                    <a:pt x="259" y="979"/>
                    <a:pt x="313" y="979"/>
                  </a:cubicBezTo>
                  <a:cubicBezTo>
                    <a:pt x="322" y="979"/>
                    <a:pt x="332" y="979"/>
                    <a:pt x="341" y="979"/>
                  </a:cubicBezTo>
                  <a:cubicBezTo>
                    <a:pt x="404" y="980"/>
                    <a:pt x="466" y="980"/>
                    <a:pt x="513" y="979"/>
                  </a:cubicBezTo>
                  <a:cubicBezTo>
                    <a:pt x="549" y="978"/>
                    <a:pt x="576" y="977"/>
                    <a:pt x="590" y="976"/>
                  </a:cubicBezTo>
                  <a:cubicBezTo>
                    <a:pt x="475" y="379"/>
                    <a:pt x="475" y="379"/>
                    <a:pt x="475" y="379"/>
                  </a:cubicBezTo>
                  <a:cubicBezTo>
                    <a:pt x="474" y="377"/>
                    <a:pt x="474" y="377"/>
                    <a:pt x="474" y="377"/>
                  </a:cubicBezTo>
                  <a:cubicBezTo>
                    <a:pt x="444" y="252"/>
                    <a:pt x="444" y="252"/>
                    <a:pt x="444" y="252"/>
                  </a:cubicBezTo>
                  <a:cubicBezTo>
                    <a:pt x="399" y="70"/>
                    <a:pt x="399" y="70"/>
                    <a:pt x="399" y="70"/>
                  </a:cubicBezTo>
                  <a:cubicBezTo>
                    <a:pt x="287" y="17"/>
                    <a:pt x="287" y="17"/>
                    <a:pt x="287" y="17"/>
                  </a:cubicBezTo>
                  <a:cubicBezTo>
                    <a:pt x="275" y="15"/>
                    <a:pt x="265" y="9"/>
                    <a:pt x="255" y="2"/>
                  </a:cubicBezTo>
                  <a:cubicBezTo>
                    <a:pt x="251" y="0"/>
                    <a:pt x="251" y="0"/>
                    <a:pt x="251" y="0"/>
                  </a:cubicBezTo>
                  <a:cubicBezTo>
                    <a:pt x="253" y="5"/>
                    <a:pt x="254" y="9"/>
                    <a:pt x="256" y="14"/>
                  </a:cubicBezTo>
                  <a:cubicBezTo>
                    <a:pt x="257" y="16"/>
                    <a:pt x="258" y="17"/>
                    <a:pt x="259" y="19"/>
                  </a:cubicBezTo>
                  <a:cubicBezTo>
                    <a:pt x="268" y="36"/>
                    <a:pt x="282" y="52"/>
                    <a:pt x="282" y="71"/>
                  </a:cubicBezTo>
                  <a:cubicBezTo>
                    <a:pt x="282" y="75"/>
                    <a:pt x="281" y="78"/>
                    <a:pt x="280" y="82"/>
                  </a:cubicBezTo>
                  <a:cubicBezTo>
                    <a:pt x="279" y="88"/>
                    <a:pt x="276" y="94"/>
                    <a:pt x="274" y="100"/>
                  </a:cubicBezTo>
                  <a:cubicBezTo>
                    <a:pt x="249" y="165"/>
                    <a:pt x="276" y="238"/>
                    <a:pt x="317" y="293"/>
                  </a:cubicBezTo>
                  <a:cubicBezTo>
                    <a:pt x="337" y="321"/>
                    <a:pt x="364" y="345"/>
                    <a:pt x="376" y="378"/>
                  </a:cubicBezTo>
                  <a:cubicBezTo>
                    <a:pt x="378" y="384"/>
                    <a:pt x="379" y="390"/>
                    <a:pt x="380" y="396"/>
                  </a:cubicBezTo>
                  <a:cubicBezTo>
                    <a:pt x="383" y="425"/>
                    <a:pt x="369" y="458"/>
                    <a:pt x="340" y="462"/>
                  </a:cubicBezTo>
                  <a:cubicBezTo>
                    <a:pt x="334" y="464"/>
                    <a:pt x="327" y="463"/>
                    <a:pt x="320" y="466"/>
                  </a:cubicBezTo>
                  <a:cubicBezTo>
                    <a:pt x="299" y="476"/>
                    <a:pt x="308" y="510"/>
                    <a:pt x="293" y="527"/>
                  </a:cubicBezTo>
                  <a:cubicBezTo>
                    <a:pt x="283" y="538"/>
                    <a:pt x="266" y="539"/>
                    <a:pt x="251" y="538"/>
                  </a:cubicBezTo>
                  <a:cubicBezTo>
                    <a:pt x="246" y="538"/>
                    <a:pt x="241" y="538"/>
                    <a:pt x="237" y="535"/>
                  </a:cubicBezTo>
                  <a:cubicBezTo>
                    <a:pt x="228" y="530"/>
                    <a:pt x="229" y="517"/>
                    <a:pt x="226" y="507"/>
                  </a:cubicBezTo>
                  <a:cubicBezTo>
                    <a:pt x="222" y="488"/>
                    <a:pt x="203" y="476"/>
                    <a:pt x="185" y="472"/>
                  </a:cubicBezTo>
                  <a:cubicBezTo>
                    <a:pt x="166" y="468"/>
                    <a:pt x="147" y="471"/>
                    <a:pt x="128" y="471"/>
                  </a:cubicBezTo>
                  <a:cubicBezTo>
                    <a:pt x="105" y="471"/>
                    <a:pt x="80" y="467"/>
                    <a:pt x="60" y="456"/>
                  </a:cubicBezTo>
                  <a:cubicBezTo>
                    <a:pt x="51" y="452"/>
                    <a:pt x="44" y="446"/>
                    <a:pt x="37" y="439"/>
                  </a:cubicBezTo>
                  <a:cubicBezTo>
                    <a:pt x="0" y="667"/>
                    <a:pt x="42" y="976"/>
                    <a:pt x="42" y="976"/>
                  </a:cubicBezTo>
                  <a:close/>
                </a:path>
              </a:pathLst>
            </a:custGeom>
            <a:solidFill>
              <a:srgbClr val="8CAB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78" name="îŝ1ïḍè"/>
            <p:cNvSpPr/>
            <p:nvPr/>
          </p:nvSpPr>
          <p:spPr bwMode="auto">
            <a:xfrm>
              <a:off x="3951288" y="3827463"/>
              <a:ext cx="230188" cy="157163"/>
            </a:xfrm>
            <a:custGeom>
              <a:avLst/>
              <a:gdLst>
                <a:gd name="T0" fmla="*/ 13 w 121"/>
                <a:gd name="T1" fmla="*/ 2 h 83"/>
                <a:gd name="T2" fmla="*/ 71 w 121"/>
                <a:gd name="T3" fmla="*/ 18 h 83"/>
                <a:gd name="T4" fmla="*/ 57 w 121"/>
                <a:gd name="T5" fmla="*/ 32 h 83"/>
                <a:gd name="T6" fmla="*/ 87 w 121"/>
                <a:gd name="T7" fmla="*/ 75 h 83"/>
                <a:gd name="T8" fmla="*/ 20 w 121"/>
                <a:gd name="T9" fmla="*/ 62 h 83"/>
                <a:gd name="T10" fmla="*/ 20 w 121"/>
                <a:gd name="T11" fmla="*/ 61 h 83"/>
                <a:gd name="T12" fmla="*/ 0 w 121"/>
                <a:gd name="T13" fmla="*/ 10 h 83"/>
                <a:gd name="T14" fmla="*/ 13 w 121"/>
                <a:gd name="T15" fmla="*/ 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83">
                  <a:moveTo>
                    <a:pt x="13" y="2"/>
                  </a:moveTo>
                  <a:cubicBezTo>
                    <a:pt x="21" y="0"/>
                    <a:pt x="75" y="14"/>
                    <a:pt x="71" y="18"/>
                  </a:cubicBezTo>
                  <a:cubicBezTo>
                    <a:pt x="67" y="23"/>
                    <a:pt x="62" y="28"/>
                    <a:pt x="57" y="32"/>
                  </a:cubicBezTo>
                  <a:cubicBezTo>
                    <a:pt x="73" y="41"/>
                    <a:pt x="121" y="58"/>
                    <a:pt x="87" y="75"/>
                  </a:cubicBezTo>
                  <a:cubicBezTo>
                    <a:pt x="72" y="83"/>
                    <a:pt x="32" y="72"/>
                    <a:pt x="20" y="62"/>
                  </a:cubicBezTo>
                  <a:cubicBezTo>
                    <a:pt x="20" y="61"/>
                    <a:pt x="20" y="61"/>
                    <a:pt x="20" y="61"/>
                  </a:cubicBezTo>
                  <a:cubicBezTo>
                    <a:pt x="0" y="10"/>
                    <a:pt x="0" y="10"/>
                    <a:pt x="0" y="10"/>
                  </a:cubicBezTo>
                  <a:cubicBezTo>
                    <a:pt x="3" y="7"/>
                    <a:pt x="7" y="4"/>
                    <a:pt x="13" y="2"/>
                  </a:cubicBezTo>
                  <a:close/>
                </a:path>
              </a:pathLst>
            </a:custGeom>
            <a:solidFill>
              <a:srgbClr val="EAC5B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79" name="íşḷîḓé"/>
            <p:cNvSpPr/>
            <p:nvPr/>
          </p:nvSpPr>
          <p:spPr bwMode="auto">
            <a:xfrm>
              <a:off x="3365500" y="3548063"/>
              <a:ext cx="631825" cy="422275"/>
            </a:xfrm>
            <a:custGeom>
              <a:avLst/>
              <a:gdLst>
                <a:gd name="T0" fmla="*/ 92 w 330"/>
                <a:gd name="T1" fmla="*/ 0 h 221"/>
                <a:gd name="T2" fmla="*/ 306 w 330"/>
                <a:gd name="T3" fmla="*/ 156 h 221"/>
                <a:gd name="T4" fmla="*/ 306 w 330"/>
                <a:gd name="T5" fmla="*/ 156 h 221"/>
                <a:gd name="T6" fmla="*/ 326 w 330"/>
                <a:gd name="T7" fmla="*/ 207 h 221"/>
                <a:gd name="T8" fmla="*/ 330 w 330"/>
                <a:gd name="T9" fmla="*/ 221 h 221"/>
                <a:gd name="T10" fmla="*/ 0 w 330"/>
                <a:gd name="T11" fmla="*/ 90 h 221"/>
                <a:gd name="T12" fmla="*/ 92 w 330"/>
                <a:gd name="T13" fmla="*/ 0 h 221"/>
              </a:gdLst>
              <a:ahLst/>
              <a:cxnLst>
                <a:cxn ang="0">
                  <a:pos x="T0" y="T1"/>
                </a:cxn>
                <a:cxn ang="0">
                  <a:pos x="T2" y="T3"/>
                </a:cxn>
                <a:cxn ang="0">
                  <a:pos x="T4" y="T5"/>
                </a:cxn>
                <a:cxn ang="0">
                  <a:pos x="T6" y="T7"/>
                </a:cxn>
                <a:cxn ang="0">
                  <a:pos x="T8" y="T9"/>
                </a:cxn>
                <a:cxn ang="0">
                  <a:pos x="T10" y="T11"/>
                </a:cxn>
                <a:cxn ang="0">
                  <a:pos x="T12" y="T13"/>
                </a:cxn>
              </a:cxnLst>
              <a:rect l="0" t="0" r="r" b="b"/>
              <a:pathLst>
                <a:path w="330" h="221">
                  <a:moveTo>
                    <a:pt x="92" y="0"/>
                  </a:moveTo>
                  <a:cubicBezTo>
                    <a:pt x="306" y="156"/>
                    <a:pt x="306" y="156"/>
                    <a:pt x="306" y="156"/>
                  </a:cubicBezTo>
                  <a:cubicBezTo>
                    <a:pt x="306" y="156"/>
                    <a:pt x="306" y="156"/>
                    <a:pt x="306" y="156"/>
                  </a:cubicBezTo>
                  <a:cubicBezTo>
                    <a:pt x="326" y="207"/>
                    <a:pt x="326" y="207"/>
                    <a:pt x="326" y="207"/>
                  </a:cubicBezTo>
                  <a:cubicBezTo>
                    <a:pt x="330" y="221"/>
                    <a:pt x="330" y="221"/>
                    <a:pt x="330" y="221"/>
                  </a:cubicBezTo>
                  <a:cubicBezTo>
                    <a:pt x="215" y="206"/>
                    <a:pt x="109" y="137"/>
                    <a:pt x="0" y="90"/>
                  </a:cubicBezTo>
                  <a:lnTo>
                    <a:pt x="92" y="0"/>
                  </a:lnTo>
                  <a:close/>
                </a:path>
              </a:pathLst>
            </a:custGeom>
            <a:solidFill>
              <a:srgbClr val="8CAB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80" name="iṧ1íḓé"/>
            <p:cNvSpPr/>
            <p:nvPr/>
          </p:nvSpPr>
          <p:spPr bwMode="auto">
            <a:xfrm>
              <a:off x="3167063" y="2927351"/>
              <a:ext cx="61913" cy="30163"/>
            </a:xfrm>
            <a:custGeom>
              <a:avLst/>
              <a:gdLst>
                <a:gd name="T0" fmla="*/ 32 w 32"/>
                <a:gd name="T1" fmla="*/ 15 h 15"/>
                <a:gd name="T2" fmla="*/ 0 w 32"/>
                <a:gd name="T3" fmla="*/ 0 h 15"/>
                <a:gd name="T4" fmla="*/ 32 w 32"/>
                <a:gd name="T5" fmla="*/ 15 h 15"/>
              </a:gdLst>
              <a:ahLst/>
              <a:cxnLst>
                <a:cxn ang="0">
                  <a:pos x="T0" y="T1"/>
                </a:cxn>
                <a:cxn ang="0">
                  <a:pos x="T2" y="T3"/>
                </a:cxn>
                <a:cxn ang="0">
                  <a:pos x="T4" y="T5"/>
                </a:cxn>
              </a:cxnLst>
              <a:rect l="0" t="0" r="r" b="b"/>
              <a:pathLst>
                <a:path w="32" h="15">
                  <a:moveTo>
                    <a:pt x="32" y="15"/>
                  </a:moveTo>
                  <a:cubicBezTo>
                    <a:pt x="20" y="13"/>
                    <a:pt x="10" y="7"/>
                    <a:pt x="0" y="0"/>
                  </a:cubicBezTo>
                  <a:lnTo>
                    <a:pt x="32" y="15"/>
                  </a:lnTo>
                  <a:close/>
                </a:path>
              </a:pathLst>
            </a:custGeom>
            <a:solidFill>
              <a:srgbClr val="E1CFB5"/>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81" name="ïşḷide"/>
            <p:cNvSpPr/>
            <p:nvPr/>
          </p:nvSpPr>
          <p:spPr bwMode="auto">
            <a:xfrm>
              <a:off x="3138488" y="2581276"/>
              <a:ext cx="277813" cy="377825"/>
            </a:xfrm>
            <a:custGeom>
              <a:avLst/>
              <a:gdLst>
                <a:gd name="T0" fmla="*/ 142 w 145"/>
                <a:gd name="T1" fmla="*/ 50 h 198"/>
                <a:gd name="T2" fmla="*/ 115 w 145"/>
                <a:gd name="T3" fmla="*/ 0 h 198"/>
                <a:gd name="T4" fmla="*/ 102 w 145"/>
                <a:gd name="T5" fmla="*/ 20 h 198"/>
                <a:gd name="T6" fmla="*/ 96 w 145"/>
                <a:gd name="T7" fmla="*/ 22 h 198"/>
                <a:gd name="T8" fmla="*/ 83 w 145"/>
                <a:gd name="T9" fmla="*/ 21 h 198"/>
                <a:gd name="T10" fmla="*/ 42 w 145"/>
                <a:gd name="T11" fmla="*/ 34 h 198"/>
                <a:gd name="T12" fmla="*/ 11 w 145"/>
                <a:gd name="T13" fmla="*/ 177 h 198"/>
                <a:gd name="T14" fmla="*/ 15 w 145"/>
                <a:gd name="T15" fmla="*/ 182 h 198"/>
                <a:gd name="T16" fmla="*/ 47 w 145"/>
                <a:gd name="T17" fmla="*/ 197 h 198"/>
                <a:gd name="T18" fmla="*/ 78 w 145"/>
                <a:gd name="T19" fmla="*/ 194 h 198"/>
                <a:gd name="T20" fmla="*/ 82 w 145"/>
                <a:gd name="T21" fmla="*/ 192 h 198"/>
                <a:gd name="T22" fmla="*/ 136 w 145"/>
                <a:gd name="T23" fmla="*/ 131 h 198"/>
                <a:gd name="T24" fmla="*/ 142 w 145"/>
                <a:gd name="T25" fmla="*/ 5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198">
                  <a:moveTo>
                    <a:pt x="142" y="50"/>
                  </a:moveTo>
                  <a:cubicBezTo>
                    <a:pt x="139" y="25"/>
                    <a:pt x="129" y="9"/>
                    <a:pt x="115" y="0"/>
                  </a:cubicBezTo>
                  <a:cubicBezTo>
                    <a:pt x="113" y="7"/>
                    <a:pt x="108" y="16"/>
                    <a:pt x="102" y="20"/>
                  </a:cubicBezTo>
                  <a:cubicBezTo>
                    <a:pt x="100" y="21"/>
                    <a:pt x="98" y="22"/>
                    <a:pt x="96" y="22"/>
                  </a:cubicBezTo>
                  <a:cubicBezTo>
                    <a:pt x="92" y="23"/>
                    <a:pt x="90" y="21"/>
                    <a:pt x="83" y="21"/>
                  </a:cubicBezTo>
                  <a:cubicBezTo>
                    <a:pt x="68" y="21"/>
                    <a:pt x="54" y="23"/>
                    <a:pt x="42" y="34"/>
                  </a:cubicBezTo>
                  <a:cubicBezTo>
                    <a:pt x="12" y="60"/>
                    <a:pt x="0" y="132"/>
                    <a:pt x="11" y="177"/>
                  </a:cubicBezTo>
                  <a:cubicBezTo>
                    <a:pt x="12" y="179"/>
                    <a:pt x="14" y="180"/>
                    <a:pt x="15" y="182"/>
                  </a:cubicBezTo>
                  <a:cubicBezTo>
                    <a:pt x="47" y="197"/>
                    <a:pt x="47" y="197"/>
                    <a:pt x="47" y="197"/>
                  </a:cubicBezTo>
                  <a:cubicBezTo>
                    <a:pt x="57" y="198"/>
                    <a:pt x="67" y="197"/>
                    <a:pt x="78" y="194"/>
                  </a:cubicBezTo>
                  <a:cubicBezTo>
                    <a:pt x="79" y="193"/>
                    <a:pt x="81" y="193"/>
                    <a:pt x="82" y="192"/>
                  </a:cubicBezTo>
                  <a:cubicBezTo>
                    <a:pt x="108" y="183"/>
                    <a:pt x="127" y="157"/>
                    <a:pt x="136" y="131"/>
                  </a:cubicBezTo>
                  <a:cubicBezTo>
                    <a:pt x="145" y="104"/>
                    <a:pt x="145" y="76"/>
                    <a:pt x="142" y="50"/>
                  </a:cubicBezTo>
                  <a:close/>
                </a:path>
              </a:pathLst>
            </a:custGeom>
            <a:solidFill>
              <a:srgbClr val="EAC5B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82" name="ï$ļïḑè"/>
            <p:cNvSpPr/>
            <p:nvPr/>
          </p:nvSpPr>
          <p:spPr bwMode="auto">
            <a:xfrm>
              <a:off x="2701925" y="2392363"/>
              <a:ext cx="754063" cy="1560513"/>
            </a:xfrm>
            <a:custGeom>
              <a:avLst/>
              <a:gdLst>
                <a:gd name="T0" fmla="*/ 353 w 395"/>
                <a:gd name="T1" fmla="*/ 54 h 818"/>
                <a:gd name="T2" fmla="*/ 337 w 395"/>
                <a:gd name="T3" fmla="*/ 60 h 818"/>
                <a:gd name="T4" fmla="*/ 335 w 395"/>
                <a:gd name="T5" fmla="*/ 58 h 818"/>
                <a:gd name="T6" fmla="*/ 182 w 395"/>
                <a:gd name="T7" fmla="*/ 94 h 818"/>
                <a:gd name="T8" fmla="*/ 115 w 395"/>
                <a:gd name="T9" fmla="*/ 219 h 818"/>
                <a:gd name="T10" fmla="*/ 105 w 395"/>
                <a:gd name="T11" fmla="*/ 370 h 818"/>
                <a:gd name="T12" fmla="*/ 124 w 395"/>
                <a:gd name="T13" fmla="*/ 446 h 818"/>
                <a:gd name="T14" fmla="*/ 125 w 395"/>
                <a:gd name="T15" fmla="*/ 494 h 818"/>
                <a:gd name="T16" fmla="*/ 67 w 395"/>
                <a:gd name="T17" fmla="*/ 573 h 818"/>
                <a:gd name="T18" fmla="*/ 56 w 395"/>
                <a:gd name="T19" fmla="*/ 583 h 818"/>
                <a:gd name="T20" fmla="*/ 7 w 395"/>
                <a:gd name="T21" fmla="*/ 681 h 818"/>
                <a:gd name="T22" fmla="*/ 26 w 395"/>
                <a:gd name="T23" fmla="*/ 718 h 818"/>
                <a:gd name="T24" fmla="*/ 49 w 395"/>
                <a:gd name="T25" fmla="*/ 735 h 818"/>
                <a:gd name="T26" fmla="*/ 117 w 395"/>
                <a:gd name="T27" fmla="*/ 750 h 818"/>
                <a:gd name="T28" fmla="*/ 174 w 395"/>
                <a:gd name="T29" fmla="*/ 751 h 818"/>
                <a:gd name="T30" fmla="*/ 215 w 395"/>
                <a:gd name="T31" fmla="*/ 786 h 818"/>
                <a:gd name="T32" fmla="*/ 226 w 395"/>
                <a:gd name="T33" fmla="*/ 814 h 818"/>
                <a:gd name="T34" fmla="*/ 240 w 395"/>
                <a:gd name="T35" fmla="*/ 817 h 818"/>
                <a:gd name="T36" fmla="*/ 282 w 395"/>
                <a:gd name="T37" fmla="*/ 806 h 818"/>
                <a:gd name="T38" fmla="*/ 309 w 395"/>
                <a:gd name="T39" fmla="*/ 745 h 818"/>
                <a:gd name="T40" fmla="*/ 329 w 395"/>
                <a:gd name="T41" fmla="*/ 741 h 818"/>
                <a:gd name="T42" fmla="*/ 369 w 395"/>
                <a:gd name="T43" fmla="*/ 675 h 818"/>
                <a:gd name="T44" fmla="*/ 365 w 395"/>
                <a:gd name="T45" fmla="*/ 657 h 818"/>
                <a:gd name="T46" fmla="*/ 306 w 395"/>
                <a:gd name="T47" fmla="*/ 572 h 818"/>
                <a:gd name="T48" fmla="*/ 263 w 395"/>
                <a:gd name="T49" fmla="*/ 379 h 818"/>
                <a:gd name="T50" fmla="*/ 269 w 395"/>
                <a:gd name="T51" fmla="*/ 361 h 818"/>
                <a:gd name="T52" fmla="*/ 271 w 395"/>
                <a:gd name="T53" fmla="*/ 350 h 818"/>
                <a:gd name="T54" fmla="*/ 245 w 395"/>
                <a:gd name="T55" fmla="*/ 295 h 818"/>
                <a:gd name="T56" fmla="*/ 222 w 395"/>
                <a:gd name="T57" fmla="*/ 252 h 818"/>
                <a:gd name="T58" fmla="*/ 240 w 395"/>
                <a:gd name="T59" fmla="*/ 276 h 818"/>
                <a:gd name="T60" fmla="*/ 271 w 395"/>
                <a:gd name="T61" fmla="*/ 133 h 818"/>
                <a:gd name="T62" fmla="*/ 312 w 395"/>
                <a:gd name="T63" fmla="*/ 120 h 818"/>
                <a:gd name="T64" fmla="*/ 325 w 395"/>
                <a:gd name="T65" fmla="*/ 121 h 818"/>
                <a:gd name="T66" fmla="*/ 331 w 395"/>
                <a:gd name="T67" fmla="*/ 119 h 818"/>
                <a:gd name="T68" fmla="*/ 344 w 395"/>
                <a:gd name="T69" fmla="*/ 99 h 818"/>
                <a:gd name="T70" fmla="*/ 371 w 395"/>
                <a:gd name="T71" fmla="*/ 149 h 818"/>
                <a:gd name="T72" fmla="*/ 365 w 395"/>
                <a:gd name="T73" fmla="*/ 230 h 818"/>
                <a:gd name="T74" fmla="*/ 311 w 395"/>
                <a:gd name="T75" fmla="*/ 291 h 818"/>
                <a:gd name="T76" fmla="*/ 307 w 395"/>
                <a:gd name="T77" fmla="*/ 293 h 818"/>
                <a:gd name="T78" fmla="*/ 312 w 395"/>
                <a:gd name="T79" fmla="*/ 300 h 818"/>
                <a:gd name="T80" fmla="*/ 368 w 395"/>
                <a:gd name="T81" fmla="*/ 321 h 818"/>
                <a:gd name="T82" fmla="*/ 376 w 395"/>
                <a:gd name="T83" fmla="*/ 321 h 818"/>
                <a:gd name="T84" fmla="*/ 381 w 395"/>
                <a:gd name="T85" fmla="*/ 311 h 818"/>
                <a:gd name="T86" fmla="*/ 379 w 395"/>
                <a:gd name="T87" fmla="*/ 299 h 818"/>
                <a:gd name="T88" fmla="*/ 392 w 395"/>
                <a:gd name="T89" fmla="*/ 169 h 818"/>
                <a:gd name="T90" fmla="*/ 353 w 395"/>
                <a:gd name="T91" fmla="*/ 54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5" h="818">
                  <a:moveTo>
                    <a:pt x="353" y="54"/>
                  </a:moveTo>
                  <a:cubicBezTo>
                    <a:pt x="347" y="56"/>
                    <a:pt x="342" y="58"/>
                    <a:pt x="337" y="60"/>
                  </a:cubicBezTo>
                  <a:cubicBezTo>
                    <a:pt x="336" y="60"/>
                    <a:pt x="336" y="59"/>
                    <a:pt x="335" y="58"/>
                  </a:cubicBezTo>
                  <a:cubicBezTo>
                    <a:pt x="287" y="0"/>
                    <a:pt x="219" y="50"/>
                    <a:pt x="182" y="94"/>
                  </a:cubicBezTo>
                  <a:cubicBezTo>
                    <a:pt x="152" y="131"/>
                    <a:pt x="127" y="173"/>
                    <a:pt x="115" y="219"/>
                  </a:cubicBezTo>
                  <a:cubicBezTo>
                    <a:pt x="104" y="262"/>
                    <a:pt x="101" y="326"/>
                    <a:pt x="105" y="370"/>
                  </a:cubicBezTo>
                  <a:cubicBezTo>
                    <a:pt x="108" y="396"/>
                    <a:pt x="118" y="421"/>
                    <a:pt x="124" y="446"/>
                  </a:cubicBezTo>
                  <a:cubicBezTo>
                    <a:pt x="127" y="462"/>
                    <a:pt x="129" y="478"/>
                    <a:pt x="125" y="494"/>
                  </a:cubicBezTo>
                  <a:cubicBezTo>
                    <a:pt x="118" y="526"/>
                    <a:pt x="92" y="551"/>
                    <a:pt x="67" y="573"/>
                  </a:cubicBezTo>
                  <a:cubicBezTo>
                    <a:pt x="63" y="577"/>
                    <a:pt x="60" y="580"/>
                    <a:pt x="56" y="583"/>
                  </a:cubicBezTo>
                  <a:cubicBezTo>
                    <a:pt x="28" y="609"/>
                    <a:pt x="0" y="643"/>
                    <a:pt x="7" y="681"/>
                  </a:cubicBezTo>
                  <a:cubicBezTo>
                    <a:pt x="9" y="695"/>
                    <a:pt x="16" y="708"/>
                    <a:pt x="26" y="718"/>
                  </a:cubicBezTo>
                  <a:cubicBezTo>
                    <a:pt x="33" y="725"/>
                    <a:pt x="40" y="731"/>
                    <a:pt x="49" y="735"/>
                  </a:cubicBezTo>
                  <a:cubicBezTo>
                    <a:pt x="69" y="746"/>
                    <a:pt x="94" y="750"/>
                    <a:pt x="117" y="750"/>
                  </a:cubicBezTo>
                  <a:cubicBezTo>
                    <a:pt x="136" y="750"/>
                    <a:pt x="155" y="747"/>
                    <a:pt x="174" y="751"/>
                  </a:cubicBezTo>
                  <a:cubicBezTo>
                    <a:pt x="192" y="755"/>
                    <a:pt x="211" y="767"/>
                    <a:pt x="215" y="786"/>
                  </a:cubicBezTo>
                  <a:cubicBezTo>
                    <a:pt x="218" y="796"/>
                    <a:pt x="217" y="809"/>
                    <a:pt x="226" y="814"/>
                  </a:cubicBezTo>
                  <a:cubicBezTo>
                    <a:pt x="230" y="817"/>
                    <a:pt x="235" y="817"/>
                    <a:pt x="240" y="817"/>
                  </a:cubicBezTo>
                  <a:cubicBezTo>
                    <a:pt x="255" y="818"/>
                    <a:pt x="272" y="817"/>
                    <a:pt x="282" y="806"/>
                  </a:cubicBezTo>
                  <a:cubicBezTo>
                    <a:pt x="297" y="789"/>
                    <a:pt x="288" y="755"/>
                    <a:pt x="309" y="745"/>
                  </a:cubicBezTo>
                  <a:cubicBezTo>
                    <a:pt x="316" y="742"/>
                    <a:pt x="323" y="743"/>
                    <a:pt x="329" y="741"/>
                  </a:cubicBezTo>
                  <a:cubicBezTo>
                    <a:pt x="358" y="737"/>
                    <a:pt x="372" y="704"/>
                    <a:pt x="369" y="675"/>
                  </a:cubicBezTo>
                  <a:cubicBezTo>
                    <a:pt x="368" y="669"/>
                    <a:pt x="367" y="663"/>
                    <a:pt x="365" y="657"/>
                  </a:cubicBezTo>
                  <a:cubicBezTo>
                    <a:pt x="353" y="624"/>
                    <a:pt x="326" y="600"/>
                    <a:pt x="306" y="572"/>
                  </a:cubicBezTo>
                  <a:cubicBezTo>
                    <a:pt x="265" y="517"/>
                    <a:pt x="238" y="444"/>
                    <a:pt x="263" y="379"/>
                  </a:cubicBezTo>
                  <a:cubicBezTo>
                    <a:pt x="265" y="373"/>
                    <a:pt x="268" y="367"/>
                    <a:pt x="269" y="361"/>
                  </a:cubicBezTo>
                  <a:cubicBezTo>
                    <a:pt x="270" y="357"/>
                    <a:pt x="271" y="354"/>
                    <a:pt x="271" y="350"/>
                  </a:cubicBezTo>
                  <a:cubicBezTo>
                    <a:pt x="271" y="328"/>
                    <a:pt x="253" y="314"/>
                    <a:pt x="245" y="295"/>
                  </a:cubicBezTo>
                  <a:cubicBezTo>
                    <a:pt x="239" y="280"/>
                    <a:pt x="229" y="266"/>
                    <a:pt x="222" y="252"/>
                  </a:cubicBezTo>
                  <a:cubicBezTo>
                    <a:pt x="227" y="261"/>
                    <a:pt x="233" y="269"/>
                    <a:pt x="240" y="276"/>
                  </a:cubicBezTo>
                  <a:cubicBezTo>
                    <a:pt x="229" y="231"/>
                    <a:pt x="241" y="159"/>
                    <a:pt x="271" y="133"/>
                  </a:cubicBezTo>
                  <a:cubicBezTo>
                    <a:pt x="283" y="122"/>
                    <a:pt x="297" y="120"/>
                    <a:pt x="312" y="120"/>
                  </a:cubicBezTo>
                  <a:cubicBezTo>
                    <a:pt x="319" y="120"/>
                    <a:pt x="321" y="122"/>
                    <a:pt x="325" y="121"/>
                  </a:cubicBezTo>
                  <a:cubicBezTo>
                    <a:pt x="327" y="121"/>
                    <a:pt x="329" y="120"/>
                    <a:pt x="331" y="119"/>
                  </a:cubicBezTo>
                  <a:cubicBezTo>
                    <a:pt x="337" y="115"/>
                    <a:pt x="342" y="106"/>
                    <a:pt x="344" y="99"/>
                  </a:cubicBezTo>
                  <a:cubicBezTo>
                    <a:pt x="358" y="108"/>
                    <a:pt x="368" y="124"/>
                    <a:pt x="371" y="149"/>
                  </a:cubicBezTo>
                  <a:cubicBezTo>
                    <a:pt x="374" y="175"/>
                    <a:pt x="374" y="203"/>
                    <a:pt x="365" y="230"/>
                  </a:cubicBezTo>
                  <a:cubicBezTo>
                    <a:pt x="356" y="256"/>
                    <a:pt x="337" y="282"/>
                    <a:pt x="311" y="291"/>
                  </a:cubicBezTo>
                  <a:cubicBezTo>
                    <a:pt x="310" y="292"/>
                    <a:pt x="308" y="292"/>
                    <a:pt x="307" y="293"/>
                  </a:cubicBezTo>
                  <a:cubicBezTo>
                    <a:pt x="308" y="295"/>
                    <a:pt x="310" y="297"/>
                    <a:pt x="312" y="300"/>
                  </a:cubicBezTo>
                  <a:cubicBezTo>
                    <a:pt x="326" y="315"/>
                    <a:pt x="348" y="319"/>
                    <a:pt x="368" y="321"/>
                  </a:cubicBezTo>
                  <a:cubicBezTo>
                    <a:pt x="371" y="321"/>
                    <a:pt x="373" y="322"/>
                    <a:pt x="376" y="321"/>
                  </a:cubicBezTo>
                  <a:cubicBezTo>
                    <a:pt x="379" y="319"/>
                    <a:pt x="381" y="315"/>
                    <a:pt x="381" y="311"/>
                  </a:cubicBezTo>
                  <a:cubicBezTo>
                    <a:pt x="381" y="307"/>
                    <a:pt x="380" y="303"/>
                    <a:pt x="379" y="299"/>
                  </a:cubicBezTo>
                  <a:cubicBezTo>
                    <a:pt x="367" y="258"/>
                    <a:pt x="388" y="210"/>
                    <a:pt x="392" y="169"/>
                  </a:cubicBezTo>
                  <a:cubicBezTo>
                    <a:pt x="395" y="127"/>
                    <a:pt x="386" y="82"/>
                    <a:pt x="353" y="54"/>
                  </a:cubicBez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83" name="ísḷîdê"/>
            <p:cNvSpPr/>
            <p:nvPr/>
          </p:nvSpPr>
          <p:spPr bwMode="auto">
            <a:xfrm>
              <a:off x="8650288" y="4168776"/>
              <a:ext cx="449263" cy="1477963"/>
            </a:xfrm>
            <a:custGeom>
              <a:avLst/>
              <a:gdLst>
                <a:gd name="T0" fmla="*/ 0 w 283"/>
                <a:gd name="T1" fmla="*/ 104 h 931"/>
                <a:gd name="T2" fmla="*/ 283 w 283"/>
                <a:gd name="T3" fmla="*/ 0 h 931"/>
                <a:gd name="T4" fmla="*/ 225 w 283"/>
                <a:gd name="T5" fmla="*/ 495 h 931"/>
                <a:gd name="T6" fmla="*/ 259 w 283"/>
                <a:gd name="T7" fmla="*/ 922 h 931"/>
                <a:gd name="T8" fmla="*/ 260 w 283"/>
                <a:gd name="T9" fmla="*/ 925 h 931"/>
                <a:gd name="T10" fmla="*/ 259 w 283"/>
                <a:gd name="T11" fmla="*/ 925 h 931"/>
                <a:gd name="T12" fmla="*/ 259 w 283"/>
                <a:gd name="T13" fmla="*/ 925 h 931"/>
                <a:gd name="T14" fmla="*/ 203 w 283"/>
                <a:gd name="T15" fmla="*/ 931 h 931"/>
                <a:gd name="T16" fmla="*/ 203 w 283"/>
                <a:gd name="T17" fmla="*/ 931 h 931"/>
                <a:gd name="T18" fmla="*/ 201 w 283"/>
                <a:gd name="T19" fmla="*/ 931 h 931"/>
                <a:gd name="T20" fmla="*/ 77 w 283"/>
                <a:gd name="T21" fmla="*/ 550 h 931"/>
                <a:gd name="T22" fmla="*/ 11 w 283"/>
                <a:gd name="T23" fmla="*/ 145 h 931"/>
                <a:gd name="T24" fmla="*/ 0 w 283"/>
                <a:gd name="T25" fmla="*/ 104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3" h="931">
                  <a:moveTo>
                    <a:pt x="0" y="104"/>
                  </a:moveTo>
                  <a:lnTo>
                    <a:pt x="283" y="0"/>
                  </a:lnTo>
                  <a:lnTo>
                    <a:pt x="225" y="495"/>
                  </a:lnTo>
                  <a:lnTo>
                    <a:pt x="259" y="922"/>
                  </a:lnTo>
                  <a:lnTo>
                    <a:pt x="260" y="925"/>
                  </a:lnTo>
                  <a:lnTo>
                    <a:pt x="259" y="925"/>
                  </a:lnTo>
                  <a:lnTo>
                    <a:pt x="259" y="925"/>
                  </a:lnTo>
                  <a:lnTo>
                    <a:pt x="203" y="931"/>
                  </a:lnTo>
                  <a:lnTo>
                    <a:pt x="203" y="931"/>
                  </a:lnTo>
                  <a:lnTo>
                    <a:pt x="201" y="931"/>
                  </a:lnTo>
                  <a:lnTo>
                    <a:pt x="77" y="550"/>
                  </a:lnTo>
                  <a:lnTo>
                    <a:pt x="11" y="145"/>
                  </a:lnTo>
                  <a:lnTo>
                    <a:pt x="0" y="104"/>
                  </a:ln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84" name="ïślídè"/>
            <p:cNvSpPr/>
            <p:nvPr/>
          </p:nvSpPr>
          <p:spPr bwMode="auto">
            <a:xfrm>
              <a:off x="8858250" y="5676901"/>
              <a:ext cx="234950" cy="174625"/>
            </a:xfrm>
            <a:custGeom>
              <a:avLst/>
              <a:gdLst>
                <a:gd name="T0" fmla="*/ 75 w 148"/>
                <a:gd name="T1" fmla="*/ 1 h 110"/>
                <a:gd name="T2" fmla="*/ 133 w 148"/>
                <a:gd name="T3" fmla="*/ 0 h 110"/>
                <a:gd name="T4" fmla="*/ 148 w 148"/>
                <a:gd name="T5" fmla="*/ 48 h 110"/>
                <a:gd name="T6" fmla="*/ 146 w 148"/>
                <a:gd name="T7" fmla="*/ 49 h 110"/>
                <a:gd name="T8" fmla="*/ 147 w 148"/>
                <a:gd name="T9" fmla="*/ 49 h 110"/>
                <a:gd name="T10" fmla="*/ 51 w 148"/>
                <a:gd name="T11" fmla="*/ 105 h 110"/>
                <a:gd name="T12" fmla="*/ 5 w 148"/>
                <a:gd name="T13" fmla="*/ 110 h 110"/>
                <a:gd name="T14" fmla="*/ 0 w 148"/>
                <a:gd name="T15" fmla="*/ 58 h 110"/>
                <a:gd name="T16" fmla="*/ 12 w 148"/>
                <a:gd name="T17" fmla="*/ 49 h 110"/>
                <a:gd name="T18" fmla="*/ 75 w 148"/>
                <a:gd name="T19" fmla="*/ 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110">
                  <a:moveTo>
                    <a:pt x="75" y="1"/>
                  </a:moveTo>
                  <a:lnTo>
                    <a:pt x="133" y="0"/>
                  </a:lnTo>
                  <a:lnTo>
                    <a:pt x="148" y="48"/>
                  </a:lnTo>
                  <a:lnTo>
                    <a:pt x="146" y="49"/>
                  </a:lnTo>
                  <a:lnTo>
                    <a:pt x="147" y="49"/>
                  </a:lnTo>
                  <a:lnTo>
                    <a:pt x="51" y="105"/>
                  </a:lnTo>
                  <a:lnTo>
                    <a:pt x="5" y="110"/>
                  </a:lnTo>
                  <a:lnTo>
                    <a:pt x="0" y="58"/>
                  </a:lnTo>
                  <a:lnTo>
                    <a:pt x="12" y="49"/>
                  </a:lnTo>
                  <a:lnTo>
                    <a:pt x="75" y="1"/>
                  </a:ln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85" name="íṣḻïḍê"/>
            <p:cNvSpPr/>
            <p:nvPr/>
          </p:nvSpPr>
          <p:spPr bwMode="auto">
            <a:xfrm>
              <a:off x="8343900" y="4246563"/>
              <a:ext cx="468313" cy="1450975"/>
            </a:xfrm>
            <a:custGeom>
              <a:avLst/>
              <a:gdLst>
                <a:gd name="T0" fmla="*/ 0 w 295"/>
                <a:gd name="T1" fmla="*/ 64 h 914"/>
                <a:gd name="T2" fmla="*/ 86 w 295"/>
                <a:gd name="T3" fmla="*/ 911 h 914"/>
                <a:gd name="T4" fmla="*/ 141 w 295"/>
                <a:gd name="T5" fmla="*/ 914 h 914"/>
                <a:gd name="T6" fmla="*/ 198 w 295"/>
                <a:gd name="T7" fmla="*/ 456 h 914"/>
                <a:gd name="T8" fmla="*/ 295 w 295"/>
                <a:gd name="T9" fmla="*/ 0 h 914"/>
                <a:gd name="T10" fmla="*/ 0 w 295"/>
                <a:gd name="T11" fmla="*/ 64 h 914"/>
              </a:gdLst>
              <a:ahLst/>
              <a:cxnLst>
                <a:cxn ang="0">
                  <a:pos x="T0" y="T1"/>
                </a:cxn>
                <a:cxn ang="0">
                  <a:pos x="T2" y="T3"/>
                </a:cxn>
                <a:cxn ang="0">
                  <a:pos x="T4" y="T5"/>
                </a:cxn>
                <a:cxn ang="0">
                  <a:pos x="T6" y="T7"/>
                </a:cxn>
                <a:cxn ang="0">
                  <a:pos x="T8" y="T9"/>
                </a:cxn>
                <a:cxn ang="0">
                  <a:pos x="T10" y="T11"/>
                </a:cxn>
              </a:cxnLst>
              <a:rect l="0" t="0" r="r" b="b"/>
              <a:pathLst>
                <a:path w="295" h="914">
                  <a:moveTo>
                    <a:pt x="0" y="64"/>
                  </a:moveTo>
                  <a:lnTo>
                    <a:pt x="86" y="911"/>
                  </a:lnTo>
                  <a:lnTo>
                    <a:pt x="141" y="914"/>
                  </a:lnTo>
                  <a:lnTo>
                    <a:pt x="198" y="456"/>
                  </a:lnTo>
                  <a:lnTo>
                    <a:pt x="295" y="0"/>
                  </a:lnTo>
                  <a:lnTo>
                    <a:pt x="0" y="64"/>
                  </a:ln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86" name="iṡ1iḑé"/>
            <p:cNvSpPr/>
            <p:nvPr/>
          </p:nvSpPr>
          <p:spPr bwMode="auto">
            <a:xfrm>
              <a:off x="8361363" y="5724526"/>
              <a:ext cx="222250" cy="122238"/>
            </a:xfrm>
            <a:custGeom>
              <a:avLst/>
              <a:gdLst>
                <a:gd name="T0" fmla="*/ 75 w 140"/>
                <a:gd name="T1" fmla="*/ 0 h 77"/>
                <a:gd name="T2" fmla="*/ 0 w 140"/>
                <a:gd name="T3" fmla="*/ 42 h 77"/>
                <a:gd name="T4" fmla="*/ 7 w 140"/>
                <a:gd name="T5" fmla="*/ 77 h 77"/>
                <a:gd name="T6" fmla="*/ 140 w 140"/>
                <a:gd name="T7" fmla="*/ 56 h 77"/>
                <a:gd name="T8" fmla="*/ 133 w 140"/>
                <a:gd name="T9" fmla="*/ 7 h 77"/>
                <a:gd name="T10" fmla="*/ 75 w 140"/>
                <a:gd name="T11" fmla="*/ 0 h 77"/>
              </a:gdLst>
              <a:ahLst/>
              <a:cxnLst>
                <a:cxn ang="0">
                  <a:pos x="T0" y="T1"/>
                </a:cxn>
                <a:cxn ang="0">
                  <a:pos x="T2" y="T3"/>
                </a:cxn>
                <a:cxn ang="0">
                  <a:pos x="T4" y="T5"/>
                </a:cxn>
                <a:cxn ang="0">
                  <a:pos x="T6" y="T7"/>
                </a:cxn>
                <a:cxn ang="0">
                  <a:pos x="T8" y="T9"/>
                </a:cxn>
                <a:cxn ang="0">
                  <a:pos x="T10" y="T11"/>
                </a:cxn>
              </a:cxnLst>
              <a:rect l="0" t="0" r="r" b="b"/>
              <a:pathLst>
                <a:path w="140" h="77">
                  <a:moveTo>
                    <a:pt x="75" y="0"/>
                  </a:moveTo>
                  <a:lnTo>
                    <a:pt x="0" y="42"/>
                  </a:lnTo>
                  <a:lnTo>
                    <a:pt x="7" y="77"/>
                  </a:lnTo>
                  <a:lnTo>
                    <a:pt x="140" y="56"/>
                  </a:lnTo>
                  <a:lnTo>
                    <a:pt x="133" y="7"/>
                  </a:lnTo>
                  <a:lnTo>
                    <a:pt x="75" y="0"/>
                  </a:ln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87" name="îṩļïďe"/>
            <p:cNvSpPr/>
            <p:nvPr/>
          </p:nvSpPr>
          <p:spPr bwMode="auto">
            <a:xfrm>
              <a:off x="8105775" y="2927351"/>
              <a:ext cx="1346200" cy="1835150"/>
            </a:xfrm>
            <a:custGeom>
              <a:avLst/>
              <a:gdLst>
                <a:gd name="T0" fmla="*/ 15 w 705"/>
                <a:gd name="T1" fmla="*/ 921 h 961"/>
                <a:gd name="T2" fmla="*/ 0 w 705"/>
                <a:gd name="T3" fmla="*/ 874 h 961"/>
                <a:gd name="T4" fmla="*/ 14 w 705"/>
                <a:gd name="T5" fmla="*/ 773 h 961"/>
                <a:gd name="T6" fmla="*/ 52 w 705"/>
                <a:gd name="T7" fmla="*/ 557 h 961"/>
                <a:gd name="T8" fmla="*/ 137 w 705"/>
                <a:gd name="T9" fmla="*/ 212 h 961"/>
                <a:gd name="T10" fmla="*/ 158 w 705"/>
                <a:gd name="T11" fmla="*/ 156 h 961"/>
                <a:gd name="T12" fmla="*/ 171 w 705"/>
                <a:gd name="T13" fmla="*/ 135 h 961"/>
                <a:gd name="T14" fmla="*/ 291 w 705"/>
                <a:gd name="T15" fmla="*/ 12 h 961"/>
                <a:gd name="T16" fmla="*/ 295 w 705"/>
                <a:gd name="T17" fmla="*/ 11 h 961"/>
                <a:gd name="T18" fmla="*/ 458 w 705"/>
                <a:gd name="T19" fmla="*/ 30 h 961"/>
                <a:gd name="T20" fmla="*/ 482 w 705"/>
                <a:gd name="T21" fmla="*/ 47 h 961"/>
                <a:gd name="T22" fmla="*/ 533 w 705"/>
                <a:gd name="T23" fmla="*/ 103 h 961"/>
                <a:gd name="T24" fmla="*/ 548 w 705"/>
                <a:gd name="T25" fmla="*/ 179 h 961"/>
                <a:gd name="T26" fmla="*/ 571 w 705"/>
                <a:gd name="T27" fmla="*/ 333 h 961"/>
                <a:gd name="T28" fmla="*/ 613 w 705"/>
                <a:gd name="T29" fmla="*/ 621 h 961"/>
                <a:gd name="T30" fmla="*/ 632 w 705"/>
                <a:gd name="T31" fmla="*/ 770 h 961"/>
                <a:gd name="T32" fmla="*/ 698 w 705"/>
                <a:gd name="T33" fmla="*/ 898 h 961"/>
                <a:gd name="T34" fmla="*/ 584 w 705"/>
                <a:gd name="T35" fmla="*/ 950 h 961"/>
                <a:gd name="T36" fmla="*/ 440 w 705"/>
                <a:gd name="T37" fmla="*/ 958 h 961"/>
                <a:gd name="T38" fmla="*/ 126 w 705"/>
                <a:gd name="T39" fmla="*/ 949 h 961"/>
                <a:gd name="T40" fmla="*/ 18 w 705"/>
                <a:gd name="T41" fmla="*/ 922 h 961"/>
                <a:gd name="T42" fmla="*/ 15 w 705"/>
                <a:gd name="T43" fmla="*/ 921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05" h="961">
                  <a:moveTo>
                    <a:pt x="15" y="921"/>
                  </a:moveTo>
                  <a:cubicBezTo>
                    <a:pt x="0" y="910"/>
                    <a:pt x="0" y="892"/>
                    <a:pt x="0" y="874"/>
                  </a:cubicBezTo>
                  <a:cubicBezTo>
                    <a:pt x="0" y="841"/>
                    <a:pt x="6" y="806"/>
                    <a:pt x="14" y="773"/>
                  </a:cubicBezTo>
                  <a:cubicBezTo>
                    <a:pt x="28" y="711"/>
                    <a:pt x="45" y="637"/>
                    <a:pt x="52" y="557"/>
                  </a:cubicBezTo>
                  <a:cubicBezTo>
                    <a:pt x="71" y="351"/>
                    <a:pt x="137" y="212"/>
                    <a:pt x="137" y="212"/>
                  </a:cubicBezTo>
                  <a:cubicBezTo>
                    <a:pt x="158" y="156"/>
                    <a:pt x="158" y="156"/>
                    <a:pt x="158" y="156"/>
                  </a:cubicBezTo>
                  <a:cubicBezTo>
                    <a:pt x="162" y="149"/>
                    <a:pt x="166" y="142"/>
                    <a:pt x="171" y="135"/>
                  </a:cubicBezTo>
                  <a:cubicBezTo>
                    <a:pt x="197" y="93"/>
                    <a:pt x="243" y="23"/>
                    <a:pt x="291" y="12"/>
                  </a:cubicBezTo>
                  <a:cubicBezTo>
                    <a:pt x="292" y="12"/>
                    <a:pt x="294" y="11"/>
                    <a:pt x="295" y="11"/>
                  </a:cubicBezTo>
                  <a:cubicBezTo>
                    <a:pt x="346" y="0"/>
                    <a:pt x="412" y="5"/>
                    <a:pt x="458" y="30"/>
                  </a:cubicBezTo>
                  <a:cubicBezTo>
                    <a:pt x="467" y="35"/>
                    <a:pt x="475" y="41"/>
                    <a:pt x="482" y="47"/>
                  </a:cubicBezTo>
                  <a:cubicBezTo>
                    <a:pt x="505" y="66"/>
                    <a:pt x="524" y="75"/>
                    <a:pt x="533" y="103"/>
                  </a:cubicBezTo>
                  <a:cubicBezTo>
                    <a:pt x="542" y="128"/>
                    <a:pt x="544" y="154"/>
                    <a:pt x="548" y="179"/>
                  </a:cubicBezTo>
                  <a:cubicBezTo>
                    <a:pt x="558" y="230"/>
                    <a:pt x="564" y="282"/>
                    <a:pt x="571" y="333"/>
                  </a:cubicBezTo>
                  <a:cubicBezTo>
                    <a:pt x="585" y="429"/>
                    <a:pt x="598" y="525"/>
                    <a:pt x="613" y="621"/>
                  </a:cubicBezTo>
                  <a:cubicBezTo>
                    <a:pt x="621" y="671"/>
                    <a:pt x="628" y="720"/>
                    <a:pt x="632" y="770"/>
                  </a:cubicBezTo>
                  <a:cubicBezTo>
                    <a:pt x="635" y="814"/>
                    <a:pt x="675" y="859"/>
                    <a:pt x="698" y="898"/>
                  </a:cubicBezTo>
                  <a:cubicBezTo>
                    <a:pt x="705" y="912"/>
                    <a:pt x="594" y="948"/>
                    <a:pt x="584" y="950"/>
                  </a:cubicBezTo>
                  <a:cubicBezTo>
                    <a:pt x="537" y="961"/>
                    <a:pt x="488" y="958"/>
                    <a:pt x="440" y="958"/>
                  </a:cubicBezTo>
                  <a:cubicBezTo>
                    <a:pt x="335" y="959"/>
                    <a:pt x="231" y="956"/>
                    <a:pt x="126" y="949"/>
                  </a:cubicBezTo>
                  <a:cubicBezTo>
                    <a:pt x="91" y="946"/>
                    <a:pt x="49" y="940"/>
                    <a:pt x="18" y="922"/>
                  </a:cubicBezTo>
                  <a:cubicBezTo>
                    <a:pt x="17" y="922"/>
                    <a:pt x="16" y="921"/>
                    <a:pt x="15" y="921"/>
                  </a:cubicBezTo>
                  <a:close/>
                </a:path>
              </a:pathLst>
            </a:custGeom>
            <a:solidFill>
              <a:srgbClr val="474EBB"/>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88" name="ïṩľîḋé"/>
            <p:cNvSpPr/>
            <p:nvPr/>
          </p:nvSpPr>
          <p:spPr bwMode="auto">
            <a:xfrm>
              <a:off x="8334375" y="2906713"/>
              <a:ext cx="741363" cy="1863725"/>
            </a:xfrm>
            <a:custGeom>
              <a:avLst/>
              <a:gdLst>
                <a:gd name="T0" fmla="*/ 232 w 388"/>
                <a:gd name="T1" fmla="*/ 16 h 976"/>
                <a:gd name="T2" fmla="*/ 299 w 388"/>
                <a:gd name="T3" fmla="*/ 134 h 976"/>
                <a:gd name="T4" fmla="*/ 340 w 388"/>
                <a:gd name="T5" fmla="*/ 696 h 976"/>
                <a:gd name="T6" fmla="*/ 388 w 388"/>
                <a:gd name="T7" fmla="*/ 970 h 976"/>
                <a:gd name="T8" fmla="*/ 207 w 388"/>
                <a:gd name="T9" fmla="*/ 976 h 976"/>
                <a:gd name="T10" fmla="*/ 0 w 388"/>
                <a:gd name="T11" fmla="*/ 960 h 976"/>
                <a:gd name="T12" fmla="*/ 82 w 388"/>
                <a:gd name="T13" fmla="*/ 737 h 976"/>
                <a:gd name="T14" fmla="*/ 120 w 388"/>
                <a:gd name="T15" fmla="*/ 166 h 976"/>
                <a:gd name="T16" fmla="*/ 232 w 388"/>
                <a:gd name="T17" fmla="*/ 16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976">
                  <a:moveTo>
                    <a:pt x="232" y="16"/>
                  </a:moveTo>
                  <a:cubicBezTo>
                    <a:pt x="232" y="16"/>
                    <a:pt x="291" y="0"/>
                    <a:pt x="299" y="134"/>
                  </a:cubicBezTo>
                  <a:cubicBezTo>
                    <a:pt x="307" y="267"/>
                    <a:pt x="321" y="604"/>
                    <a:pt x="340" y="696"/>
                  </a:cubicBezTo>
                  <a:cubicBezTo>
                    <a:pt x="359" y="788"/>
                    <a:pt x="388" y="970"/>
                    <a:pt x="388" y="970"/>
                  </a:cubicBezTo>
                  <a:cubicBezTo>
                    <a:pt x="207" y="976"/>
                    <a:pt x="207" y="976"/>
                    <a:pt x="207" y="976"/>
                  </a:cubicBezTo>
                  <a:cubicBezTo>
                    <a:pt x="0" y="960"/>
                    <a:pt x="0" y="960"/>
                    <a:pt x="0" y="960"/>
                  </a:cubicBezTo>
                  <a:cubicBezTo>
                    <a:pt x="0" y="960"/>
                    <a:pt x="71" y="829"/>
                    <a:pt x="82" y="737"/>
                  </a:cubicBezTo>
                  <a:cubicBezTo>
                    <a:pt x="93" y="644"/>
                    <a:pt x="74" y="297"/>
                    <a:pt x="120" y="166"/>
                  </a:cubicBezTo>
                  <a:cubicBezTo>
                    <a:pt x="166" y="36"/>
                    <a:pt x="176" y="19"/>
                    <a:pt x="232" y="1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89" name="ïṩḷiḑé"/>
            <p:cNvSpPr/>
            <p:nvPr/>
          </p:nvSpPr>
          <p:spPr bwMode="auto">
            <a:xfrm>
              <a:off x="8088313" y="2949576"/>
              <a:ext cx="574675" cy="555625"/>
            </a:xfrm>
            <a:custGeom>
              <a:avLst/>
              <a:gdLst>
                <a:gd name="T0" fmla="*/ 113 w 362"/>
                <a:gd name="T1" fmla="*/ 350 h 350"/>
                <a:gd name="T2" fmla="*/ 0 w 362"/>
                <a:gd name="T3" fmla="*/ 331 h 350"/>
                <a:gd name="T4" fmla="*/ 0 w 362"/>
                <a:gd name="T5" fmla="*/ 234 h 350"/>
                <a:gd name="T6" fmla="*/ 273 w 362"/>
                <a:gd name="T7" fmla="*/ 26 h 350"/>
                <a:gd name="T8" fmla="*/ 362 w 362"/>
                <a:gd name="T9" fmla="*/ 0 h 350"/>
                <a:gd name="T10" fmla="*/ 319 w 362"/>
                <a:gd name="T11" fmla="*/ 114 h 350"/>
                <a:gd name="T12" fmla="*/ 113 w 362"/>
                <a:gd name="T13" fmla="*/ 350 h 350"/>
              </a:gdLst>
              <a:ahLst/>
              <a:cxnLst>
                <a:cxn ang="0">
                  <a:pos x="T0" y="T1"/>
                </a:cxn>
                <a:cxn ang="0">
                  <a:pos x="T2" y="T3"/>
                </a:cxn>
                <a:cxn ang="0">
                  <a:pos x="T4" y="T5"/>
                </a:cxn>
                <a:cxn ang="0">
                  <a:pos x="T6" y="T7"/>
                </a:cxn>
                <a:cxn ang="0">
                  <a:pos x="T8" y="T9"/>
                </a:cxn>
                <a:cxn ang="0">
                  <a:pos x="T10" y="T11"/>
                </a:cxn>
                <a:cxn ang="0">
                  <a:pos x="T12" y="T13"/>
                </a:cxn>
              </a:cxnLst>
              <a:rect l="0" t="0" r="r" b="b"/>
              <a:pathLst>
                <a:path w="362" h="350">
                  <a:moveTo>
                    <a:pt x="113" y="350"/>
                  </a:moveTo>
                  <a:lnTo>
                    <a:pt x="0" y="331"/>
                  </a:lnTo>
                  <a:lnTo>
                    <a:pt x="0" y="234"/>
                  </a:lnTo>
                  <a:lnTo>
                    <a:pt x="273" y="26"/>
                  </a:lnTo>
                  <a:lnTo>
                    <a:pt x="362" y="0"/>
                  </a:lnTo>
                  <a:lnTo>
                    <a:pt x="319" y="114"/>
                  </a:lnTo>
                  <a:lnTo>
                    <a:pt x="113" y="350"/>
                  </a:lnTo>
                  <a:close/>
                </a:path>
              </a:pathLst>
            </a:custGeom>
            <a:solidFill>
              <a:srgbClr val="474EBB"/>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90" name="íṥḻíďè"/>
            <p:cNvSpPr/>
            <p:nvPr/>
          </p:nvSpPr>
          <p:spPr bwMode="auto">
            <a:xfrm>
              <a:off x="8509000" y="2497138"/>
              <a:ext cx="227013" cy="490538"/>
            </a:xfrm>
            <a:custGeom>
              <a:avLst/>
              <a:gdLst>
                <a:gd name="T0" fmla="*/ 59 w 119"/>
                <a:gd name="T1" fmla="*/ 126 h 257"/>
                <a:gd name="T2" fmla="*/ 74 w 119"/>
                <a:gd name="T3" fmla="*/ 206 h 257"/>
                <a:gd name="T4" fmla="*/ 62 w 119"/>
                <a:gd name="T5" fmla="*/ 248 h 257"/>
                <a:gd name="T6" fmla="*/ 10 w 119"/>
                <a:gd name="T7" fmla="*/ 246 h 257"/>
                <a:gd name="T8" fmla="*/ 10 w 119"/>
                <a:gd name="T9" fmla="*/ 202 h 257"/>
                <a:gd name="T10" fmla="*/ 26 w 119"/>
                <a:gd name="T11" fmla="*/ 182 h 257"/>
                <a:gd name="T12" fmla="*/ 28 w 119"/>
                <a:gd name="T13" fmla="*/ 171 h 257"/>
                <a:gd name="T14" fmla="*/ 22 w 119"/>
                <a:gd name="T15" fmla="*/ 129 h 257"/>
                <a:gd name="T16" fmla="*/ 15 w 119"/>
                <a:gd name="T17" fmla="*/ 100 h 257"/>
                <a:gd name="T18" fmla="*/ 29 w 119"/>
                <a:gd name="T19" fmla="*/ 57 h 257"/>
                <a:gd name="T20" fmla="*/ 101 w 119"/>
                <a:gd name="T21" fmla="*/ 19 h 257"/>
                <a:gd name="T22" fmla="*/ 115 w 119"/>
                <a:gd name="T23" fmla="*/ 38 h 257"/>
                <a:gd name="T24" fmla="*/ 118 w 119"/>
                <a:gd name="T25" fmla="*/ 51 h 257"/>
                <a:gd name="T26" fmla="*/ 90 w 119"/>
                <a:gd name="T27" fmla="*/ 82 h 257"/>
                <a:gd name="T28" fmla="*/ 59 w 119"/>
                <a:gd name="T29" fmla="*/ 126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9" h="257">
                  <a:moveTo>
                    <a:pt x="59" y="126"/>
                  </a:moveTo>
                  <a:cubicBezTo>
                    <a:pt x="50" y="153"/>
                    <a:pt x="63" y="181"/>
                    <a:pt x="74" y="206"/>
                  </a:cubicBezTo>
                  <a:cubicBezTo>
                    <a:pt x="84" y="227"/>
                    <a:pt x="88" y="242"/>
                    <a:pt x="62" y="248"/>
                  </a:cubicBezTo>
                  <a:cubicBezTo>
                    <a:pt x="48" y="251"/>
                    <a:pt x="22" y="257"/>
                    <a:pt x="10" y="246"/>
                  </a:cubicBezTo>
                  <a:cubicBezTo>
                    <a:pt x="0" y="238"/>
                    <a:pt x="5" y="212"/>
                    <a:pt x="10" y="202"/>
                  </a:cubicBezTo>
                  <a:cubicBezTo>
                    <a:pt x="14" y="194"/>
                    <a:pt x="23" y="190"/>
                    <a:pt x="26" y="182"/>
                  </a:cubicBezTo>
                  <a:cubicBezTo>
                    <a:pt x="28" y="179"/>
                    <a:pt x="28" y="175"/>
                    <a:pt x="28" y="171"/>
                  </a:cubicBezTo>
                  <a:cubicBezTo>
                    <a:pt x="28" y="157"/>
                    <a:pt x="26" y="143"/>
                    <a:pt x="22" y="129"/>
                  </a:cubicBezTo>
                  <a:cubicBezTo>
                    <a:pt x="19" y="119"/>
                    <a:pt x="16" y="110"/>
                    <a:pt x="15" y="100"/>
                  </a:cubicBezTo>
                  <a:cubicBezTo>
                    <a:pt x="13" y="86"/>
                    <a:pt x="23" y="70"/>
                    <a:pt x="29" y="57"/>
                  </a:cubicBezTo>
                  <a:cubicBezTo>
                    <a:pt x="39" y="32"/>
                    <a:pt x="73" y="0"/>
                    <a:pt x="101" y="19"/>
                  </a:cubicBezTo>
                  <a:cubicBezTo>
                    <a:pt x="108" y="23"/>
                    <a:pt x="112" y="30"/>
                    <a:pt x="115" y="38"/>
                  </a:cubicBezTo>
                  <a:cubicBezTo>
                    <a:pt x="117" y="42"/>
                    <a:pt x="118" y="46"/>
                    <a:pt x="118" y="51"/>
                  </a:cubicBezTo>
                  <a:cubicBezTo>
                    <a:pt x="119" y="70"/>
                    <a:pt x="102" y="73"/>
                    <a:pt x="90" y="82"/>
                  </a:cubicBezTo>
                  <a:cubicBezTo>
                    <a:pt x="75" y="93"/>
                    <a:pt x="64" y="109"/>
                    <a:pt x="59" y="126"/>
                  </a:cubicBez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91" name="iSḷîḓe"/>
            <p:cNvSpPr/>
            <p:nvPr/>
          </p:nvSpPr>
          <p:spPr bwMode="auto">
            <a:xfrm>
              <a:off x="8604250" y="2536826"/>
              <a:ext cx="334963" cy="446088"/>
            </a:xfrm>
            <a:custGeom>
              <a:avLst/>
              <a:gdLst>
                <a:gd name="T0" fmla="*/ 151 w 175"/>
                <a:gd name="T1" fmla="*/ 70 h 234"/>
                <a:gd name="T2" fmla="*/ 2 w 175"/>
                <a:gd name="T3" fmla="*/ 84 h 234"/>
                <a:gd name="T4" fmla="*/ 10 w 175"/>
                <a:gd name="T5" fmla="*/ 159 h 234"/>
                <a:gd name="T6" fmla="*/ 63 w 175"/>
                <a:gd name="T7" fmla="*/ 210 h 234"/>
                <a:gd name="T8" fmla="*/ 64 w 175"/>
                <a:gd name="T9" fmla="*/ 210 h 234"/>
                <a:gd name="T10" fmla="*/ 64 w 175"/>
                <a:gd name="T11" fmla="*/ 229 h 234"/>
                <a:gd name="T12" fmla="*/ 66 w 175"/>
                <a:gd name="T13" fmla="*/ 233 h 234"/>
                <a:gd name="T14" fmla="*/ 70 w 175"/>
                <a:gd name="T15" fmla="*/ 234 h 234"/>
                <a:gd name="T16" fmla="*/ 94 w 175"/>
                <a:gd name="T17" fmla="*/ 233 h 234"/>
                <a:gd name="T18" fmla="*/ 105 w 175"/>
                <a:gd name="T19" fmla="*/ 231 h 234"/>
                <a:gd name="T20" fmla="*/ 113 w 175"/>
                <a:gd name="T21" fmla="*/ 209 h 234"/>
                <a:gd name="T22" fmla="*/ 112 w 175"/>
                <a:gd name="T23" fmla="*/ 203 h 234"/>
                <a:gd name="T24" fmla="*/ 151 w 175"/>
                <a:gd name="T25" fmla="*/ 7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234">
                  <a:moveTo>
                    <a:pt x="151" y="70"/>
                  </a:moveTo>
                  <a:cubicBezTo>
                    <a:pt x="116" y="5"/>
                    <a:pt x="11" y="0"/>
                    <a:pt x="2" y="84"/>
                  </a:cubicBezTo>
                  <a:cubicBezTo>
                    <a:pt x="0" y="109"/>
                    <a:pt x="0" y="135"/>
                    <a:pt x="10" y="159"/>
                  </a:cubicBezTo>
                  <a:cubicBezTo>
                    <a:pt x="19" y="183"/>
                    <a:pt x="38" y="204"/>
                    <a:pt x="63" y="210"/>
                  </a:cubicBezTo>
                  <a:cubicBezTo>
                    <a:pt x="64" y="210"/>
                    <a:pt x="64" y="210"/>
                    <a:pt x="64" y="210"/>
                  </a:cubicBezTo>
                  <a:cubicBezTo>
                    <a:pt x="64" y="216"/>
                    <a:pt x="64" y="223"/>
                    <a:pt x="64" y="229"/>
                  </a:cubicBezTo>
                  <a:cubicBezTo>
                    <a:pt x="64" y="231"/>
                    <a:pt x="65" y="232"/>
                    <a:pt x="66" y="233"/>
                  </a:cubicBezTo>
                  <a:cubicBezTo>
                    <a:pt x="67" y="234"/>
                    <a:pt x="68" y="234"/>
                    <a:pt x="70" y="234"/>
                  </a:cubicBezTo>
                  <a:cubicBezTo>
                    <a:pt x="78" y="234"/>
                    <a:pt x="86" y="234"/>
                    <a:pt x="94" y="233"/>
                  </a:cubicBezTo>
                  <a:cubicBezTo>
                    <a:pt x="97" y="233"/>
                    <a:pt x="101" y="233"/>
                    <a:pt x="105" y="231"/>
                  </a:cubicBezTo>
                  <a:cubicBezTo>
                    <a:pt x="112" y="227"/>
                    <a:pt x="114" y="217"/>
                    <a:pt x="113" y="209"/>
                  </a:cubicBezTo>
                  <a:cubicBezTo>
                    <a:pt x="112" y="207"/>
                    <a:pt x="112" y="205"/>
                    <a:pt x="112" y="203"/>
                  </a:cubicBezTo>
                  <a:cubicBezTo>
                    <a:pt x="154" y="179"/>
                    <a:pt x="175" y="112"/>
                    <a:pt x="151" y="70"/>
                  </a:cubicBezTo>
                  <a:close/>
                </a:path>
              </a:pathLst>
            </a:custGeom>
            <a:solidFill>
              <a:srgbClr val="EAC5B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92" name="i$ļidé"/>
            <p:cNvSpPr/>
            <p:nvPr/>
          </p:nvSpPr>
          <p:spPr bwMode="auto">
            <a:xfrm>
              <a:off x="8594725" y="2384426"/>
              <a:ext cx="531813" cy="582613"/>
            </a:xfrm>
            <a:custGeom>
              <a:avLst/>
              <a:gdLst>
                <a:gd name="T0" fmla="*/ 102 w 278"/>
                <a:gd name="T1" fmla="*/ 18 h 305"/>
                <a:gd name="T2" fmla="*/ 174 w 278"/>
                <a:gd name="T3" fmla="*/ 66 h 305"/>
                <a:gd name="T4" fmla="*/ 220 w 278"/>
                <a:gd name="T5" fmla="*/ 84 h 305"/>
                <a:gd name="T6" fmla="*/ 249 w 278"/>
                <a:gd name="T7" fmla="*/ 190 h 305"/>
                <a:gd name="T8" fmla="*/ 265 w 278"/>
                <a:gd name="T9" fmla="*/ 206 h 305"/>
                <a:gd name="T10" fmla="*/ 278 w 278"/>
                <a:gd name="T11" fmla="*/ 254 h 305"/>
                <a:gd name="T12" fmla="*/ 277 w 278"/>
                <a:gd name="T13" fmla="*/ 266 h 305"/>
                <a:gd name="T14" fmla="*/ 195 w 278"/>
                <a:gd name="T15" fmla="*/ 300 h 305"/>
                <a:gd name="T16" fmla="*/ 179 w 278"/>
                <a:gd name="T17" fmla="*/ 283 h 305"/>
                <a:gd name="T18" fmla="*/ 180 w 278"/>
                <a:gd name="T19" fmla="*/ 282 h 305"/>
                <a:gd name="T20" fmla="*/ 163 w 278"/>
                <a:gd name="T21" fmla="*/ 240 h 305"/>
                <a:gd name="T22" fmla="*/ 150 w 278"/>
                <a:gd name="T23" fmla="*/ 228 h 305"/>
                <a:gd name="T24" fmla="*/ 149 w 278"/>
                <a:gd name="T25" fmla="*/ 189 h 305"/>
                <a:gd name="T26" fmla="*/ 30 w 278"/>
                <a:gd name="T27" fmla="*/ 110 h 305"/>
                <a:gd name="T28" fmla="*/ 102 w 278"/>
                <a:gd name="T29" fmla="*/ 18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8" h="305">
                  <a:moveTo>
                    <a:pt x="102" y="18"/>
                  </a:moveTo>
                  <a:cubicBezTo>
                    <a:pt x="129" y="27"/>
                    <a:pt x="147" y="55"/>
                    <a:pt x="174" y="66"/>
                  </a:cubicBezTo>
                  <a:cubicBezTo>
                    <a:pt x="189" y="72"/>
                    <a:pt x="208" y="73"/>
                    <a:pt x="220" y="84"/>
                  </a:cubicBezTo>
                  <a:cubicBezTo>
                    <a:pt x="248" y="109"/>
                    <a:pt x="226" y="160"/>
                    <a:pt x="249" y="190"/>
                  </a:cubicBezTo>
                  <a:cubicBezTo>
                    <a:pt x="254" y="196"/>
                    <a:pt x="260" y="200"/>
                    <a:pt x="265" y="206"/>
                  </a:cubicBezTo>
                  <a:cubicBezTo>
                    <a:pt x="275" y="220"/>
                    <a:pt x="277" y="237"/>
                    <a:pt x="278" y="254"/>
                  </a:cubicBezTo>
                  <a:cubicBezTo>
                    <a:pt x="278" y="258"/>
                    <a:pt x="278" y="262"/>
                    <a:pt x="277" y="266"/>
                  </a:cubicBezTo>
                  <a:cubicBezTo>
                    <a:pt x="274" y="305"/>
                    <a:pt x="218" y="302"/>
                    <a:pt x="195" y="300"/>
                  </a:cubicBezTo>
                  <a:cubicBezTo>
                    <a:pt x="171" y="297"/>
                    <a:pt x="179" y="283"/>
                    <a:pt x="179" y="283"/>
                  </a:cubicBezTo>
                  <a:cubicBezTo>
                    <a:pt x="180" y="282"/>
                    <a:pt x="180" y="282"/>
                    <a:pt x="180" y="282"/>
                  </a:cubicBezTo>
                  <a:cubicBezTo>
                    <a:pt x="182" y="266"/>
                    <a:pt x="176" y="250"/>
                    <a:pt x="163" y="240"/>
                  </a:cubicBezTo>
                  <a:cubicBezTo>
                    <a:pt x="159" y="236"/>
                    <a:pt x="153" y="233"/>
                    <a:pt x="150" y="228"/>
                  </a:cubicBezTo>
                  <a:cubicBezTo>
                    <a:pt x="143" y="217"/>
                    <a:pt x="150" y="202"/>
                    <a:pt x="149" y="189"/>
                  </a:cubicBezTo>
                  <a:cubicBezTo>
                    <a:pt x="145" y="136"/>
                    <a:pt x="56" y="148"/>
                    <a:pt x="30" y="110"/>
                  </a:cubicBezTo>
                  <a:cubicBezTo>
                    <a:pt x="0" y="64"/>
                    <a:pt x="50" y="0"/>
                    <a:pt x="102" y="18"/>
                  </a:cubicBezTo>
                  <a:close/>
                </a:path>
              </a:pathLst>
            </a:custGeom>
            <a:solidFill>
              <a:srgbClr val="292949"/>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93" name="íşlïḍé"/>
            <p:cNvSpPr/>
            <p:nvPr/>
          </p:nvSpPr>
          <p:spPr bwMode="auto">
            <a:xfrm>
              <a:off x="8412163" y="3443288"/>
              <a:ext cx="155575" cy="85725"/>
            </a:xfrm>
            <a:custGeom>
              <a:avLst/>
              <a:gdLst>
                <a:gd name="T0" fmla="*/ 34 w 98"/>
                <a:gd name="T1" fmla="*/ 54 h 54"/>
                <a:gd name="T2" fmla="*/ 98 w 98"/>
                <a:gd name="T3" fmla="*/ 45 h 54"/>
                <a:gd name="T4" fmla="*/ 95 w 98"/>
                <a:gd name="T5" fmla="*/ 17 h 54"/>
                <a:gd name="T6" fmla="*/ 50 w 98"/>
                <a:gd name="T7" fmla="*/ 14 h 54"/>
                <a:gd name="T8" fmla="*/ 54 w 98"/>
                <a:gd name="T9" fmla="*/ 0 h 54"/>
                <a:gd name="T10" fmla="*/ 1 w 98"/>
                <a:gd name="T11" fmla="*/ 16 h 54"/>
                <a:gd name="T12" fmla="*/ 0 w 98"/>
                <a:gd name="T13" fmla="*/ 46 h 54"/>
                <a:gd name="T14" fmla="*/ 34 w 98"/>
                <a:gd name="T15" fmla="*/ 5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54">
                  <a:moveTo>
                    <a:pt x="34" y="54"/>
                  </a:moveTo>
                  <a:lnTo>
                    <a:pt x="98" y="45"/>
                  </a:lnTo>
                  <a:lnTo>
                    <a:pt x="95" y="17"/>
                  </a:lnTo>
                  <a:lnTo>
                    <a:pt x="50" y="14"/>
                  </a:lnTo>
                  <a:lnTo>
                    <a:pt x="54" y="0"/>
                  </a:lnTo>
                  <a:lnTo>
                    <a:pt x="1" y="16"/>
                  </a:lnTo>
                  <a:lnTo>
                    <a:pt x="0" y="46"/>
                  </a:lnTo>
                  <a:lnTo>
                    <a:pt x="34" y="54"/>
                  </a:lnTo>
                  <a:close/>
                </a:path>
              </a:pathLst>
            </a:custGeom>
            <a:solidFill>
              <a:srgbClr val="EAC5B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94" name="iṧľíďe"/>
            <p:cNvSpPr/>
            <p:nvPr/>
          </p:nvSpPr>
          <p:spPr bwMode="auto">
            <a:xfrm>
              <a:off x="8088313" y="3365501"/>
              <a:ext cx="349250" cy="177800"/>
            </a:xfrm>
            <a:custGeom>
              <a:avLst/>
              <a:gdLst>
                <a:gd name="T0" fmla="*/ 64 w 220"/>
                <a:gd name="T1" fmla="*/ 0 h 112"/>
                <a:gd name="T2" fmla="*/ 64 w 220"/>
                <a:gd name="T3" fmla="*/ 6 h 112"/>
                <a:gd name="T4" fmla="*/ 220 w 220"/>
                <a:gd name="T5" fmla="*/ 54 h 112"/>
                <a:gd name="T6" fmla="*/ 217 w 220"/>
                <a:gd name="T7" fmla="*/ 112 h 112"/>
                <a:gd name="T8" fmla="*/ 0 w 220"/>
                <a:gd name="T9" fmla="*/ 56 h 112"/>
                <a:gd name="T10" fmla="*/ 64 w 220"/>
                <a:gd name="T11" fmla="*/ 0 h 112"/>
              </a:gdLst>
              <a:ahLst/>
              <a:cxnLst>
                <a:cxn ang="0">
                  <a:pos x="T0" y="T1"/>
                </a:cxn>
                <a:cxn ang="0">
                  <a:pos x="T2" y="T3"/>
                </a:cxn>
                <a:cxn ang="0">
                  <a:pos x="T4" y="T5"/>
                </a:cxn>
                <a:cxn ang="0">
                  <a:pos x="T6" y="T7"/>
                </a:cxn>
                <a:cxn ang="0">
                  <a:pos x="T8" y="T9"/>
                </a:cxn>
                <a:cxn ang="0">
                  <a:pos x="T10" y="T11"/>
                </a:cxn>
              </a:cxnLst>
              <a:rect l="0" t="0" r="r" b="b"/>
              <a:pathLst>
                <a:path w="220" h="112">
                  <a:moveTo>
                    <a:pt x="64" y="0"/>
                  </a:moveTo>
                  <a:lnTo>
                    <a:pt x="64" y="6"/>
                  </a:lnTo>
                  <a:lnTo>
                    <a:pt x="220" y="54"/>
                  </a:lnTo>
                  <a:lnTo>
                    <a:pt x="217" y="112"/>
                  </a:lnTo>
                  <a:lnTo>
                    <a:pt x="0" y="56"/>
                  </a:lnTo>
                  <a:lnTo>
                    <a:pt x="64" y="0"/>
                  </a:lnTo>
                  <a:close/>
                </a:path>
              </a:pathLst>
            </a:custGeom>
            <a:solidFill>
              <a:srgbClr val="474EBB"/>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95" name="íşḻîḓe"/>
            <p:cNvSpPr/>
            <p:nvPr/>
          </p:nvSpPr>
          <p:spPr bwMode="auto">
            <a:xfrm>
              <a:off x="5154613" y="1184276"/>
              <a:ext cx="434975" cy="434975"/>
            </a:xfrm>
            <a:prstGeom prst="ellipse">
              <a:avLst/>
            </a:prstGeom>
            <a:solidFill>
              <a:srgbClr val="3B3387"/>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96" name="îśļiḑê"/>
            <p:cNvSpPr/>
            <p:nvPr/>
          </p:nvSpPr>
          <p:spPr bwMode="auto">
            <a:xfrm>
              <a:off x="7324725" y="1624013"/>
              <a:ext cx="300038" cy="300038"/>
            </a:xfrm>
            <a:prstGeom prst="ellipse">
              <a:avLst/>
            </a:prstGeom>
            <a:solidFill>
              <a:srgbClr val="8CAB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97" name="ísḷiḍê"/>
            <p:cNvSpPr/>
            <p:nvPr/>
          </p:nvSpPr>
          <p:spPr bwMode="auto">
            <a:xfrm>
              <a:off x="5700713" y="2239963"/>
              <a:ext cx="223838" cy="222250"/>
            </a:xfrm>
            <a:prstGeom prst="ellipse">
              <a:avLst/>
            </a:prstGeom>
            <a:solidFill>
              <a:srgbClr val="D67086"/>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98" name="iŝľïďé"/>
            <p:cNvSpPr/>
            <p:nvPr/>
          </p:nvSpPr>
          <p:spPr bwMode="auto">
            <a:xfrm>
              <a:off x="5514975" y="3094038"/>
              <a:ext cx="512763" cy="215900"/>
            </a:xfrm>
            <a:prstGeom prst="rect">
              <a:avLst/>
            </a:prstGeom>
            <a:solidFill>
              <a:srgbClr val="2A2E6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399" name="iṩ1iḋe"/>
            <p:cNvSpPr/>
            <p:nvPr/>
          </p:nvSpPr>
          <p:spPr bwMode="auto">
            <a:xfrm>
              <a:off x="7993063" y="3632201"/>
              <a:ext cx="855663" cy="511175"/>
            </a:xfrm>
            <a:custGeom>
              <a:avLst/>
              <a:gdLst>
                <a:gd name="T0" fmla="*/ 539 w 539"/>
                <a:gd name="T1" fmla="*/ 216 h 322"/>
                <a:gd name="T2" fmla="*/ 492 w 539"/>
                <a:gd name="T3" fmla="*/ 322 h 322"/>
                <a:gd name="T4" fmla="*/ 0 w 539"/>
                <a:gd name="T5" fmla="*/ 105 h 322"/>
                <a:gd name="T6" fmla="*/ 46 w 539"/>
                <a:gd name="T7" fmla="*/ 0 h 322"/>
                <a:gd name="T8" fmla="*/ 539 w 539"/>
                <a:gd name="T9" fmla="*/ 216 h 322"/>
              </a:gdLst>
              <a:ahLst/>
              <a:cxnLst>
                <a:cxn ang="0">
                  <a:pos x="T0" y="T1"/>
                </a:cxn>
                <a:cxn ang="0">
                  <a:pos x="T2" y="T3"/>
                </a:cxn>
                <a:cxn ang="0">
                  <a:pos x="T4" y="T5"/>
                </a:cxn>
                <a:cxn ang="0">
                  <a:pos x="T6" y="T7"/>
                </a:cxn>
                <a:cxn ang="0">
                  <a:pos x="T8" y="T9"/>
                </a:cxn>
              </a:cxnLst>
              <a:rect l="0" t="0" r="r" b="b"/>
              <a:pathLst>
                <a:path w="539" h="322">
                  <a:moveTo>
                    <a:pt x="539" y="216"/>
                  </a:moveTo>
                  <a:lnTo>
                    <a:pt x="492" y="322"/>
                  </a:lnTo>
                  <a:lnTo>
                    <a:pt x="0" y="105"/>
                  </a:lnTo>
                  <a:lnTo>
                    <a:pt x="46" y="0"/>
                  </a:lnTo>
                  <a:lnTo>
                    <a:pt x="539" y="216"/>
                  </a:lnTo>
                  <a:close/>
                </a:path>
              </a:pathLst>
            </a:custGeom>
            <a:solidFill>
              <a:srgbClr val="2E466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400" name="iş1îḍé"/>
            <p:cNvSpPr/>
            <p:nvPr/>
          </p:nvSpPr>
          <p:spPr bwMode="auto">
            <a:xfrm>
              <a:off x="8499475" y="3841751"/>
              <a:ext cx="590550" cy="412750"/>
            </a:xfrm>
            <a:custGeom>
              <a:avLst/>
              <a:gdLst>
                <a:gd name="T0" fmla="*/ 296 w 309"/>
                <a:gd name="T1" fmla="*/ 172 h 216"/>
                <a:gd name="T2" fmla="*/ 296 w 309"/>
                <a:gd name="T3" fmla="*/ 173 h 216"/>
                <a:gd name="T4" fmla="*/ 237 w 309"/>
                <a:gd name="T5" fmla="*/ 207 h 216"/>
                <a:gd name="T6" fmla="*/ 0 w 309"/>
                <a:gd name="T7" fmla="*/ 105 h 216"/>
                <a:gd name="T8" fmla="*/ 44 w 309"/>
                <a:gd name="T9" fmla="*/ 0 h 216"/>
                <a:gd name="T10" fmla="*/ 281 w 309"/>
                <a:gd name="T11" fmla="*/ 106 h 216"/>
                <a:gd name="T12" fmla="*/ 296 w 309"/>
                <a:gd name="T13" fmla="*/ 172 h 216"/>
              </a:gdLst>
              <a:ahLst/>
              <a:cxnLst>
                <a:cxn ang="0">
                  <a:pos x="T0" y="T1"/>
                </a:cxn>
                <a:cxn ang="0">
                  <a:pos x="T2" y="T3"/>
                </a:cxn>
                <a:cxn ang="0">
                  <a:pos x="T4" y="T5"/>
                </a:cxn>
                <a:cxn ang="0">
                  <a:pos x="T6" y="T7"/>
                </a:cxn>
                <a:cxn ang="0">
                  <a:pos x="T8" y="T9"/>
                </a:cxn>
                <a:cxn ang="0">
                  <a:pos x="T10" y="T11"/>
                </a:cxn>
                <a:cxn ang="0">
                  <a:pos x="T12" y="T13"/>
                </a:cxn>
              </a:cxnLst>
              <a:rect l="0" t="0" r="r" b="b"/>
              <a:pathLst>
                <a:path w="309" h="216">
                  <a:moveTo>
                    <a:pt x="296" y="172"/>
                  </a:moveTo>
                  <a:cubicBezTo>
                    <a:pt x="296" y="173"/>
                    <a:pt x="296" y="173"/>
                    <a:pt x="296" y="173"/>
                  </a:cubicBezTo>
                  <a:cubicBezTo>
                    <a:pt x="284" y="201"/>
                    <a:pt x="257" y="216"/>
                    <a:pt x="237" y="207"/>
                  </a:cubicBezTo>
                  <a:cubicBezTo>
                    <a:pt x="0" y="105"/>
                    <a:pt x="0" y="105"/>
                    <a:pt x="0" y="105"/>
                  </a:cubicBezTo>
                  <a:cubicBezTo>
                    <a:pt x="44" y="0"/>
                    <a:pt x="44" y="0"/>
                    <a:pt x="44" y="0"/>
                  </a:cubicBezTo>
                  <a:cubicBezTo>
                    <a:pt x="281" y="106"/>
                    <a:pt x="281" y="106"/>
                    <a:pt x="281" y="106"/>
                  </a:cubicBezTo>
                  <a:cubicBezTo>
                    <a:pt x="302" y="115"/>
                    <a:pt x="309" y="145"/>
                    <a:pt x="296" y="172"/>
                  </a:cubicBezTo>
                  <a:close/>
                </a:path>
              </a:pathLst>
            </a:custGeom>
            <a:solidFill>
              <a:srgbClr val="2E466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401" name="íṣľíḍê"/>
            <p:cNvSpPr/>
            <p:nvPr/>
          </p:nvSpPr>
          <p:spPr bwMode="auto">
            <a:xfrm>
              <a:off x="7154863" y="2968626"/>
              <a:ext cx="1244600" cy="1249363"/>
            </a:xfrm>
            <a:custGeom>
              <a:avLst/>
              <a:gdLst>
                <a:gd name="T0" fmla="*/ 443 w 652"/>
                <a:gd name="T1" fmla="*/ 64 h 655"/>
                <a:gd name="T2" fmla="*/ 588 w 652"/>
                <a:gd name="T3" fmla="*/ 443 h 655"/>
                <a:gd name="T4" fmla="*/ 210 w 652"/>
                <a:gd name="T5" fmla="*/ 592 h 655"/>
                <a:gd name="T6" fmla="*/ 64 w 652"/>
                <a:gd name="T7" fmla="*/ 212 h 655"/>
                <a:gd name="T8" fmla="*/ 443 w 652"/>
                <a:gd name="T9" fmla="*/ 64 h 655"/>
              </a:gdLst>
              <a:ahLst/>
              <a:cxnLst>
                <a:cxn ang="0">
                  <a:pos x="T0" y="T1"/>
                </a:cxn>
                <a:cxn ang="0">
                  <a:pos x="T2" y="T3"/>
                </a:cxn>
                <a:cxn ang="0">
                  <a:pos x="T4" y="T5"/>
                </a:cxn>
                <a:cxn ang="0">
                  <a:pos x="T6" y="T7"/>
                </a:cxn>
                <a:cxn ang="0">
                  <a:pos x="T8" y="T9"/>
                </a:cxn>
              </a:cxnLst>
              <a:rect l="0" t="0" r="r" b="b"/>
              <a:pathLst>
                <a:path w="652" h="655">
                  <a:moveTo>
                    <a:pt x="443" y="64"/>
                  </a:moveTo>
                  <a:cubicBezTo>
                    <a:pt x="587" y="128"/>
                    <a:pt x="652" y="298"/>
                    <a:pt x="588" y="443"/>
                  </a:cubicBezTo>
                  <a:cubicBezTo>
                    <a:pt x="524" y="589"/>
                    <a:pt x="354" y="655"/>
                    <a:pt x="210" y="592"/>
                  </a:cubicBezTo>
                  <a:cubicBezTo>
                    <a:pt x="65" y="528"/>
                    <a:pt x="0" y="358"/>
                    <a:pt x="64" y="212"/>
                  </a:cubicBezTo>
                  <a:cubicBezTo>
                    <a:pt x="129" y="66"/>
                    <a:pt x="298" y="0"/>
                    <a:pt x="443" y="64"/>
                  </a:cubicBezTo>
                  <a:close/>
                </a:path>
              </a:pathLst>
            </a:custGeom>
            <a:solidFill>
              <a:srgbClr val="2E466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402" name="i$ľíḑè"/>
            <p:cNvSpPr/>
            <p:nvPr/>
          </p:nvSpPr>
          <p:spPr bwMode="auto">
            <a:xfrm>
              <a:off x="7242175" y="3055938"/>
              <a:ext cx="1071563" cy="1076325"/>
            </a:xfrm>
            <a:custGeom>
              <a:avLst/>
              <a:gdLst>
                <a:gd name="T0" fmla="*/ 380 w 561"/>
                <a:gd name="T1" fmla="*/ 55 h 564"/>
                <a:gd name="T2" fmla="*/ 506 w 561"/>
                <a:gd name="T3" fmla="*/ 381 h 564"/>
                <a:gd name="T4" fmla="*/ 180 w 561"/>
                <a:gd name="T5" fmla="*/ 509 h 564"/>
                <a:gd name="T6" fmla="*/ 55 w 561"/>
                <a:gd name="T7" fmla="*/ 182 h 564"/>
                <a:gd name="T8" fmla="*/ 380 w 561"/>
                <a:gd name="T9" fmla="*/ 55 h 564"/>
              </a:gdLst>
              <a:ahLst/>
              <a:cxnLst>
                <a:cxn ang="0">
                  <a:pos x="T0" y="T1"/>
                </a:cxn>
                <a:cxn ang="0">
                  <a:pos x="T2" y="T3"/>
                </a:cxn>
                <a:cxn ang="0">
                  <a:pos x="T4" y="T5"/>
                </a:cxn>
                <a:cxn ang="0">
                  <a:pos x="T6" y="T7"/>
                </a:cxn>
                <a:cxn ang="0">
                  <a:pos x="T8" y="T9"/>
                </a:cxn>
              </a:cxnLst>
              <a:rect l="0" t="0" r="r" b="b"/>
              <a:pathLst>
                <a:path w="561" h="564">
                  <a:moveTo>
                    <a:pt x="380" y="55"/>
                  </a:moveTo>
                  <a:cubicBezTo>
                    <a:pt x="505" y="110"/>
                    <a:pt x="561" y="256"/>
                    <a:pt x="506" y="381"/>
                  </a:cubicBezTo>
                  <a:cubicBezTo>
                    <a:pt x="450" y="506"/>
                    <a:pt x="304" y="564"/>
                    <a:pt x="180" y="509"/>
                  </a:cubicBezTo>
                  <a:cubicBezTo>
                    <a:pt x="56" y="454"/>
                    <a:pt x="0" y="308"/>
                    <a:pt x="55" y="182"/>
                  </a:cubicBezTo>
                  <a:cubicBezTo>
                    <a:pt x="110" y="57"/>
                    <a:pt x="256" y="0"/>
                    <a:pt x="380" y="55"/>
                  </a:cubicBezTo>
                  <a:close/>
                </a:path>
              </a:pathLst>
            </a:custGeom>
            <a:solidFill>
              <a:srgbClr val="8CABEF"/>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403" name="ïşľîḋe"/>
            <p:cNvSpPr/>
            <p:nvPr/>
          </p:nvSpPr>
          <p:spPr bwMode="auto">
            <a:xfrm>
              <a:off x="8475663" y="3822701"/>
              <a:ext cx="111125" cy="223838"/>
            </a:xfrm>
            <a:custGeom>
              <a:avLst/>
              <a:gdLst>
                <a:gd name="T0" fmla="*/ 15 w 58"/>
                <a:gd name="T1" fmla="*/ 111 h 117"/>
                <a:gd name="T2" fmla="*/ 56 w 58"/>
                <a:gd name="T3" fmla="*/ 11 h 117"/>
                <a:gd name="T4" fmla="*/ 53 w 58"/>
                <a:gd name="T5" fmla="*/ 2 h 117"/>
                <a:gd name="T6" fmla="*/ 52 w 58"/>
                <a:gd name="T7" fmla="*/ 2 h 117"/>
                <a:gd name="T8" fmla="*/ 42 w 58"/>
                <a:gd name="T9" fmla="*/ 5 h 117"/>
                <a:gd name="T10" fmla="*/ 1 w 58"/>
                <a:gd name="T11" fmla="*/ 106 h 117"/>
                <a:gd name="T12" fmla="*/ 5 w 58"/>
                <a:gd name="T13" fmla="*/ 115 h 117"/>
                <a:gd name="T14" fmla="*/ 6 w 58"/>
                <a:gd name="T15" fmla="*/ 115 h 117"/>
                <a:gd name="T16" fmla="*/ 15 w 58"/>
                <a:gd name="T17" fmla="*/ 11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17">
                  <a:moveTo>
                    <a:pt x="15" y="111"/>
                  </a:moveTo>
                  <a:cubicBezTo>
                    <a:pt x="56" y="11"/>
                    <a:pt x="56" y="11"/>
                    <a:pt x="56" y="11"/>
                  </a:cubicBezTo>
                  <a:cubicBezTo>
                    <a:pt x="58" y="8"/>
                    <a:pt x="56" y="4"/>
                    <a:pt x="53" y="2"/>
                  </a:cubicBezTo>
                  <a:cubicBezTo>
                    <a:pt x="52" y="2"/>
                    <a:pt x="52" y="2"/>
                    <a:pt x="52" y="2"/>
                  </a:cubicBezTo>
                  <a:cubicBezTo>
                    <a:pt x="48" y="0"/>
                    <a:pt x="44" y="1"/>
                    <a:pt x="42" y="5"/>
                  </a:cubicBezTo>
                  <a:cubicBezTo>
                    <a:pt x="1" y="106"/>
                    <a:pt x="1" y="106"/>
                    <a:pt x="1" y="106"/>
                  </a:cubicBezTo>
                  <a:cubicBezTo>
                    <a:pt x="0" y="109"/>
                    <a:pt x="2" y="114"/>
                    <a:pt x="5" y="115"/>
                  </a:cubicBezTo>
                  <a:cubicBezTo>
                    <a:pt x="6" y="115"/>
                    <a:pt x="6" y="115"/>
                    <a:pt x="6" y="115"/>
                  </a:cubicBezTo>
                  <a:cubicBezTo>
                    <a:pt x="9" y="117"/>
                    <a:pt x="13" y="115"/>
                    <a:pt x="15" y="111"/>
                  </a:cubicBezTo>
                  <a:close/>
                </a:path>
              </a:pathLst>
            </a:custGeom>
            <a:solidFill>
              <a:srgbClr val="F7F7F7"/>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404" name="îṡ1íḍè"/>
            <p:cNvSpPr/>
            <p:nvPr/>
          </p:nvSpPr>
          <p:spPr bwMode="auto">
            <a:xfrm>
              <a:off x="7267575" y="3097213"/>
              <a:ext cx="1008063" cy="1006475"/>
            </a:xfrm>
            <a:custGeom>
              <a:avLst/>
              <a:gdLst>
                <a:gd name="T0" fmla="*/ 506 w 528"/>
                <a:gd name="T1" fmla="*/ 226 h 527"/>
                <a:gd name="T2" fmla="*/ 468 w 528"/>
                <a:gd name="T3" fmla="*/ 396 h 527"/>
                <a:gd name="T4" fmla="*/ 330 w 528"/>
                <a:gd name="T5" fmla="*/ 498 h 527"/>
                <a:gd name="T6" fmla="*/ 157 w 528"/>
                <a:gd name="T7" fmla="*/ 483 h 527"/>
                <a:gd name="T8" fmla="*/ 40 w 528"/>
                <a:gd name="T9" fmla="*/ 360 h 527"/>
                <a:gd name="T10" fmla="*/ 33 w 528"/>
                <a:gd name="T11" fmla="*/ 184 h 527"/>
                <a:gd name="T12" fmla="*/ 139 w 528"/>
                <a:gd name="T13" fmla="*/ 52 h 527"/>
                <a:gd name="T14" fmla="*/ 312 w 528"/>
                <a:gd name="T15" fmla="*/ 21 h 527"/>
                <a:gd name="T16" fmla="*/ 456 w 528"/>
                <a:gd name="T17" fmla="*/ 110 h 527"/>
                <a:gd name="T18" fmla="*/ 506 w 528"/>
                <a:gd name="T19" fmla="*/ 226 h 527"/>
                <a:gd name="T20" fmla="*/ 519 w 528"/>
                <a:gd name="T21" fmla="*/ 225 h 527"/>
                <a:gd name="T22" fmla="*/ 439 w 528"/>
                <a:gd name="T23" fmla="*/ 71 h 527"/>
                <a:gd name="T24" fmla="*/ 282 w 528"/>
                <a:gd name="T25" fmla="*/ 4 h 527"/>
                <a:gd name="T26" fmla="*/ 114 w 528"/>
                <a:gd name="T27" fmla="*/ 53 h 527"/>
                <a:gd name="T28" fmla="*/ 17 w 528"/>
                <a:gd name="T29" fmla="*/ 193 h 527"/>
                <a:gd name="T30" fmla="*/ 29 w 528"/>
                <a:gd name="T31" fmla="*/ 369 h 527"/>
                <a:gd name="T32" fmla="*/ 146 w 528"/>
                <a:gd name="T33" fmla="*/ 492 h 527"/>
                <a:gd name="T34" fmla="*/ 318 w 528"/>
                <a:gd name="T35" fmla="*/ 514 h 527"/>
                <a:gd name="T36" fmla="*/ 464 w 528"/>
                <a:gd name="T37" fmla="*/ 423 h 527"/>
                <a:gd name="T38" fmla="*/ 519 w 528"/>
                <a:gd name="T39" fmla="*/ 225 h 527"/>
                <a:gd name="T40" fmla="*/ 506 w 528"/>
                <a:gd name="T41" fmla="*/ 226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8" h="527">
                  <a:moveTo>
                    <a:pt x="506" y="226"/>
                  </a:moveTo>
                  <a:cubicBezTo>
                    <a:pt x="514" y="285"/>
                    <a:pt x="500" y="346"/>
                    <a:pt x="468" y="396"/>
                  </a:cubicBezTo>
                  <a:cubicBezTo>
                    <a:pt x="436" y="445"/>
                    <a:pt x="386" y="481"/>
                    <a:pt x="330" y="498"/>
                  </a:cubicBezTo>
                  <a:cubicBezTo>
                    <a:pt x="273" y="515"/>
                    <a:pt x="210" y="509"/>
                    <a:pt x="157" y="483"/>
                  </a:cubicBezTo>
                  <a:cubicBezTo>
                    <a:pt x="105" y="458"/>
                    <a:pt x="63" y="413"/>
                    <a:pt x="40" y="360"/>
                  </a:cubicBezTo>
                  <a:cubicBezTo>
                    <a:pt x="16" y="305"/>
                    <a:pt x="14" y="241"/>
                    <a:pt x="33" y="184"/>
                  </a:cubicBezTo>
                  <a:cubicBezTo>
                    <a:pt x="51" y="129"/>
                    <a:pt x="90" y="82"/>
                    <a:pt x="139" y="52"/>
                  </a:cubicBezTo>
                  <a:cubicBezTo>
                    <a:pt x="191" y="21"/>
                    <a:pt x="253" y="10"/>
                    <a:pt x="312" y="21"/>
                  </a:cubicBezTo>
                  <a:cubicBezTo>
                    <a:pt x="369" y="32"/>
                    <a:pt x="420" y="65"/>
                    <a:pt x="456" y="110"/>
                  </a:cubicBezTo>
                  <a:cubicBezTo>
                    <a:pt x="483" y="143"/>
                    <a:pt x="500" y="184"/>
                    <a:pt x="506" y="226"/>
                  </a:cubicBezTo>
                  <a:cubicBezTo>
                    <a:pt x="507" y="235"/>
                    <a:pt x="520" y="233"/>
                    <a:pt x="519" y="225"/>
                  </a:cubicBezTo>
                  <a:cubicBezTo>
                    <a:pt x="510" y="166"/>
                    <a:pt x="482" y="112"/>
                    <a:pt x="439" y="71"/>
                  </a:cubicBezTo>
                  <a:cubicBezTo>
                    <a:pt x="396" y="32"/>
                    <a:pt x="340" y="8"/>
                    <a:pt x="282" y="4"/>
                  </a:cubicBezTo>
                  <a:cubicBezTo>
                    <a:pt x="223" y="0"/>
                    <a:pt x="162" y="18"/>
                    <a:pt x="114" y="53"/>
                  </a:cubicBezTo>
                  <a:cubicBezTo>
                    <a:pt x="67" y="87"/>
                    <a:pt x="32" y="137"/>
                    <a:pt x="17" y="193"/>
                  </a:cubicBezTo>
                  <a:cubicBezTo>
                    <a:pt x="0" y="251"/>
                    <a:pt x="5" y="314"/>
                    <a:pt x="29" y="369"/>
                  </a:cubicBezTo>
                  <a:cubicBezTo>
                    <a:pt x="53" y="422"/>
                    <a:pt x="94" y="465"/>
                    <a:pt x="146" y="492"/>
                  </a:cubicBezTo>
                  <a:cubicBezTo>
                    <a:pt x="198" y="520"/>
                    <a:pt x="260" y="527"/>
                    <a:pt x="318" y="514"/>
                  </a:cubicBezTo>
                  <a:cubicBezTo>
                    <a:pt x="375" y="502"/>
                    <a:pt x="427" y="469"/>
                    <a:pt x="464" y="423"/>
                  </a:cubicBezTo>
                  <a:cubicBezTo>
                    <a:pt x="509" y="368"/>
                    <a:pt x="528" y="295"/>
                    <a:pt x="519" y="225"/>
                  </a:cubicBezTo>
                  <a:cubicBezTo>
                    <a:pt x="518" y="216"/>
                    <a:pt x="505" y="218"/>
                    <a:pt x="506" y="226"/>
                  </a:cubicBezTo>
                  <a:close/>
                </a:path>
              </a:pathLst>
            </a:custGeom>
            <a:solidFill>
              <a:srgbClr val="F7F7F7"/>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405" name="iṥḻídé"/>
            <p:cNvSpPr/>
            <p:nvPr/>
          </p:nvSpPr>
          <p:spPr bwMode="auto">
            <a:xfrm>
              <a:off x="8483600" y="3819526"/>
              <a:ext cx="512763" cy="319088"/>
            </a:xfrm>
            <a:custGeom>
              <a:avLst/>
              <a:gdLst>
                <a:gd name="T0" fmla="*/ 322 w 323"/>
                <a:gd name="T1" fmla="*/ 201 h 201"/>
                <a:gd name="T2" fmla="*/ 323 w 323"/>
                <a:gd name="T3" fmla="*/ 201 h 201"/>
                <a:gd name="T4" fmla="*/ 323 w 323"/>
                <a:gd name="T5" fmla="*/ 201 h 201"/>
                <a:gd name="T6" fmla="*/ 322 w 323"/>
                <a:gd name="T7" fmla="*/ 201 h 201"/>
                <a:gd name="T8" fmla="*/ 1 w 323"/>
                <a:gd name="T9" fmla="*/ 0 h 201"/>
                <a:gd name="T10" fmla="*/ 0 w 323"/>
                <a:gd name="T11" fmla="*/ 0 h 201"/>
                <a:gd name="T12" fmla="*/ 1 w 323"/>
                <a:gd name="T13" fmla="*/ 0 h 201"/>
                <a:gd name="T14" fmla="*/ 1 w 323"/>
                <a:gd name="T15" fmla="*/ 0 h 2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3" h="201">
                  <a:moveTo>
                    <a:pt x="322" y="201"/>
                  </a:moveTo>
                  <a:lnTo>
                    <a:pt x="323" y="201"/>
                  </a:lnTo>
                  <a:lnTo>
                    <a:pt x="323" y="201"/>
                  </a:lnTo>
                  <a:lnTo>
                    <a:pt x="322" y="201"/>
                  </a:lnTo>
                  <a:close/>
                  <a:moveTo>
                    <a:pt x="1" y="0"/>
                  </a:moveTo>
                  <a:lnTo>
                    <a:pt x="0" y="0"/>
                  </a:lnTo>
                  <a:lnTo>
                    <a:pt x="1" y="0"/>
                  </a:lnTo>
                  <a:lnTo>
                    <a:pt x="1" y="0"/>
                  </a:lnTo>
                  <a:close/>
                </a:path>
              </a:pathLst>
            </a:custGeom>
            <a:solidFill>
              <a:srgbClr val="2E466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406" name="ïṧḷiḓé"/>
            <p:cNvSpPr/>
            <p:nvPr/>
          </p:nvSpPr>
          <p:spPr bwMode="auto">
            <a:xfrm>
              <a:off x="8642350" y="3897313"/>
              <a:ext cx="168275" cy="123825"/>
            </a:xfrm>
            <a:custGeom>
              <a:avLst/>
              <a:gdLst>
                <a:gd name="T0" fmla="*/ 77 w 106"/>
                <a:gd name="T1" fmla="*/ 55 h 78"/>
                <a:gd name="T2" fmla="*/ 11 w 106"/>
                <a:gd name="T3" fmla="*/ 78 h 78"/>
                <a:gd name="T4" fmla="*/ 0 w 106"/>
                <a:gd name="T5" fmla="*/ 49 h 78"/>
                <a:gd name="T6" fmla="*/ 42 w 106"/>
                <a:gd name="T7" fmla="*/ 24 h 78"/>
                <a:gd name="T8" fmla="*/ 30 w 106"/>
                <a:gd name="T9" fmla="*/ 13 h 78"/>
                <a:gd name="T10" fmla="*/ 90 w 106"/>
                <a:gd name="T11" fmla="*/ 0 h 78"/>
                <a:gd name="T12" fmla="*/ 106 w 106"/>
                <a:gd name="T13" fmla="*/ 28 h 78"/>
                <a:gd name="T14" fmla="*/ 77 w 106"/>
                <a:gd name="T15" fmla="*/ 55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78">
                  <a:moveTo>
                    <a:pt x="77" y="55"/>
                  </a:moveTo>
                  <a:lnTo>
                    <a:pt x="11" y="78"/>
                  </a:lnTo>
                  <a:lnTo>
                    <a:pt x="0" y="49"/>
                  </a:lnTo>
                  <a:lnTo>
                    <a:pt x="42" y="24"/>
                  </a:lnTo>
                  <a:lnTo>
                    <a:pt x="30" y="13"/>
                  </a:lnTo>
                  <a:lnTo>
                    <a:pt x="90" y="0"/>
                  </a:lnTo>
                  <a:lnTo>
                    <a:pt x="106" y="28"/>
                  </a:lnTo>
                  <a:lnTo>
                    <a:pt x="77" y="55"/>
                  </a:lnTo>
                  <a:close/>
                </a:path>
              </a:pathLst>
            </a:custGeom>
            <a:solidFill>
              <a:srgbClr val="EAC5B0"/>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sp>
          <p:nvSpPr>
            <p:cNvPr id="407" name="íŝľîḓé"/>
            <p:cNvSpPr/>
            <p:nvPr/>
          </p:nvSpPr>
          <p:spPr bwMode="auto">
            <a:xfrm>
              <a:off x="8763000" y="3017838"/>
              <a:ext cx="584200" cy="979488"/>
            </a:xfrm>
            <a:custGeom>
              <a:avLst/>
              <a:gdLst>
                <a:gd name="T0" fmla="*/ 144 w 368"/>
                <a:gd name="T1" fmla="*/ 111 h 617"/>
                <a:gd name="T2" fmla="*/ 219 w 368"/>
                <a:gd name="T3" fmla="*/ 375 h 617"/>
                <a:gd name="T4" fmla="*/ 0 w 368"/>
                <a:gd name="T5" fmla="*/ 545 h 617"/>
                <a:gd name="T6" fmla="*/ 46 w 368"/>
                <a:gd name="T7" fmla="*/ 617 h 617"/>
                <a:gd name="T8" fmla="*/ 368 w 368"/>
                <a:gd name="T9" fmla="*/ 418 h 617"/>
                <a:gd name="T10" fmla="*/ 273 w 368"/>
                <a:gd name="T11" fmla="*/ 87 h 617"/>
                <a:gd name="T12" fmla="*/ 166 w 368"/>
                <a:gd name="T13" fmla="*/ 0 h 617"/>
                <a:gd name="T14" fmla="*/ 144 w 368"/>
                <a:gd name="T15" fmla="*/ 111 h 6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8" h="617">
                  <a:moveTo>
                    <a:pt x="144" y="111"/>
                  </a:moveTo>
                  <a:lnTo>
                    <a:pt x="219" y="375"/>
                  </a:lnTo>
                  <a:lnTo>
                    <a:pt x="0" y="545"/>
                  </a:lnTo>
                  <a:lnTo>
                    <a:pt x="46" y="617"/>
                  </a:lnTo>
                  <a:lnTo>
                    <a:pt x="368" y="418"/>
                  </a:lnTo>
                  <a:lnTo>
                    <a:pt x="273" y="87"/>
                  </a:lnTo>
                  <a:lnTo>
                    <a:pt x="166" y="0"/>
                  </a:lnTo>
                  <a:lnTo>
                    <a:pt x="144" y="111"/>
                  </a:lnTo>
                  <a:close/>
                </a:path>
              </a:pathLst>
            </a:custGeom>
            <a:solidFill>
              <a:srgbClr val="474EBB"/>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black"/>
                </a:solidFill>
                <a:effectLst/>
                <a:uLnTx/>
                <a:uFillTx/>
                <a:latin typeface="等线" panose="02010600030101010101" charset="-122"/>
                <a:ea typeface="+mn-ea"/>
                <a:cs typeface="+mn-cs"/>
              </a:endParaRPr>
            </a:p>
          </p:txBody>
        </p:sp>
      </p:grpSp>
      <p:sp>
        <p:nvSpPr>
          <p:cNvPr id="408" name="íṧḷîḍé"/>
          <p:cNvSpPr/>
          <p:nvPr/>
        </p:nvSpPr>
        <p:spPr bwMode="auto">
          <a:xfrm>
            <a:off x="365948" y="1939728"/>
            <a:ext cx="3112227" cy="3101650"/>
          </a:xfrm>
          <a:prstGeom prst="frame">
            <a:avLst>
              <a:gd name="adj1" fmla="val 1450"/>
            </a:avLst>
          </a:prstGeom>
          <a:solidFill>
            <a:srgbClr val="C00000"/>
          </a:solidFill>
          <a:ln w="9525">
            <a:noFill/>
            <a:roun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white"/>
              </a:solidFill>
              <a:effectLst/>
              <a:uLnTx/>
              <a:uFillTx/>
              <a:latin typeface="等线" panose="02010600030101010101" charset="-122"/>
              <a:ea typeface="+mn-ea"/>
              <a:cs typeface="+mn-cs"/>
            </a:endParaRPr>
          </a:p>
        </p:txBody>
      </p:sp>
      <p:sp>
        <p:nvSpPr>
          <p:cNvPr id="2" name="文本框 1"/>
          <p:cNvSpPr txBox="1"/>
          <p:nvPr/>
        </p:nvSpPr>
        <p:spPr>
          <a:xfrm>
            <a:off x="361850" y="1447291"/>
            <a:ext cx="3143350" cy="398780"/>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prstClr val="white"/>
                </a:solidFill>
                <a:effectLst/>
                <a:uLnTx/>
                <a:uFillTx/>
                <a:latin typeface="等线" panose="02010600030101010101" charset="-122"/>
                <a:ea typeface="等线" panose="02010600030101010101" charset="-122"/>
                <a:cs typeface="+mn-cs"/>
              </a:rPr>
              <a:t>Chinese Taught</a:t>
            </a:r>
          </a:p>
        </p:txBody>
      </p:sp>
      <p:sp>
        <p:nvSpPr>
          <p:cNvPr id="409" name="文本框 408"/>
          <p:cNvSpPr txBox="1"/>
          <p:nvPr/>
        </p:nvSpPr>
        <p:spPr>
          <a:xfrm>
            <a:off x="535940" y="2381250"/>
            <a:ext cx="2969260" cy="16300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rgbClr val="C00000"/>
                </a:solidFill>
                <a:effectLst/>
                <a:uLnTx/>
                <a:uFillTx/>
                <a:latin typeface="Arial" panose="020B0604020202020204" pitchFamily="34" charset="0"/>
                <a:ea typeface="等线" panose="02010600030101010101" charset="-122"/>
                <a:cs typeface="Arial" panose="020B0604020202020204" pitchFamily="34" charset="0"/>
              </a:rPr>
              <a:t>HSK5,180 or above</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0" normalizeH="0" baseline="0" noProof="0" dirty="0">
                <a:ln>
                  <a:noFill/>
                </a:ln>
                <a:solidFill>
                  <a:schemeClr val="accent1">
                    <a:lumMod val="75000"/>
                  </a:schemeClr>
                </a:solidFill>
                <a:effectLst/>
                <a:uLnTx/>
                <a:uFillTx/>
                <a:latin typeface="Arial" panose="020B0604020202020204" pitchFamily="34" charset="0"/>
                <a:ea typeface="微软雅黑" panose="020B0503020204020204" pitchFamily="34" charset="-122"/>
                <a:cs typeface="Arial" panose="020B0604020202020204" pitchFamily="34" charset="0"/>
              </a:rPr>
              <a:t>Arts, Science&amp;Engineering, Economics &amp;Management</a:t>
            </a:r>
          </a:p>
        </p:txBody>
      </p:sp>
      <p:sp>
        <p:nvSpPr>
          <p:cNvPr id="410" name="文本框 409"/>
          <p:cNvSpPr txBox="1"/>
          <p:nvPr/>
        </p:nvSpPr>
        <p:spPr>
          <a:xfrm>
            <a:off x="535789" y="4057094"/>
            <a:ext cx="2795386" cy="7067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rgbClr val="C00000"/>
                </a:solidFill>
                <a:effectLst/>
                <a:uLnTx/>
                <a:uFillTx/>
                <a:latin typeface="Arial" panose="020B0604020202020204" pitchFamily="34" charset="0"/>
                <a:ea typeface="等线" panose="02010600030101010101" charset="-122"/>
                <a:cs typeface="Arial" panose="020B0604020202020204" pitchFamily="34" charset="0"/>
              </a:rPr>
              <a:t>HSK5,210 or above</a:t>
            </a: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0" normalizeH="0" baseline="0" noProof="0" dirty="0">
                <a:ln>
                  <a:noFill/>
                </a:ln>
                <a:solidFill>
                  <a:schemeClr val="accent1">
                    <a:lumMod val="75000"/>
                  </a:schemeClr>
                </a:solidFill>
                <a:effectLst/>
                <a:uLnTx/>
                <a:uFillTx/>
                <a:latin typeface="Arial" panose="020B0604020202020204" pitchFamily="34" charset="0"/>
                <a:ea typeface="微软雅黑" panose="020B0503020204020204" pitchFamily="34" charset="-122"/>
                <a:cs typeface="Arial" panose="020B0604020202020204" pitchFamily="34" charset="0"/>
              </a:rPr>
              <a:t>Humanities</a:t>
            </a:r>
          </a:p>
        </p:txBody>
      </p:sp>
      <p:sp>
        <p:nvSpPr>
          <p:cNvPr id="411" name="文本框 410"/>
          <p:cNvSpPr txBox="1"/>
          <p:nvPr/>
        </p:nvSpPr>
        <p:spPr>
          <a:xfrm>
            <a:off x="8316767" y="1447291"/>
            <a:ext cx="3086363" cy="398780"/>
          </a:xfrm>
          <a:prstGeom prst="rect">
            <a:avLst/>
          </a:prstGeom>
          <a:solidFill>
            <a:srgbClr val="4472C4"/>
          </a:solidFill>
        </p:spPr>
        <p:style>
          <a:lnRef idx="3">
            <a:schemeClr val="lt1"/>
          </a:lnRef>
          <a:fillRef idx="1">
            <a:schemeClr val="accent2"/>
          </a:fillRef>
          <a:effectRef idx="1">
            <a:schemeClr val="accent2"/>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prstClr val="white"/>
                </a:solidFill>
                <a:effectLst/>
                <a:uLnTx/>
                <a:uFillTx/>
                <a:latin typeface="等线" panose="02010600030101010101" charset="-122"/>
                <a:ea typeface="等线" panose="02010600030101010101" charset="-122"/>
                <a:cs typeface="+mn-cs"/>
              </a:rPr>
              <a:t>English Taught</a:t>
            </a:r>
          </a:p>
        </p:txBody>
      </p:sp>
      <p:sp>
        <p:nvSpPr>
          <p:cNvPr id="412" name="íṧḷîḍé"/>
          <p:cNvSpPr/>
          <p:nvPr/>
        </p:nvSpPr>
        <p:spPr bwMode="auto">
          <a:xfrm>
            <a:off x="8307243" y="1955037"/>
            <a:ext cx="3112227" cy="3101650"/>
          </a:xfrm>
          <a:prstGeom prst="frame">
            <a:avLst>
              <a:gd name="adj1" fmla="val 1450"/>
            </a:avLst>
          </a:prstGeom>
          <a:solidFill>
            <a:schemeClr val="accent1"/>
          </a:solidFill>
          <a:ln w="9525">
            <a:noFill/>
            <a:roun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prstClr val="white"/>
              </a:solidFill>
              <a:effectLst/>
              <a:uLnTx/>
              <a:uFillTx/>
              <a:latin typeface="等线" panose="02010600030101010101" charset="-122"/>
              <a:ea typeface="+mn-ea"/>
              <a:cs typeface="+mn-cs"/>
            </a:endParaRPr>
          </a:p>
        </p:txBody>
      </p:sp>
      <p:sp>
        <p:nvSpPr>
          <p:cNvPr id="413" name="文本框 412"/>
          <p:cNvSpPr txBox="1"/>
          <p:nvPr/>
        </p:nvSpPr>
        <p:spPr>
          <a:xfrm>
            <a:off x="8551082" y="2632821"/>
            <a:ext cx="2654112" cy="14763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srgbClr val="4472C4"/>
                </a:solidFill>
                <a:effectLst/>
                <a:uLnTx/>
                <a:uFillTx/>
                <a:latin typeface="等线" panose="02010600030101010101" charset="-122"/>
                <a:ea typeface="等线" panose="02010600030101010101" charset="-122"/>
                <a:cs typeface="+mn-cs"/>
              </a:rPr>
              <a:t>TOEFL 90 or above</a:t>
            </a: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800" b="1" i="0" u="none" strike="noStrike" kern="1200" cap="none" spc="0" normalizeH="0" baseline="0" noProof="0" dirty="0">
              <a:ln>
                <a:noFill/>
              </a:ln>
              <a:solidFill>
                <a:srgbClr val="4472C4"/>
              </a:solidFill>
              <a:effectLst/>
              <a:uLnTx/>
              <a:uFillTx/>
              <a:latin typeface="等线" panose="02010600030101010101" charset="-122"/>
              <a:ea typeface="等线" panose="0201060003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800" b="1" i="0" u="none" strike="noStrike" kern="1200" cap="none" spc="0" normalizeH="0" baseline="0" noProof="0" dirty="0">
              <a:ln>
                <a:noFill/>
              </a:ln>
              <a:solidFill>
                <a:srgbClr val="4472C4"/>
              </a:solidFill>
              <a:effectLst/>
              <a:uLnTx/>
              <a:uFillTx/>
              <a:latin typeface="等线" panose="02010600030101010101" charset="-122"/>
              <a:ea typeface="等线" panose="02010600030101010101" charset="-122"/>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srgbClr val="4472C4"/>
                </a:solidFill>
                <a:effectLst/>
                <a:uLnTx/>
                <a:uFillTx/>
                <a:latin typeface="等线" panose="02010600030101010101" charset="-122"/>
                <a:ea typeface="等线" panose="02010600030101010101" charset="-122"/>
                <a:cs typeface="+mn-cs"/>
              </a:rPr>
              <a:t>IELTS 6.5 or above</a:t>
            </a:r>
          </a:p>
          <a:p>
            <a:pPr marL="0" marR="0" lvl="0" indent="0" algn="l" defTabSz="914400" rtl="0" eaLnBrk="1" fontAlgn="auto" latinLnBrk="0" hangingPunct="1">
              <a:lnSpc>
                <a:spcPct val="100000"/>
              </a:lnSpc>
              <a:spcBef>
                <a:spcPts val="0"/>
              </a:spcBef>
              <a:spcAft>
                <a:spcPts val="0"/>
              </a:spcAft>
              <a:buClrTx/>
              <a:buSzTx/>
              <a:buFontTx/>
              <a:buNone/>
              <a:defRPr/>
            </a:pPr>
            <a:endParaRPr kumimoji="0" lang="en-US" altLang="zh-CN" sz="1800" b="1" i="0" u="none" strike="noStrike" kern="1200" cap="none" spc="0" normalizeH="0" baseline="0" noProof="0" dirty="0">
              <a:ln>
                <a:noFill/>
              </a:ln>
              <a:solidFill>
                <a:srgbClr val="4472C4"/>
              </a:solidFill>
              <a:effectLst/>
              <a:uLnTx/>
              <a:uFillTx/>
              <a:latin typeface="等线" panose="02010600030101010101" charset="-122"/>
              <a:ea typeface="等线" panose="02010600030101010101" charset="-122"/>
              <a:cs typeface="+mn-cs"/>
            </a:endParaRPr>
          </a:p>
        </p:txBody>
      </p:sp>
      <p:sp>
        <p:nvSpPr>
          <p:cNvPr id="1117" name="等腰三角形 1116"/>
          <p:cNvSpPr/>
          <p:nvPr/>
        </p:nvSpPr>
        <p:spPr>
          <a:xfrm rot="5400000">
            <a:off x="-174172" y="174171"/>
            <a:ext cx="841829" cy="493486"/>
          </a:xfrm>
          <a:prstGeom prst="triangle">
            <a:avLst/>
          </a:prstGeom>
          <a:gradFill>
            <a:gsLst>
              <a:gs pos="0">
                <a:srgbClr val="007BD3"/>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5" name="图片 4" descr="上大logo最新"/>
          <p:cNvPicPr>
            <a:picLocks noChangeAspect="1"/>
          </p:cNvPicPr>
          <p:nvPr/>
        </p:nvPicPr>
        <p:blipFill>
          <a:blip r:embed="rId4"/>
          <a:stretch>
            <a:fillRect/>
          </a:stretch>
        </p:blipFill>
        <p:spPr>
          <a:xfrm>
            <a:off x="9076690" y="0"/>
            <a:ext cx="3115310" cy="939165"/>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文本框 52"/>
          <p:cNvSpPr txBox="1"/>
          <p:nvPr/>
        </p:nvSpPr>
        <p:spPr>
          <a:xfrm>
            <a:off x="635872" y="129772"/>
            <a:ext cx="10855568" cy="583565"/>
          </a:xfrm>
          <a:prstGeom prst="rect">
            <a:avLst/>
          </a:prstGeom>
          <a:noFill/>
        </p:spPr>
        <p:txBody>
          <a:bodyPr wrap="square" rtlCol="0">
            <a:spAutoFit/>
          </a:bodyPr>
          <a:lstStyle/>
          <a:p>
            <a:pPr lvl="0">
              <a:defRPr/>
            </a:pPr>
            <a:r>
              <a:rPr lang="en-US" altLang="zh-CN" sz="3200" b="1" kern="0" spc="400" dirty="0">
                <a:solidFill>
                  <a:srgbClr val="002060"/>
                </a:solidFill>
                <a:latin typeface="Arial" panose="020B0604020202020204" pitchFamily="34" charset="0"/>
                <a:ea typeface="微软雅黑" panose="020B0503020204020204" pitchFamily="34" charset="-122"/>
                <a:cs typeface="Arial" panose="020B0604020202020204" pitchFamily="34" charset="0"/>
              </a:rPr>
              <a:t>APPLICATION DOCUMENTS LIST</a:t>
            </a:r>
          </a:p>
        </p:txBody>
      </p:sp>
      <p:sp>
        <p:nvSpPr>
          <p:cNvPr id="86" name="矩形 85"/>
          <p:cNvSpPr/>
          <p:nvPr/>
        </p:nvSpPr>
        <p:spPr>
          <a:xfrm>
            <a:off x="7312246" y="5310549"/>
            <a:ext cx="3378868" cy="830997"/>
          </a:xfrm>
          <a:prstGeom prst="rect">
            <a:avLst/>
          </a:prstGeom>
          <a:ln w="47625">
            <a:solidFill>
              <a:schemeClr val="accent2">
                <a:lumMod val="75000"/>
              </a:schemeClr>
            </a:solidFill>
          </a:ln>
        </p:spPr>
        <p:txBody>
          <a:bodyPr wrap="square">
            <a:spAutoFit/>
          </a:bodyPr>
          <a:lstStyle/>
          <a:p>
            <a:r>
              <a:rPr lang="en-US" altLang="zh-CN" sz="2400" b="1" dirty="0">
                <a:solidFill>
                  <a:schemeClr val="accent2">
                    <a:lumMod val="75000"/>
                  </a:schemeClr>
                </a:solidFill>
                <a:latin typeface="Arial Black" panose="020B0A04020102020204" pitchFamily="34" charset="0"/>
                <a:ea typeface="微软雅黑" panose="020B0503020204020204" pitchFamily="34" charset="-122"/>
              </a:rPr>
              <a:t>Written in </a:t>
            </a:r>
          </a:p>
          <a:p>
            <a:r>
              <a:rPr lang="en-US" altLang="zh-CN" sz="2400" b="1" dirty="0">
                <a:solidFill>
                  <a:schemeClr val="accent2">
                    <a:lumMod val="75000"/>
                  </a:schemeClr>
                </a:solidFill>
                <a:latin typeface="Arial Black" panose="020B0A04020102020204" pitchFamily="34" charset="0"/>
                <a:ea typeface="微软雅黑" panose="020B0503020204020204" pitchFamily="34" charset="-122"/>
              </a:rPr>
              <a:t>Chinese or English</a:t>
            </a:r>
            <a:endParaRPr lang="zh-CN" altLang="en-US" sz="2400" b="1" dirty="0">
              <a:solidFill>
                <a:schemeClr val="accent2">
                  <a:lumMod val="75000"/>
                </a:schemeClr>
              </a:solidFill>
              <a:latin typeface="Arial Black" panose="020B0A04020102020204" pitchFamily="34" charset="0"/>
              <a:ea typeface="微软雅黑" panose="020B0503020204020204" pitchFamily="34" charset="-122"/>
            </a:endParaRPr>
          </a:p>
        </p:txBody>
      </p:sp>
      <p:grpSp>
        <p:nvGrpSpPr>
          <p:cNvPr id="64" name="22208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2"/>
            </p:custDataLst>
          </p:nvPr>
        </p:nvGrpSpPr>
        <p:grpSpPr>
          <a:xfrm>
            <a:off x="7198425" y="2321700"/>
            <a:ext cx="4545822" cy="2735537"/>
            <a:chOff x="6467564" y="820629"/>
            <a:chExt cx="6061097" cy="3647382"/>
          </a:xfrm>
        </p:grpSpPr>
        <p:grpSp>
          <p:nvGrpSpPr>
            <p:cNvPr id="66" name="îṧlïḍé"/>
            <p:cNvGrpSpPr/>
            <p:nvPr/>
          </p:nvGrpSpPr>
          <p:grpSpPr>
            <a:xfrm>
              <a:off x="6467564" y="820629"/>
              <a:ext cx="6061097" cy="3647382"/>
              <a:chOff x="3419873" y="568005"/>
              <a:chExt cx="7157917" cy="4307412"/>
            </a:xfrm>
          </p:grpSpPr>
          <p:sp>
            <p:nvSpPr>
              <p:cNvPr id="105" name="ïś1íḓê"/>
              <p:cNvSpPr/>
              <p:nvPr/>
            </p:nvSpPr>
            <p:spPr bwMode="auto">
              <a:xfrm>
                <a:off x="3494540" y="568005"/>
                <a:ext cx="7083250" cy="4307412"/>
              </a:xfrm>
              <a:custGeom>
                <a:avLst/>
                <a:gdLst>
                  <a:gd name="T0" fmla="*/ 41 w 688"/>
                  <a:gd name="T1" fmla="*/ 0 h 413"/>
                  <a:gd name="T2" fmla="*/ 646 w 688"/>
                  <a:gd name="T3" fmla="*/ 0 h 413"/>
                  <a:gd name="T4" fmla="*/ 688 w 688"/>
                  <a:gd name="T5" fmla="*/ 35 h 413"/>
                  <a:gd name="T6" fmla="*/ 688 w 688"/>
                  <a:gd name="T7" fmla="*/ 378 h 413"/>
                  <a:gd name="T8" fmla="*/ 646 w 688"/>
                  <a:gd name="T9" fmla="*/ 413 h 413"/>
                  <a:gd name="T10" fmla="*/ 41 w 688"/>
                  <a:gd name="T11" fmla="*/ 413 h 413"/>
                  <a:gd name="T12" fmla="*/ 0 w 688"/>
                  <a:gd name="T13" fmla="*/ 378 h 413"/>
                  <a:gd name="T14" fmla="*/ 0 w 688"/>
                  <a:gd name="T15" fmla="*/ 35 h 413"/>
                  <a:gd name="T16" fmla="*/ 41 w 688"/>
                  <a:gd name="T17"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8" h="413">
                    <a:moveTo>
                      <a:pt x="41" y="0"/>
                    </a:moveTo>
                    <a:cubicBezTo>
                      <a:pt x="646" y="0"/>
                      <a:pt x="646" y="0"/>
                      <a:pt x="646" y="0"/>
                    </a:cubicBezTo>
                    <a:cubicBezTo>
                      <a:pt x="669" y="0"/>
                      <a:pt x="688" y="16"/>
                      <a:pt x="688" y="35"/>
                    </a:cubicBezTo>
                    <a:cubicBezTo>
                      <a:pt x="688" y="378"/>
                      <a:pt x="688" y="378"/>
                      <a:pt x="688" y="378"/>
                    </a:cubicBezTo>
                    <a:cubicBezTo>
                      <a:pt x="688" y="397"/>
                      <a:pt x="669" y="413"/>
                      <a:pt x="646" y="413"/>
                    </a:cubicBezTo>
                    <a:cubicBezTo>
                      <a:pt x="41" y="413"/>
                      <a:pt x="41" y="413"/>
                      <a:pt x="41" y="413"/>
                    </a:cubicBezTo>
                    <a:cubicBezTo>
                      <a:pt x="18" y="413"/>
                      <a:pt x="0" y="397"/>
                      <a:pt x="0" y="378"/>
                    </a:cubicBezTo>
                    <a:cubicBezTo>
                      <a:pt x="0" y="35"/>
                      <a:pt x="0" y="35"/>
                      <a:pt x="0" y="35"/>
                    </a:cubicBezTo>
                    <a:cubicBezTo>
                      <a:pt x="0" y="16"/>
                      <a:pt x="18" y="0"/>
                      <a:pt x="41" y="0"/>
                    </a:cubicBezTo>
                    <a:close/>
                  </a:path>
                </a:pathLst>
              </a:custGeom>
              <a:solidFill>
                <a:schemeClr val="bg1">
                  <a:lumMod val="95000"/>
                </a:schemeClr>
              </a:solidFill>
              <a:ln>
                <a:noFill/>
              </a:ln>
            </p:spPr>
            <p:txBody>
              <a:bodyPr vert="horz" wrap="square" lIns="91440" tIns="45720" rIns="91440" bIns="45720" numCol="1" anchor="t" anchorCtr="0" compatLnSpc="1">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1600"/>
              </a:p>
            </p:txBody>
          </p:sp>
          <p:sp>
            <p:nvSpPr>
              <p:cNvPr id="106" name="ïŝľïḓé"/>
              <p:cNvSpPr/>
              <p:nvPr/>
            </p:nvSpPr>
            <p:spPr bwMode="auto">
              <a:xfrm>
                <a:off x="3419873" y="2448132"/>
                <a:ext cx="74667" cy="812284"/>
              </a:xfrm>
              <a:custGeom>
                <a:avLst/>
                <a:gdLst>
                  <a:gd name="T0" fmla="*/ 0 w 9"/>
                  <a:gd name="T1" fmla="*/ 94 h 98"/>
                  <a:gd name="T2" fmla="*/ 0 w 9"/>
                  <a:gd name="T3" fmla="*/ 4 h 98"/>
                  <a:gd name="T4" fmla="*/ 5 w 9"/>
                  <a:gd name="T5" fmla="*/ 0 h 98"/>
                  <a:gd name="T6" fmla="*/ 5 w 9"/>
                  <a:gd name="T7" fmla="*/ 0 h 98"/>
                  <a:gd name="T8" fmla="*/ 9 w 9"/>
                  <a:gd name="T9" fmla="*/ 4 h 98"/>
                  <a:gd name="T10" fmla="*/ 9 w 9"/>
                  <a:gd name="T11" fmla="*/ 94 h 98"/>
                  <a:gd name="T12" fmla="*/ 5 w 9"/>
                  <a:gd name="T13" fmla="*/ 98 h 98"/>
                  <a:gd name="T14" fmla="*/ 5 w 9"/>
                  <a:gd name="T15" fmla="*/ 98 h 98"/>
                  <a:gd name="T16" fmla="*/ 0 w 9"/>
                  <a:gd name="T17" fmla="*/ 9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8">
                    <a:moveTo>
                      <a:pt x="0" y="94"/>
                    </a:moveTo>
                    <a:cubicBezTo>
                      <a:pt x="0" y="4"/>
                      <a:pt x="0" y="4"/>
                      <a:pt x="0" y="4"/>
                    </a:cubicBezTo>
                    <a:cubicBezTo>
                      <a:pt x="0" y="2"/>
                      <a:pt x="2" y="0"/>
                      <a:pt x="5" y="0"/>
                    </a:cubicBezTo>
                    <a:cubicBezTo>
                      <a:pt x="5" y="0"/>
                      <a:pt x="5" y="0"/>
                      <a:pt x="5" y="0"/>
                    </a:cubicBezTo>
                    <a:cubicBezTo>
                      <a:pt x="7" y="0"/>
                      <a:pt x="9" y="2"/>
                      <a:pt x="9" y="4"/>
                    </a:cubicBezTo>
                    <a:cubicBezTo>
                      <a:pt x="9" y="94"/>
                      <a:pt x="9" y="94"/>
                      <a:pt x="9" y="94"/>
                    </a:cubicBezTo>
                    <a:cubicBezTo>
                      <a:pt x="9" y="96"/>
                      <a:pt x="7" y="98"/>
                      <a:pt x="5" y="98"/>
                    </a:cubicBezTo>
                    <a:cubicBezTo>
                      <a:pt x="5" y="98"/>
                      <a:pt x="5" y="98"/>
                      <a:pt x="5" y="98"/>
                    </a:cubicBezTo>
                    <a:cubicBezTo>
                      <a:pt x="2" y="98"/>
                      <a:pt x="0" y="96"/>
                      <a:pt x="0" y="94"/>
                    </a:cubicBezTo>
                    <a:close/>
                  </a:path>
                </a:pathLst>
              </a:custGeom>
              <a:solidFill>
                <a:schemeClr val="bg1">
                  <a:lumMod val="85000"/>
                </a:schemeClr>
              </a:solidFill>
              <a:ln>
                <a:noFill/>
              </a:ln>
            </p:spPr>
            <p:txBody>
              <a:bodyPr vert="horz" wrap="square" lIns="91440" tIns="45720" rIns="91440" bIns="45720" numCol="1" anchor="t" anchorCtr="0" compatLnSpc="1">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1600"/>
              </a:p>
            </p:txBody>
          </p:sp>
        </p:grpSp>
        <p:grpSp>
          <p:nvGrpSpPr>
            <p:cNvPr id="67" name="ïśļiḑè"/>
            <p:cNvGrpSpPr/>
            <p:nvPr/>
          </p:nvGrpSpPr>
          <p:grpSpPr>
            <a:xfrm>
              <a:off x="7004112" y="1461692"/>
              <a:ext cx="5411322" cy="2950780"/>
              <a:chOff x="6720333" y="1715795"/>
              <a:chExt cx="5411322" cy="2950780"/>
            </a:xfrm>
          </p:grpSpPr>
          <p:grpSp>
            <p:nvGrpSpPr>
              <p:cNvPr id="68" name="îš1íḓê"/>
              <p:cNvGrpSpPr/>
              <p:nvPr/>
            </p:nvGrpSpPr>
            <p:grpSpPr>
              <a:xfrm>
                <a:off x="6720333" y="1715795"/>
                <a:ext cx="4660967" cy="875239"/>
                <a:chOff x="6713399" y="1677922"/>
                <a:chExt cx="4660967" cy="875239"/>
              </a:xfrm>
            </p:grpSpPr>
            <p:sp>
              <p:nvSpPr>
                <p:cNvPr id="78" name="iṣ1îdé"/>
                <p:cNvSpPr/>
                <p:nvPr/>
              </p:nvSpPr>
              <p:spPr bwMode="auto">
                <a:xfrm flipH="1">
                  <a:off x="7218624" y="1677922"/>
                  <a:ext cx="4155742" cy="875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b="1" dirty="0">
                      <a:solidFill>
                        <a:srgbClr val="002060"/>
                      </a:solidFill>
                    </a:rPr>
                    <a:t>Research output </a:t>
                  </a:r>
                </a:p>
                <a:p>
                  <a:pPr>
                    <a:lnSpc>
                      <a:spcPct val="150000"/>
                    </a:lnSpc>
                  </a:pPr>
                  <a:r>
                    <a:rPr lang="en-US" altLang="zh-CN" dirty="0"/>
                    <a:t>( </a:t>
                  </a:r>
                  <a:r>
                    <a:rPr lang="en-US" altLang="zh-CN" dirty="0">
                      <a:solidFill>
                        <a:srgbClr val="002060"/>
                      </a:solidFill>
                    </a:rPr>
                    <a:t>publication, reports, works)</a:t>
                  </a:r>
                </a:p>
              </p:txBody>
            </p:sp>
            <p:sp>
              <p:nvSpPr>
                <p:cNvPr id="80" name="îSlîḓé"/>
                <p:cNvSpPr/>
                <p:nvPr/>
              </p:nvSpPr>
              <p:spPr>
                <a:xfrm>
                  <a:off x="6713399" y="1890819"/>
                  <a:ext cx="431845" cy="555128"/>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91440" tIns="45720" rIns="91440" bIns="45720">
                  <a:normAutofit/>
                </a:bodyPr>
                <a:lstStyle>
                  <a:defPPr>
                    <a:defRPr lang="zh-CN"/>
                  </a:defPPr>
                  <a:lvl1pPr marL="0" algn="l" defTabSz="914400" rtl="0" eaLnBrk="1" latinLnBrk="0" hangingPunct="1">
                    <a:defRPr sz="1800" kern="1200">
                      <a:solidFill>
                        <a:schemeClr val="dk1">
                          <a:hueOff val="0"/>
                          <a:satOff val="0"/>
                          <a:lumOff val="0"/>
                          <a:alphaOff val="0"/>
                        </a:schemeClr>
                      </a:solidFill>
                    </a:defRPr>
                  </a:lvl1pPr>
                  <a:lvl2pPr marL="457200" algn="l" defTabSz="914400" rtl="0" eaLnBrk="1" latinLnBrk="0" hangingPunct="1">
                    <a:defRPr sz="1800" kern="1200">
                      <a:solidFill>
                        <a:schemeClr val="dk1">
                          <a:hueOff val="0"/>
                          <a:satOff val="0"/>
                          <a:lumOff val="0"/>
                          <a:alphaOff val="0"/>
                        </a:schemeClr>
                      </a:solidFill>
                    </a:defRPr>
                  </a:lvl2pPr>
                  <a:lvl3pPr marL="914400" algn="l" defTabSz="914400" rtl="0" eaLnBrk="1" latinLnBrk="0" hangingPunct="1">
                    <a:defRPr sz="1800" kern="1200">
                      <a:solidFill>
                        <a:schemeClr val="dk1">
                          <a:hueOff val="0"/>
                          <a:satOff val="0"/>
                          <a:lumOff val="0"/>
                          <a:alphaOff val="0"/>
                        </a:schemeClr>
                      </a:solidFill>
                    </a:defRPr>
                  </a:lvl3pPr>
                  <a:lvl4pPr marL="1371600" algn="l" defTabSz="914400" rtl="0" eaLnBrk="1" latinLnBrk="0" hangingPunct="1">
                    <a:defRPr sz="1800" kern="1200">
                      <a:solidFill>
                        <a:schemeClr val="dk1">
                          <a:hueOff val="0"/>
                          <a:satOff val="0"/>
                          <a:lumOff val="0"/>
                          <a:alphaOff val="0"/>
                        </a:schemeClr>
                      </a:solidFill>
                    </a:defRPr>
                  </a:lvl4pPr>
                  <a:lvl5pPr marL="1828800" algn="l" defTabSz="914400" rtl="0" eaLnBrk="1" latinLnBrk="0" hangingPunct="1">
                    <a:defRPr sz="1800" kern="1200">
                      <a:solidFill>
                        <a:schemeClr val="dk1">
                          <a:hueOff val="0"/>
                          <a:satOff val="0"/>
                          <a:lumOff val="0"/>
                          <a:alphaOff val="0"/>
                        </a:schemeClr>
                      </a:solidFill>
                    </a:defRPr>
                  </a:lvl5pPr>
                  <a:lvl6pPr marL="2286000" algn="l" defTabSz="914400" rtl="0" eaLnBrk="1" latinLnBrk="0" hangingPunct="1">
                    <a:defRPr sz="1800" kern="1200">
                      <a:solidFill>
                        <a:schemeClr val="dk1">
                          <a:hueOff val="0"/>
                          <a:satOff val="0"/>
                          <a:lumOff val="0"/>
                          <a:alphaOff val="0"/>
                        </a:schemeClr>
                      </a:solidFill>
                    </a:defRPr>
                  </a:lvl6pPr>
                  <a:lvl7pPr marL="2743200" algn="l" defTabSz="914400" rtl="0" eaLnBrk="1" latinLnBrk="0" hangingPunct="1">
                    <a:defRPr sz="1800" kern="1200">
                      <a:solidFill>
                        <a:schemeClr val="dk1">
                          <a:hueOff val="0"/>
                          <a:satOff val="0"/>
                          <a:lumOff val="0"/>
                          <a:alphaOff val="0"/>
                        </a:schemeClr>
                      </a:solidFill>
                    </a:defRPr>
                  </a:lvl7pPr>
                  <a:lvl8pPr marL="3200400" algn="l" defTabSz="914400" rtl="0" eaLnBrk="1" latinLnBrk="0" hangingPunct="1">
                    <a:defRPr sz="1800" kern="1200">
                      <a:solidFill>
                        <a:schemeClr val="dk1">
                          <a:hueOff val="0"/>
                          <a:satOff val="0"/>
                          <a:lumOff val="0"/>
                          <a:alphaOff val="0"/>
                        </a:schemeClr>
                      </a:solidFill>
                    </a:defRPr>
                  </a:lvl8pPr>
                  <a:lvl9pPr marL="3657600" algn="l" defTabSz="914400" rtl="0" eaLnBrk="1" latinLnBrk="0" hangingPunct="1">
                    <a:defRPr sz="1800" kern="1200">
                      <a:solidFill>
                        <a:schemeClr val="dk1">
                          <a:hueOff val="0"/>
                          <a:satOff val="0"/>
                          <a:lumOff val="0"/>
                          <a:alphaOff val="0"/>
                        </a:schemeClr>
                      </a:solidFill>
                    </a:defRPr>
                  </a:lvl9p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endParaRPr>
                </a:p>
              </p:txBody>
            </p:sp>
          </p:grpSp>
          <p:grpSp>
            <p:nvGrpSpPr>
              <p:cNvPr id="69" name="íṩľiḍe"/>
              <p:cNvGrpSpPr/>
              <p:nvPr/>
            </p:nvGrpSpPr>
            <p:grpSpPr>
              <a:xfrm>
                <a:off x="6761392" y="2026642"/>
                <a:ext cx="3618267" cy="2234769"/>
                <a:chOff x="6754458" y="2007716"/>
                <a:chExt cx="3618267" cy="2234769"/>
              </a:xfrm>
            </p:grpSpPr>
            <p:sp>
              <p:nvSpPr>
                <p:cNvPr id="73" name="íṩ1îḍe"/>
                <p:cNvSpPr/>
                <p:nvPr/>
              </p:nvSpPr>
              <p:spPr bwMode="auto">
                <a:xfrm flipH="1">
                  <a:off x="7218624" y="2879499"/>
                  <a:ext cx="3154101" cy="600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b="1" dirty="0">
                      <a:solidFill>
                        <a:srgbClr val="002060"/>
                      </a:solidFill>
                    </a:rPr>
                    <a:t>Honors/ Awards </a:t>
                  </a:r>
                </a:p>
              </p:txBody>
            </p:sp>
            <p:grpSp>
              <p:nvGrpSpPr>
                <p:cNvPr id="74" name="îş1íďe"/>
                <p:cNvGrpSpPr/>
                <p:nvPr/>
              </p:nvGrpSpPr>
              <p:grpSpPr>
                <a:xfrm>
                  <a:off x="6754458" y="2007716"/>
                  <a:ext cx="394575" cy="2234769"/>
                  <a:chOff x="5910152" y="2447842"/>
                  <a:chExt cx="394575" cy="2234769"/>
                </a:xfrm>
              </p:grpSpPr>
              <p:sp>
                <p:nvSpPr>
                  <p:cNvPr id="75" name="íṩľîḋê"/>
                  <p:cNvSpPr/>
                  <p:nvPr/>
                </p:nvSpPr>
                <p:spPr>
                  <a:xfrm>
                    <a:off x="5910152" y="3324851"/>
                    <a:ext cx="355277" cy="503001"/>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91440" tIns="45720" rIns="91440" bIns="45720">
                    <a:normAutofit/>
                  </a:bodyPr>
                  <a:lstStyle>
                    <a:defPPr>
                      <a:defRPr lang="zh-CN"/>
                    </a:defPPr>
                    <a:lvl1pPr marL="0" algn="l" defTabSz="914400" rtl="0" eaLnBrk="1" latinLnBrk="0" hangingPunct="1">
                      <a:defRPr sz="1800" kern="1200">
                        <a:solidFill>
                          <a:schemeClr val="dk1">
                            <a:hueOff val="0"/>
                            <a:satOff val="0"/>
                            <a:lumOff val="0"/>
                            <a:alphaOff val="0"/>
                          </a:schemeClr>
                        </a:solidFill>
                      </a:defRPr>
                    </a:lvl1pPr>
                    <a:lvl2pPr marL="457200" algn="l" defTabSz="914400" rtl="0" eaLnBrk="1" latinLnBrk="0" hangingPunct="1">
                      <a:defRPr sz="1800" kern="1200">
                        <a:solidFill>
                          <a:schemeClr val="dk1">
                            <a:hueOff val="0"/>
                            <a:satOff val="0"/>
                            <a:lumOff val="0"/>
                            <a:alphaOff val="0"/>
                          </a:schemeClr>
                        </a:solidFill>
                      </a:defRPr>
                    </a:lvl2pPr>
                    <a:lvl3pPr marL="914400" algn="l" defTabSz="914400" rtl="0" eaLnBrk="1" latinLnBrk="0" hangingPunct="1">
                      <a:defRPr sz="1800" kern="1200">
                        <a:solidFill>
                          <a:schemeClr val="dk1">
                            <a:hueOff val="0"/>
                            <a:satOff val="0"/>
                            <a:lumOff val="0"/>
                            <a:alphaOff val="0"/>
                          </a:schemeClr>
                        </a:solidFill>
                      </a:defRPr>
                    </a:lvl3pPr>
                    <a:lvl4pPr marL="1371600" algn="l" defTabSz="914400" rtl="0" eaLnBrk="1" latinLnBrk="0" hangingPunct="1">
                      <a:defRPr sz="1800" kern="1200">
                        <a:solidFill>
                          <a:schemeClr val="dk1">
                            <a:hueOff val="0"/>
                            <a:satOff val="0"/>
                            <a:lumOff val="0"/>
                            <a:alphaOff val="0"/>
                          </a:schemeClr>
                        </a:solidFill>
                      </a:defRPr>
                    </a:lvl4pPr>
                    <a:lvl5pPr marL="1828800" algn="l" defTabSz="914400" rtl="0" eaLnBrk="1" latinLnBrk="0" hangingPunct="1">
                      <a:defRPr sz="1800" kern="1200">
                        <a:solidFill>
                          <a:schemeClr val="dk1">
                            <a:hueOff val="0"/>
                            <a:satOff val="0"/>
                            <a:lumOff val="0"/>
                            <a:alphaOff val="0"/>
                          </a:schemeClr>
                        </a:solidFill>
                      </a:defRPr>
                    </a:lvl5pPr>
                    <a:lvl6pPr marL="2286000" algn="l" defTabSz="914400" rtl="0" eaLnBrk="1" latinLnBrk="0" hangingPunct="1">
                      <a:defRPr sz="1800" kern="1200">
                        <a:solidFill>
                          <a:schemeClr val="dk1">
                            <a:hueOff val="0"/>
                            <a:satOff val="0"/>
                            <a:lumOff val="0"/>
                            <a:alphaOff val="0"/>
                          </a:schemeClr>
                        </a:solidFill>
                      </a:defRPr>
                    </a:lvl6pPr>
                    <a:lvl7pPr marL="2743200" algn="l" defTabSz="914400" rtl="0" eaLnBrk="1" latinLnBrk="0" hangingPunct="1">
                      <a:defRPr sz="1800" kern="1200">
                        <a:solidFill>
                          <a:schemeClr val="dk1">
                            <a:hueOff val="0"/>
                            <a:satOff val="0"/>
                            <a:lumOff val="0"/>
                            <a:alphaOff val="0"/>
                          </a:schemeClr>
                        </a:solidFill>
                      </a:defRPr>
                    </a:lvl7pPr>
                    <a:lvl8pPr marL="3200400" algn="l" defTabSz="914400" rtl="0" eaLnBrk="1" latinLnBrk="0" hangingPunct="1">
                      <a:defRPr sz="1800" kern="1200">
                        <a:solidFill>
                          <a:schemeClr val="dk1">
                            <a:hueOff val="0"/>
                            <a:satOff val="0"/>
                            <a:lumOff val="0"/>
                            <a:alphaOff val="0"/>
                          </a:schemeClr>
                        </a:solidFill>
                      </a:defRPr>
                    </a:lvl8pPr>
                    <a:lvl9pPr marL="3657600" algn="l" defTabSz="914400" rtl="0" eaLnBrk="1" latinLnBrk="0" hangingPunct="1">
                      <a:defRPr sz="1800" kern="1200">
                        <a:solidFill>
                          <a:schemeClr val="dk1">
                            <a:hueOff val="0"/>
                            <a:satOff val="0"/>
                            <a:lumOff val="0"/>
                            <a:alphaOff val="0"/>
                          </a:schemeClr>
                        </a:solidFill>
                      </a:defRPr>
                    </a:lvl9p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endParaRPr>
                  </a:p>
                </p:txBody>
              </p:sp>
              <p:sp>
                <p:nvSpPr>
                  <p:cNvPr id="77" name="íṩḻïḋé"/>
                  <p:cNvSpPr/>
                  <p:nvPr/>
                </p:nvSpPr>
                <p:spPr bwMode="auto">
                  <a:xfrm>
                    <a:off x="5965353" y="3393907"/>
                    <a:ext cx="339374" cy="312755"/>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vert="horz" wrap="square" lIns="91440" tIns="45720" rIns="91440" bIns="45720" numCol="1" anchor="t" anchorCtr="0" compatLnSpc="1">
                    <a:normAutofit fontScale="6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3765"/>
                    <a:endParaRPr lang="en-US">
                      <a:solidFill>
                        <a:srgbClr val="000000"/>
                      </a:solidFill>
                    </a:endParaRPr>
                  </a:p>
                </p:txBody>
              </p:sp>
              <p:sp>
                <p:nvSpPr>
                  <p:cNvPr id="138" name="íṩḻïḋé"/>
                  <p:cNvSpPr/>
                  <p:nvPr/>
                </p:nvSpPr>
                <p:spPr bwMode="auto">
                  <a:xfrm>
                    <a:off x="5926056" y="2447842"/>
                    <a:ext cx="339374" cy="312754"/>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vert="horz" wrap="square" lIns="91440" tIns="45720" rIns="91440" bIns="45720" numCol="1" anchor="t" anchorCtr="0" compatLnSpc="1">
                    <a:normAutofit fontScale="6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3765"/>
                    <a:endParaRPr lang="en-US">
                      <a:solidFill>
                        <a:srgbClr val="000000"/>
                      </a:solidFill>
                    </a:endParaRPr>
                  </a:p>
                </p:txBody>
              </p:sp>
              <p:sp>
                <p:nvSpPr>
                  <p:cNvPr id="143" name="íṩľîḋê"/>
                  <p:cNvSpPr/>
                  <p:nvPr/>
                </p:nvSpPr>
                <p:spPr>
                  <a:xfrm>
                    <a:off x="5939849" y="4179610"/>
                    <a:ext cx="355278" cy="503001"/>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91440" tIns="45720" rIns="91440" bIns="45720">
                    <a:normAutofit/>
                  </a:bodyPr>
                  <a:lstStyle>
                    <a:defPPr>
                      <a:defRPr lang="zh-CN"/>
                    </a:defPPr>
                    <a:lvl1pPr marL="0" algn="l" defTabSz="914400" rtl="0" eaLnBrk="1" latinLnBrk="0" hangingPunct="1">
                      <a:defRPr sz="1800" kern="1200">
                        <a:solidFill>
                          <a:schemeClr val="dk1">
                            <a:hueOff val="0"/>
                            <a:satOff val="0"/>
                            <a:lumOff val="0"/>
                            <a:alphaOff val="0"/>
                          </a:schemeClr>
                        </a:solidFill>
                      </a:defRPr>
                    </a:lvl1pPr>
                    <a:lvl2pPr marL="457200" algn="l" defTabSz="914400" rtl="0" eaLnBrk="1" latinLnBrk="0" hangingPunct="1">
                      <a:defRPr sz="1800" kern="1200">
                        <a:solidFill>
                          <a:schemeClr val="dk1">
                            <a:hueOff val="0"/>
                            <a:satOff val="0"/>
                            <a:lumOff val="0"/>
                            <a:alphaOff val="0"/>
                          </a:schemeClr>
                        </a:solidFill>
                      </a:defRPr>
                    </a:lvl2pPr>
                    <a:lvl3pPr marL="914400" algn="l" defTabSz="914400" rtl="0" eaLnBrk="1" latinLnBrk="0" hangingPunct="1">
                      <a:defRPr sz="1800" kern="1200">
                        <a:solidFill>
                          <a:schemeClr val="dk1">
                            <a:hueOff val="0"/>
                            <a:satOff val="0"/>
                            <a:lumOff val="0"/>
                            <a:alphaOff val="0"/>
                          </a:schemeClr>
                        </a:solidFill>
                      </a:defRPr>
                    </a:lvl3pPr>
                    <a:lvl4pPr marL="1371600" algn="l" defTabSz="914400" rtl="0" eaLnBrk="1" latinLnBrk="0" hangingPunct="1">
                      <a:defRPr sz="1800" kern="1200">
                        <a:solidFill>
                          <a:schemeClr val="dk1">
                            <a:hueOff val="0"/>
                            <a:satOff val="0"/>
                            <a:lumOff val="0"/>
                            <a:alphaOff val="0"/>
                          </a:schemeClr>
                        </a:solidFill>
                      </a:defRPr>
                    </a:lvl4pPr>
                    <a:lvl5pPr marL="1828800" algn="l" defTabSz="914400" rtl="0" eaLnBrk="1" latinLnBrk="0" hangingPunct="1">
                      <a:defRPr sz="1800" kern="1200">
                        <a:solidFill>
                          <a:schemeClr val="dk1">
                            <a:hueOff val="0"/>
                            <a:satOff val="0"/>
                            <a:lumOff val="0"/>
                            <a:alphaOff val="0"/>
                          </a:schemeClr>
                        </a:solidFill>
                      </a:defRPr>
                    </a:lvl5pPr>
                    <a:lvl6pPr marL="2286000" algn="l" defTabSz="914400" rtl="0" eaLnBrk="1" latinLnBrk="0" hangingPunct="1">
                      <a:defRPr sz="1800" kern="1200">
                        <a:solidFill>
                          <a:schemeClr val="dk1">
                            <a:hueOff val="0"/>
                            <a:satOff val="0"/>
                            <a:lumOff val="0"/>
                            <a:alphaOff val="0"/>
                          </a:schemeClr>
                        </a:solidFill>
                      </a:defRPr>
                    </a:lvl6pPr>
                    <a:lvl7pPr marL="2743200" algn="l" defTabSz="914400" rtl="0" eaLnBrk="1" latinLnBrk="0" hangingPunct="1">
                      <a:defRPr sz="1800" kern="1200">
                        <a:solidFill>
                          <a:schemeClr val="dk1">
                            <a:hueOff val="0"/>
                            <a:satOff val="0"/>
                            <a:lumOff val="0"/>
                            <a:alphaOff val="0"/>
                          </a:schemeClr>
                        </a:solidFill>
                      </a:defRPr>
                    </a:lvl7pPr>
                    <a:lvl8pPr marL="3200400" algn="l" defTabSz="914400" rtl="0" eaLnBrk="1" latinLnBrk="0" hangingPunct="1">
                      <a:defRPr sz="1800" kern="1200">
                        <a:solidFill>
                          <a:schemeClr val="dk1">
                            <a:hueOff val="0"/>
                            <a:satOff val="0"/>
                            <a:lumOff val="0"/>
                            <a:alphaOff val="0"/>
                          </a:schemeClr>
                        </a:solidFill>
                      </a:defRPr>
                    </a:lvl8pPr>
                    <a:lvl9pPr marL="3657600" algn="l" defTabSz="914400" rtl="0" eaLnBrk="1" latinLnBrk="0" hangingPunct="1">
                      <a:defRPr sz="1800" kern="1200">
                        <a:solidFill>
                          <a:schemeClr val="dk1">
                            <a:hueOff val="0"/>
                            <a:satOff val="0"/>
                            <a:lumOff val="0"/>
                            <a:alphaOff val="0"/>
                          </a:schemeClr>
                        </a:solidFill>
                      </a:defRPr>
                    </a:lvl9p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endParaRPr>
                  </a:p>
                </p:txBody>
              </p:sp>
              <p:sp>
                <p:nvSpPr>
                  <p:cNvPr id="139" name="íṩḻïḋé"/>
                  <p:cNvSpPr/>
                  <p:nvPr/>
                </p:nvSpPr>
                <p:spPr bwMode="auto">
                  <a:xfrm>
                    <a:off x="5961565" y="4220772"/>
                    <a:ext cx="339374" cy="312755"/>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vert="horz" wrap="square" lIns="91440" tIns="45720" rIns="91440" bIns="45720" numCol="1" anchor="t" anchorCtr="0" compatLnSpc="1">
                    <a:normAutofit fontScale="6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3765"/>
                    <a:endParaRPr lang="en-US">
                      <a:solidFill>
                        <a:srgbClr val="000000"/>
                      </a:solidFill>
                    </a:endParaRPr>
                  </a:p>
                </p:txBody>
              </p:sp>
            </p:grpSp>
          </p:grpSp>
          <p:sp>
            <p:nvSpPr>
              <p:cNvPr id="71" name="íśļîḑé"/>
              <p:cNvSpPr/>
              <p:nvPr/>
            </p:nvSpPr>
            <p:spPr bwMode="auto">
              <a:xfrm flipH="1">
                <a:off x="7308416" y="3602130"/>
                <a:ext cx="4823239" cy="1064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b="1" dirty="0">
                    <a:solidFill>
                      <a:srgbClr val="002060"/>
                    </a:solidFill>
                  </a:rPr>
                  <a:t>Others (Refer to Departmental standards)</a:t>
                </a:r>
              </a:p>
            </p:txBody>
          </p:sp>
        </p:grpSp>
      </p:grpSp>
      <p:grpSp>
        <p:nvGrpSpPr>
          <p:cNvPr id="113" name="îṧlïḍé"/>
          <p:cNvGrpSpPr/>
          <p:nvPr/>
        </p:nvGrpSpPr>
        <p:grpSpPr>
          <a:xfrm>
            <a:off x="532671" y="1286629"/>
            <a:ext cx="6001081" cy="5114168"/>
            <a:chOff x="3312397" y="1139199"/>
            <a:chExt cx="6267647" cy="3560562"/>
          </a:xfrm>
        </p:grpSpPr>
        <p:sp>
          <p:nvSpPr>
            <p:cNvPr id="117" name="ïś1íḓê"/>
            <p:cNvSpPr/>
            <p:nvPr/>
          </p:nvSpPr>
          <p:spPr bwMode="auto">
            <a:xfrm>
              <a:off x="3312397" y="1139199"/>
              <a:ext cx="6267647" cy="3560562"/>
            </a:xfrm>
            <a:custGeom>
              <a:avLst/>
              <a:gdLst>
                <a:gd name="T0" fmla="*/ 41 w 688"/>
                <a:gd name="T1" fmla="*/ 0 h 413"/>
                <a:gd name="T2" fmla="*/ 646 w 688"/>
                <a:gd name="T3" fmla="*/ 0 h 413"/>
                <a:gd name="T4" fmla="*/ 688 w 688"/>
                <a:gd name="T5" fmla="*/ 35 h 413"/>
                <a:gd name="T6" fmla="*/ 688 w 688"/>
                <a:gd name="T7" fmla="*/ 378 h 413"/>
                <a:gd name="T8" fmla="*/ 646 w 688"/>
                <a:gd name="T9" fmla="*/ 413 h 413"/>
                <a:gd name="T10" fmla="*/ 41 w 688"/>
                <a:gd name="T11" fmla="*/ 413 h 413"/>
                <a:gd name="T12" fmla="*/ 0 w 688"/>
                <a:gd name="T13" fmla="*/ 378 h 413"/>
                <a:gd name="T14" fmla="*/ 0 w 688"/>
                <a:gd name="T15" fmla="*/ 35 h 413"/>
                <a:gd name="T16" fmla="*/ 41 w 688"/>
                <a:gd name="T17"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8" h="413">
                  <a:moveTo>
                    <a:pt x="41" y="0"/>
                  </a:moveTo>
                  <a:cubicBezTo>
                    <a:pt x="646" y="0"/>
                    <a:pt x="646" y="0"/>
                    <a:pt x="646" y="0"/>
                  </a:cubicBezTo>
                  <a:cubicBezTo>
                    <a:pt x="669" y="0"/>
                    <a:pt x="688" y="16"/>
                    <a:pt x="688" y="35"/>
                  </a:cubicBezTo>
                  <a:cubicBezTo>
                    <a:pt x="688" y="378"/>
                    <a:pt x="688" y="378"/>
                    <a:pt x="688" y="378"/>
                  </a:cubicBezTo>
                  <a:cubicBezTo>
                    <a:pt x="688" y="397"/>
                    <a:pt x="669" y="413"/>
                    <a:pt x="646" y="413"/>
                  </a:cubicBezTo>
                  <a:cubicBezTo>
                    <a:pt x="41" y="413"/>
                    <a:pt x="41" y="413"/>
                    <a:pt x="41" y="413"/>
                  </a:cubicBezTo>
                  <a:cubicBezTo>
                    <a:pt x="18" y="413"/>
                    <a:pt x="0" y="397"/>
                    <a:pt x="0" y="378"/>
                  </a:cubicBezTo>
                  <a:cubicBezTo>
                    <a:pt x="0" y="35"/>
                    <a:pt x="0" y="35"/>
                    <a:pt x="0" y="35"/>
                  </a:cubicBezTo>
                  <a:cubicBezTo>
                    <a:pt x="0" y="16"/>
                    <a:pt x="18" y="0"/>
                    <a:pt x="41" y="0"/>
                  </a:cubicBezTo>
                  <a:close/>
                </a:path>
              </a:pathLst>
            </a:custGeom>
            <a:solidFill>
              <a:schemeClr val="bg1">
                <a:lumMod val="95000"/>
              </a:schemeClr>
            </a:solidFill>
            <a:ln>
              <a:noFill/>
            </a:ln>
          </p:spPr>
          <p:txBody>
            <a:bodyPr vert="horz" wrap="square" lIns="91440" tIns="45720" rIns="91440" bIns="45720" numCol="1" anchor="t" anchorCtr="0" compatLnSpc="1">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1600"/>
            </a:p>
          </p:txBody>
        </p:sp>
        <p:sp>
          <p:nvSpPr>
            <p:cNvPr id="118" name="ïŝľïḓé"/>
            <p:cNvSpPr/>
            <p:nvPr/>
          </p:nvSpPr>
          <p:spPr bwMode="auto">
            <a:xfrm>
              <a:off x="3419873" y="2448132"/>
              <a:ext cx="74667" cy="812284"/>
            </a:xfrm>
            <a:custGeom>
              <a:avLst/>
              <a:gdLst>
                <a:gd name="T0" fmla="*/ 0 w 9"/>
                <a:gd name="T1" fmla="*/ 94 h 98"/>
                <a:gd name="T2" fmla="*/ 0 w 9"/>
                <a:gd name="T3" fmla="*/ 4 h 98"/>
                <a:gd name="T4" fmla="*/ 5 w 9"/>
                <a:gd name="T5" fmla="*/ 0 h 98"/>
                <a:gd name="T6" fmla="*/ 5 w 9"/>
                <a:gd name="T7" fmla="*/ 0 h 98"/>
                <a:gd name="T8" fmla="*/ 9 w 9"/>
                <a:gd name="T9" fmla="*/ 4 h 98"/>
                <a:gd name="T10" fmla="*/ 9 w 9"/>
                <a:gd name="T11" fmla="*/ 94 h 98"/>
                <a:gd name="T12" fmla="*/ 5 w 9"/>
                <a:gd name="T13" fmla="*/ 98 h 98"/>
                <a:gd name="T14" fmla="*/ 5 w 9"/>
                <a:gd name="T15" fmla="*/ 98 h 98"/>
                <a:gd name="T16" fmla="*/ 0 w 9"/>
                <a:gd name="T17" fmla="*/ 9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8">
                  <a:moveTo>
                    <a:pt x="0" y="94"/>
                  </a:moveTo>
                  <a:cubicBezTo>
                    <a:pt x="0" y="4"/>
                    <a:pt x="0" y="4"/>
                    <a:pt x="0" y="4"/>
                  </a:cubicBezTo>
                  <a:cubicBezTo>
                    <a:pt x="0" y="2"/>
                    <a:pt x="2" y="0"/>
                    <a:pt x="5" y="0"/>
                  </a:cubicBezTo>
                  <a:cubicBezTo>
                    <a:pt x="5" y="0"/>
                    <a:pt x="5" y="0"/>
                    <a:pt x="5" y="0"/>
                  </a:cubicBezTo>
                  <a:cubicBezTo>
                    <a:pt x="7" y="0"/>
                    <a:pt x="9" y="2"/>
                    <a:pt x="9" y="4"/>
                  </a:cubicBezTo>
                  <a:cubicBezTo>
                    <a:pt x="9" y="94"/>
                    <a:pt x="9" y="94"/>
                    <a:pt x="9" y="94"/>
                  </a:cubicBezTo>
                  <a:cubicBezTo>
                    <a:pt x="9" y="96"/>
                    <a:pt x="7" y="98"/>
                    <a:pt x="5" y="98"/>
                  </a:cubicBezTo>
                  <a:cubicBezTo>
                    <a:pt x="5" y="98"/>
                    <a:pt x="5" y="98"/>
                    <a:pt x="5" y="98"/>
                  </a:cubicBezTo>
                  <a:cubicBezTo>
                    <a:pt x="2" y="98"/>
                    <a:pt x="0" y="96"/>
                    <a:pt x="0" y="94"/>
                  </a:cubicBezTo>
                  <a:close/>
                </a:path>
              </a:pathLst>
            </a:custGeom>
            <a:solidFill>
              <a:schemeClr val="bg1">
                <a:lumMod val="85000"/>
              </a:schemeClr>
            </a:solidFill>
            <a:ln>
              <a:noFill/>
            </a:ln>
          </p:spPr>
          <p:txBody>
            <a:bodyPr vert="horz" wrap="square" lIns="91440" tIns="45720" rIns="91440" bIns="45720" numCol="1" anchor="t" anchorCtr="0" compatLnSpc="1">
              <a:normAutofit/>
            </a:bodyPr>
            <a:lstStyle>
              <a:defPPr>
                <a:defRPr lang="id-ID"/>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sz="1600"/>
            </a:p>
          </p:txBody>
        </p:sp>
      </p:grpSp>
      <p:grpSp>
        <p:nvGrpSpPr>
          <p:cNvPr id="114" name="iṥľïḋé"/>
          <p:cNvGrpSpPr/>
          <p:nvPr/>
        </p:nvGrpSpPr>
        <p:grpSpPr>
          <a:xfrm>
            <a:off x="1099496" y="2428417"/>
            <a:ext cx="230219" cy="295398"/>
            <a:chOff x="5438045" y="2746053"/>
            <a:chExt cx="306958" cy="280953"/>
          </a:xfrm>
        </p:grpSpPr>
        <p:sp>
          <p:nvSpPr>
            <p:cNvPr id="115" name="îSlîḓé"/>
            <p:cNvSpPr/>
            <p:nvPr/>
          </p:nvSpPr>
          <p:spPr>
            <a:xfrm>
              <a:off x="5438045" y="2746053"/>
              <a:ext cx="306958" cy="280953"/>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91440" tIns="45720" rIns="91440" bIns="45720">
              <a:noAutofit/>
            </a:bodyPr>
            <a:lstStyle>
              <a:defPPr>
                <a:defRPr lang="zh-CN"/>
              </a:defPPr>
              <a:lvl1pPr marL="0" algn="l" defTabSz="914400" rtl="0" eaLnBrk="1" latinLnBrk="0" hangingPunct="1">
                <a:defRPr sz="1800" kern="1200">
                  <a:solidFill>
                    <a:schemeClr val="dk1">
                      <a:hueOff val="0"/>
                      <a:satOff val="0"/>
                      <a:lumOff val="0"/>
                      <a:alphaOff val="0"/>
                    </a:schemeClr>
                  </a:solidFill>
                </a:defRPr>
              </a:lvl1pPr>
              <a:lvl2pPr marL="457200" algn="l" defTabSz="914400" rtl="0" eaLnBrk="1" latinLnBrk="0" hangingPunct="1">
                <a:defRPr sz="1800" kern="1200">
                  <a:solidFill>
                    <a:schemeClr val="dk1">
                      <a:hueOff val="0"/>
                      <a:satOff val="0"/>
                      <a:lumOff val="0"/>
                      <a:alphaOff val="0"/>
                    </a:schemeClr>
                  </a:solidFill>
                </a:defRPr>
              </a:lvl2pPr>
              <a:lvl3pPr marL="914400" algn="l" defTabSz="914400" rtl="0" eaLnBrk="1" latinLnBrk="0" hangingPunct="1">
                <a:defRPr sz="1800" kern="1200">
                  <a:solidFill>
                    <a:schemeClr val="dk1">
                      <a:hueOff val="0"/>
                      <a:satOff val="0"/>
                      <a:lumOff val="0"/>
                      <a:alphaOff val="0"/>
                    </a:schemeClr>
                  </a:solidFill>
                </a:defRPr>
              </a:lvl3pPr>
              <a:lvl4pPr marL="1371600" algn="l" defTabSz="914400" rtl="0" eaLnBrk="1" latinLnBrk="0" hangingPunct="1">
                <a:defRPr sz="1800" kern="1200">
                  <a:solidFill>
                    <a:schemeClr val="dk1">
                      <a:hueOff val="0"/>
                      <a:satOff val="0"/>
                      <a:lumOff val="0"/>
                      <a:alphaOff val="0"/>
                    </a:schemeClr>
                  </a:solidFill>
                </a:defRPr>
              </a:lvl4pPr>
              <a:lvl5pPr marL="1828800" algn="l" defTabSz="914400" rtl="0" eaLnBrk="1" latinLnBrk="0" hangingPunct="1">
                <a:defRPr sz="1800" kern="1200">
                  <a:solidFill>
                    <a:schemeClr val="dk1">
                      <a:hueOff val="0"/>
                      <a:satOff val="0"/>
                      <a:lumOff val="0"/>
                      <a:alphaOff val="0"/>
                    </a:schemeClr>
                  </a:solidFill>
                </a:defRPr>
              </a:lvl5pPr>
              <a:lvl6pPr marL="2286000" algn="l" defTabSz="914400" rtl="0" eaLnBrk="1" latinLnBrk="0" hangingPunct="1">
                <a:defRPr sz="1800" kern="1200">
                  <a:solidFill>
                    <a:schemeClr val="dk1">
                      <a:hueOff val="0"/>
                      <a:satOff val="0"/>
                      <a:lumOff val="0"/>
                      <a:alphaOff val="0"/>
                    </a:schemeClr>
                  </a:solidFill>
                </a:defRPr>
              </a:lvl6pPr>
              <a:lvl7pPr marL="2743200" algn="l" defTabSz="914400" rtl="0" eaLnBrk="1" latinLnBrk="0" hangingPunct="1">
                <a:defRPr sz="1800" kern="1200">
                  <a:solidFill>
                    <a:schemeClr val="dk1">
                      <a:hueOff val="0"/>
                      <a:satOff val="0"/>
                      <a:lumOff val="0"/>
                      <a:alphaOff val="0"/>
                    </a:schemeClr>
                  </a:solidFill>
                </a:defRPr>
              </a:lvl7pPr>
              <a:lvl8pPr marL="3200400" algn="l" defTabSz="914400" rtl="0" eaLnBrk="1" latinLnBrk="0" hangingPunct="1">
                <a:defRPr sz="1800" kern="1200">
                  <a:solidFill>
                    <a:schemeClr val="dk1">
                      <a:hueOff val="0"/>
                      <a:satOff val="0"/>
                      <a:lumOff val="0"/>
                      <a:alphaOff val="0"/>
                    </a:schemeClr>
                  </a:solidFill>
                </a:defRPr>
              </a:lvl8pPr>
              <a:lvl9pPr marL="3657600" algn="l" defTabSz="914400" rtl="0" eaLnBrk="1" latinLnBrk="0" hangingPunct="1">
                <a:defRPr sz="1800" kern="1200">
                  <a:solidFill>
                    <a:schemeClr val="dk1">
                      <a:hueOff val="0"/>
                      <a:satOff val="0"/>
                      <a:lumOff val="0"/>
                      <a:alphaOff val="0"/>
                    </a:schemeClr>
                  </a:solidFill>
                </a:defRPr>
              </a:lvl9p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srgbClr val="000000"/>
                </a:solidFill>
                <a:effectLst/>
                <a:uLnTx/>
                <a:uFillTx/>
              </a:endParaRPr>
            </a:p>
          </p:txBody>
        </p:sp>
        <p:sp>
          <p:nvSpPr>
            <p:cNvPr id="116" name="ï$1iďê"/>
            <p:cNvSpPr/>
            <p:nvPr/>
          </p:nvSpPr>
          <p:spPr bwMode="auto">
            <a:xfrm>
              <a:off x="5533340" y="2786671"/>
              <a:ext cx="206254" cy="211649"/>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vert="horz" wrap="square" lIns="91440" tIns="45720" rIns="91440" bIns="45720" numCol="1" anchor="t" anchorCtr="0" compatLnSpc="1">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3765"/>
              <a:endParaRPr lang="en-US" sz="2000">
                <a:solidFill>
                  <a:srgbClr val="000000"/>
                </a:solidFill>
              </a:endParaRPr>
            </a:p>
          </p:txBody>
        </p:sp>
      </p:grpSp>
      <p:sp>
        <p:nvSpPr>
          <p:cNvPr id="120" name="圆角矩形 79"/>
          <p:cNvSpPr/>
          <p:nvPr/>
        </p:nvSpPr>
        <p:spPr>
          <a:xfrm>
            <a:off x="973437" y="1695178"/>
            <a:ext cx="2636668" cy="50602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t>Required </a:t>
            </a:r>
            <a:r>
              <a:rPr lang="en-US" altLang="zh-CN" dirty="0"/>
              <a:t> </a:t>
            </a:r>
            <a:endParaRPr lang="zh-CN" altLang="en-US" dirty="0"/>
          </a:p>
        </p:txBody>
      </p:sp>
      <p:sp>
        <p:nvSpPr>
          <p:cNvPr id="121" name="矩形 120"/>
          <p:cNvSpPr/>
          <p:nvPr/>
        </p:nvSpPr>
        <p:spPr>
          <a:xfrm>
            <a:off x="1476418" y="2366129"/>
            <a:ext cx="1218603" cy="400110"/>
          </a:xfrm>
          <a:prstGeom prst="rect">
            <a:avLst/>
          </a:prstGeom>
        </p:spPr>
        <p:txBody>
          <a:bodyPr wrap="none">
            <a:spAutoFit/>
          </a:bodyPr>
          <a:lstStyle/>
          <a:p>
            <a:r>
              <a:rPr lang="en-US" altLang="zh-CN" sz="2000" b="1" dirty="0">
                <a:solidFill>
                  <a:srgbClr val="002060"/>
                </a:solidFill>
              </a:rPr>
              <a:t>ID photo</a:t>
            </a:r>
            <a:endParaRPr lang="zh-CN" altLang="en-US" sz="2000" b="1" dirty="0">
              <a:solidFill>
                <a:srgbClr val="002060"/>
              </a:solidFill>
            </a:endParaRPr>
          </a:p>
        </p:txBody>
      </p:sp>
      <p:sp>
        <p:nvSpPr>
          <p:cNvPr id="122" name="îSlîḓé"/>
          <p:cNvSpPr/>
          <p:nvPr/>
        </p:nvSpPr>
        <p:spPr>
          <a:xfrm>
            <a:off x="1108522" y="2851500"/>
            <a:ext cx="234070" cy="295398"/>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91440" tIns="45720" rIns="91440" bIns="45720">
            <a:noAutofit/>
          </a:bodyPr>
          <a:lstStyle>
            <a:defPPr>
              <a:defRPr lang="zh-CN"/>
            </a:defPPr>
            <a:lvl1pPr marL="0" algn="l" defTabSz="914400" rtl="0" eaLnBrk="1" latinLnBrk="0" hangingPunct="1">
              <a:defRPr sz="1800" kern="1200">
                <a:solidFill>
                  <a:schemeClr val="dk1">
                    <a:hueOff val="0"/>
                    <a:satOff val="0"/>
                    <a:lumOff val="0"/>
                    <a:alphaOff val="0"/>
                  </a:schemeClr>
                </a:solidFill>
              </a:defRPr>
            </a:lvl1pPr>
            <a:lvl2pPr marL="457200" algn="l" defTabSz="914400" rtl="0" eaLnBrk="1" latinLnBrk="0" hangingPunct="1">
              <a:defRPr sz="1800" kern="1200">
                <a:solidFill>
                  <a:schemeClr val="dk1">
                    <a:hueOff val="0"/>
                    <a:satOff val="0"/>
                    <a:lumOff val="0"/>
                    <a:alphaOff val="0"/>
                  </a:schemeClr>
                </a:solidFill>
              </a:defRPr>
            </a:lvl2pPr>
            <a:lvl3pPr marL="914400" algn="l" defTabSz="914400" rtl="0" eaLnBrk="1" latinLnBrk="0" hangingPunct="1">
              <a:defRPr sz="1800" kern="1200">
                <a:solidFill>
                  <a:schemeClr val="dk1">
                    <a:hueOff val="0"/>
                    <a:satOff val="0"/>
                    <a:lumOff val="0"/>
                    <a:alphaOff val="0"/>
                  </a:schemeClr>
                </a:solidFill>
              </a:defRPr>
            </a:lvl3pPr>
            <a:lvl4pPr marL="1371600" algn="l" defTabSz="914400" rtl="0" eaLnBrk="1" latinLnBrk="0" hangingPunct="1">
              <a:defRPr sz="1800" kern="1200">
                <a:solidFill>
                  <a:schemeClr val="dk1">
                    <a:hueOff val="0"/>
                    <a:satOff val="0"/>
                    <a:lumOff val="0"/>
                    <a:alphaOff val="0"/>
                  </a:schemeClr>
                </a:solidFill>
              </a:defRPr>
            </a:lvl4pPr>
            <a:lvl5pPr marL="1828800" algn="l" defTabSz="914400" rtl="0" eaLnBrk="1" latinLnBrk="0" hangingPunct="1">
              <a:defRPr sz="1800" kern="1200">
                <a:solidFill>
                  <a:schemeClr val="dk1">
                    <a:hueOff val="0"/>
                    <a:satOff val="0"/>
                    <a:lumOff val="0"/>
                    <a:alphaOff val="0"/>
                  </a:schemeClr>
                </a:solidFill>
              </a:defRPr>
            </a:lvl5pPr>
            <a:lvl6pPr marL="2286000" algn="l" defTabSz="914400" rtl="0" eaLnBrk="1" latinLnBrk="0" hangingPunct="1">
              <a:defRPr sz="1800" kern="1200">
                <a:solidFill>
                  <a:schemeClr val="dk1">
                    <a:hueOff val="0"/>
                    <a:satOff val="0"/>
                    <a:lumOff val="0"/>
                    <a:alphaOff val="0"/>
                  </a:schemeClr>
                </a:solidFill>
              </a:defRPr>
            </a:lvl6pPr>
            <a:lvl7pPr marL="2743200" algn="l" defTabSz="914400" rtl="0" eaLnBrk="1" latinLnBrk="0" hangingPunct="1">
              <a:defRPr sz="1800" kern="1200">
                <a:solidFill>
                  <a:schemeClr val="dk1">
                    <a:hueOff val="0"/>
                    <a:satOff val="0"/>
                    <a:lumOff val="0"/>
                    <a:alphaOff val="0"/>
                  </a:schemeClr>
                </a:solidFill>
              </a:defRPr>
            </a:lvl7pPr>
            <a:lvl8pPr marL="3200400" algn="l" defTabSz="914400" rtl="0" eaLnBrk="1" latinLnBrk="0" hangingPunct="1">
              <a:defRPr sz="1800" kern="1200">
                <a:solidFill>
                  <a:schemeClr val="dk1">
                    <a:hueOff val="0"/>
                    <a:satOff val="0"/>
                    <a:lumOff val="0"/>
                    <a:alphaOff val="0"/>
                  </a:schemeClr>
                </a:solidFill>
              </a:defRPr>
            </a:lvl8pPr>
            <a:lvl9pPr marL="3657600" algn="l" defTabSz="914400" rtl="0" eaLnBrk="1" latinLnBrk="0" hangingPunct="1">
              <a:defRPr sz="1800" kern="1200">
                <a:solidFill>
                  <a:schemeClr val="dk1">
                    <a:hueOff val="0"/>
                    <a:satOff val="0"/>
                    <a:lumOff val="0"/>
                    <a:alphaOff val="0"/>
                  </a:schemeClr>
                </a:solidFill>
              </a:defRPr>
            </a:lvl9p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srgbClr val="000000"/>
              </a:solidFill>
              <a:effectLst/>
              <a:uLnTx/>
              <a:uFillTx/>
            </a:endParaRPr>
          </a:p>
        </p:txBody>
      </p:sp>
      <p:sp>
        <p:nvSpPr>
          <p:cNvPr id="123" name="ï$1iďê"/>
          <p:cNvSpPr/>
          <p:nvPr/>
        </p:nvSpPr>
        <p:spPr bwMode="auto">
          <a:xfrm>
            <a:off x="1149448" y="2887933"/>
            <a:ext cx="154690" cy="222531"/>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vert="horz" wrap="square" lIns="91440" tIns="45720" rIns="91440" bIns="45720" numCol="1" anchor="t" anchorCtr="0" compatLnSpc="1">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3765"/>
            <a:endParaRPr lang="en-US" sz="2000">
              <a:solidFill>
                <a:srgbClr val="000000"/>
              </a:solidFill>
            </a:endParaRPr>
          </a:p>
        </p:txBody>
      </p:sp>
      <p:sp>
        <p:nvSpPr>
          <p:cNvPr id="124" name="矩形 123"/>
          <p:cNvSpPr/>
          <p:nvPr/>
        </p:nvSpPr>
        <p:spPr>
          <a:xfrm>
            <a:off x="1474847" y="2802497"/>
            <a:ext cx="1814920" cy="400110"/>
          </a:xfrm>
          <a:prstGeom prst="rect">
            <a:avLst/>
          </a:prstGeom>
        </p:spPr>
        <p:txBody>
          <a:bodyPr wrap="none">
            <a:spAutoFit/>
          </a:bodyPr>
          <a:lstStyle/>
          <a:p>
            <a:r>
              <a:rPr lang="en-US" altLang="zh-CN" sz="2000" b="1" dirty="0">
                <a:solidFill>
                  <a:srgbClr val="002060"/>
                </a:solidFill>
              </a:rPr>
              <a:t>Passport copy</a:t>
            </a:r>
            <a:endParaRPr lang="zh-CN" altLang="en-US" sz="2000" b="1" dirty="0">
              <a:solidFill>
                <a:srgbClr val="002060"/>
              </a:solidFill>
            </a:endParaRPr>
          </a:p>
        </p:txBody>
      </p:sp>
      <p:sp>
        <p:nvSpPr>
          <p:cNvPr id="125" name="îSlîḓé"/>
          <p:cNvSpPr/>
          <p:nvPr/>
        </p:nvSpPr>
        <p:spPr>
          <a:xfrm>
            <a:off x="1100729" y="3271315"/>
            <a:ext cx="210871" cy="295398"/>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91440" tIns="45720" rIns="91440" bIns="45720">
            <a:noAutofit/>
          </a:bodyPr>
          <a:lstStyle>
            <a:defPPr>
              <a:defRPr lang="zh-CN"/>
            </a:defPPr>
            <a:lvl1pPr marL="0" algn="l" defTabSz="914400" rtl="0" eaLnBrk="1" latinLnBrk="0" hangingPunct="1">
              <a:defRPr sz="1800" kern="1200">
                <a:solidFill>
                  <a:schemeClr val="dk1">
                    <a:hueOff val="0"/>
                    <a:satOff val="0"/>
                    <a:lumOff val="0"/>
                    <a:alphaOff val="0"/>
                  </a:schemeClr>
                </a:solidFill>
              </a:defRPr>
            </a:lvl1pPr>
            <a:lvl2pPr marL="457200" algn="l" defTabSz="914400" rtl="0" eaLnBrk="1" latinLnBrk="0" hangingPunct="1">
              <a:defRPr sz="1800" kern="1200">
                <a:solidFill>
                  <a:schemeClr val="dk1">
                    <a:hueOff val="0"/>
                    <a:satOff val="0"/>
                    <a:lumOff val="0"/>
                    <a:alphaOff val="0"/>
                  </a:schemeClr>
                </a:solidFill>
              </a:defRPr>
            </a:lvl2pPr>
            <a:lvl3pPr marL="914400" algn="l" defTabSz="914400" rtl="0" eaLnBrk="1" latinLnBrk="0" hangingPunct="1">
              <a:defRPr sz="1800" kern="1200">
                <a:solidFill>
                  <a:schemeClr val="dk1">
                    <a:hueOff val="0"/>
                    <a:satOff val="0"/>
                    <a:lumOff val="0"/>
                    <a:alphaOff val="0"/>
                  </a:schemeClr>
                </a:solidFill>
              </a:defRPr>
            </a:lvl3pPr>
            <a:lvl4pPr marL="1371600" algn="l" defTabSz="914400" rtl="0" eaLnBrk="1" latinLnBrk="0" hangingPunct="1">
              <a:defRPr sz="1800" kern="1200">
                <a:solidFill>
                  <a:schemeClr val="dk1">
                    <a:hueOff val="0"/>
                    <a:satOff val="0"/>
                    <a:lumOff val="0"/>
                    <a:alphaOff val="0"/>
                  </a:schemeClr>
                </a:solidFill>
              </a:defRPr>
            </a:lvl4pPr>
            <a:lvl5pPr marL="1828800" algn="l" defTabSz="914400" rtl="0" eaLnBrk="1" latinLnBrk="0" hangingPunct="1">
              <a:defRPr sz="1800" kern="1200">
                <a:solidFill>
                  <a:schemeClr val="dk1">
                    <a:hueOff val="0"/>
                    <a:satOff val="0"/>
                    <a:lumOff val="0"/>
                    <a:alphaOff val="0"/>
                  </a:schemeClr>
                </a:solidFill>
              </a:defRPr>
            </a:lvl5pPr>
            <a:lvl6pPr marL="2286000" algn="l" defTabSz="914400" rtl="0" eaLnBrk="1" latinLnBrk="0" hangingPunct="1">
              <a:defRPr sz="1800" kern="1200">
                <a:solidFill>
                  <a:schemeClr val="dk1">
                    <a:hueOff val="0"/>
                    <a:satOff val="0"/>
                    <a:lumOff val="0"/>
                    <a:alphaOff val="0"/>
                  </a:schemeClr>
                </a:solidFill>
              </a:defRPr>
            </a:lvl6pPr>
            <a:lvl7pPr marL="2743200" algn="l" defTabSz="914400" rtl="0" eaLnBrk="1" latinLnBrk="0" hangingPunct="1">
              <a:defRPr sz="1800" kern="1200">
                <a:solidFill>
                  <a:schemeClr val="dk1">
                    <a:hueOff val="0"/>
                    <a:satOff val="0"/>
                    <a:lumOff val="0"/>
                    <a:alphaOff val="0"/>
                  </a:schemeClr>
                </a:solidFill>
              </a:defRPr>
            </a:lvl7pPr>
            <a:lvl8pPr marL="3200400" algn="l" defTabSz="914400" rtl="0" eaLnBrk="1" latinLnBrk="0" hangingPunct="1">
              <a:defRPr sz="1800" kern="1200">
                <a:solidFill>
                  <a:schemeClr val="dk1">
                    <a:hueOff val="0"/>
                    <a:satOff val="0"/>
                    <a:lumOff val="0"/>
                    <a:alphaOff val="0"/>
                  </a:schemeClr>
                </a:solidFill>
              </a:defRPr>
            </a:lvl8pPr>
            <a:lvl9pPr marL="3657600" algn="l" defTabSz="914400" rtl="0" eaLnBrk="1" latinLnBrk="0" hangingPunct="1">
              <a:defRPr sz="1800" kern="1200">
                <a:solidFill>
                  <a:schemeClr val="dk1">
                    <a:hueOff val="0"/>
                    <a:satOff val="0"/>
                    <a:lumOff val="0"/>
                    <a:alphaOff val="0"/>
                  </a:schemeClr>
                </a:solidFill>
              </a:defRPr>
            </a:lvl9p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srgbClr val="000000"/>
              </a:solidFill>
              <a:effectLst/>
              <a:uLnTx/>
              <a:uFillTx/>
            </a:endParaRPr>
          </a:p>
        </p:txBody>
      </p:sp>
      <p:sp>
        <p:nvSpPr>
          <p:cNvPr id="126" name="ï$1iďê"/>
          <p:cNvSpPr/>
          <p:nvPr/>
        </p:nvSpPr>
        <p:spPr bwMode="auto">
          <a:xfrm>
            <a:off x="1123742" y="3344182"/>
            <a:ext cx="182781" cy="222531"/>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vert="horz" wrap="square" lIns="91440" tIns="45720" rIns="91440" bIns="45720" numCol="1" anchor="t" anchorCtr="0" compatLnSpc="1">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3765"/>
            <a:endParaRPr lang="en-US" sz="2000">
              <a:solidFill>
                <a:srgbClr val="000000"/>
              </a:solidFill>
            </a:endParaRPr>
          </a:p>
        </p:txBody>
      </p:sp>
      <p:sp>
        <p:nvSpPr>
          <p:cNvPr id="127" name="矩形 126"/>
          <p:cNvSpPr/>
          <p:nvPr/>
        </p:nvSpPr>
        <p:spPr>
          <a:xfrm>
            <a:off x="1446646" y="4092373"/>
            <a:ext cx="4491360" cy="707886"/>
          </a:xfrm>
          <a:prstGeom prst="rect">
            <a:avLst/>
          </a:prstGeom>
        </p:spPr>
        <p:txBody>
          <a:bodyPr wrap="square">
            <a:spAutoFit/>
          </a:bodyPr>
          <a:lstStyle/>
          <a:p>
            <a:r>
              <a:rPr lang="en-US" altLang="zh-CN" sz="2000" b="1" dirty="0">
                <a:solidFill>
                  <a:srgbClr val="002060"/>
                </a:solidFill>
              </a:rPr>
              <a:t>Highest Degree Certificate </a:t>
            </a:r>
          </a:p>
          <a:p>
            <a:r>
              <a:rPr lang="en-US" altLang="zh-CN" sz="2000" b="1" dirty="0">
                <a:solidFill>
                  <a:srgbClr val="002060"/>
                </a:solidFill>
              </a:rPr>
              <a:t>&amp; Official Transcripts</a:t>
            </a:r>
            <a:endParaRPr lang="zh-CN" altLang="en-US" sz="2000" b="1" dirty="0">
              <a:solidFill>
                <a:srgbClr val="002060"/>
              </a:solidFill>
            </a:endParaRPr>
          </a:p>
        </p:txBody>
      </p:sp>
      <p:sp>
        <p:nvSpPr>
          <p:cNvPr id="128" name="îSlîḓé"/>
          <p:cNvSpPr/>
          <p:nvPr/>
        </p:nvSpPr>
        <p:spPr>
          <a:xfrm>
            <a:off x="1064310" y="3760066"/>
            <a:ext cx="210871" cy="295398"/>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91440" tIns="45720" rIns="91440" bIns="45720">
            <a:noAutofit/>
          </a:bodyPr>
          <a:lstStyle>
            <a:defPPr>
              <a:defRPr lang="zh-CN"/>
            </a:defPPr>
            <a:lvl1pPr marL="0" algn="l" defTabSz="914400" rtl="0" eaLnBrk="1" latinLnBrk="0" hangingPunct="1">
              <a:defRPr sz="1800" kern="1200">
                <a:solidFill>
                  <a:schemeClr val="dk1">
                    <a:hueOff val="0"/>
                    <a:satOff val="0"/>
                    <a:lumOff val="0"/>
                    <a:alphaOff val="0"/>
                  </a:schemeClr>
                </a:solidFill>
              </a:defRPr>
            </a:lvl1pPr>
            <a:lvl2pPr marL="457200" algn="l" defTabSz="914400" rtl="0" eaLnBrk="1" latinLnBrk="0" hangingPunct="1">
              <a:defRPr sz="1800" kern="1200">
                <a:solidFill>
                  <a:schemeClr val="dk1">
                    <a:hueOff val="0"/>
                    <a:satOff val="0"/>
                    <a:lumOff val="0"/>
                    <a:alphaOff val="0"/>
                  </a:schemeClr>
                </a:solidFill>
              </a:defRPr>
            </a:lvl2pPr>
            <a:lvl3pPr marL="914400" algn="l" defTabSz="914400" rtl="0" eaLnBrk="1" latinLnBrk="0" hangingPunct="1">
              <a:defRPr sz="1800" kern="1200">
                <a:solidFill>
                  <a:schemeClr val="dk1">
                    <a:hueOff val="0"/>
                    <a:satOff val="0"/>
                    <a:lumOff val="0"/>
                    <a:alphaOff val="0"/>
                  </a:schemeClr>
                </a:solidFill>
              </a:defRPr>
            </a:lvl3pPr>
            <a:lvl4pPr marL="1371600" algn="l" defTabSz="914400" rtl="0" eaLnBrk="1" latinLnBrk="0" hangingPunct="1">
              <a:defRPr sz="1800" kern="1200">
                <a:solidFill>
                  <a:schemeClr val="dk1">
                    <a:hueOff val="0"/>
                    <a:satOff val="0"/>
                    <a:lumOff val="0"/>
                    <a:alphaOff val="0"/>
                  </a:schemeClr>
                </a:solidFill>
              </a:defRPr>
            </a:lvl4pPr>
            <a:lvl5pPr marL="1828800" algn="l" defTabSz="914400" rtl="0" eaLnBrk="1" latinLnBrk="0" hangingPunct="1">
              <a:defRPr sz="1800" kern="1200">
                <a:solidFill>
                  <a:schemeClr val="dk1">
                    <a:hueOff val="0"/>
                    <a:satOff val="0"/>
                    <a:lumOff val="0"/>
                    <a:alphaOff val="0"/>
                  </a:schemeClr>
                </a:solidFill>
              </a:defRPr>
            </a:lvl5pPr>
            <a:lvl6pPr marL="2286000" algn="l" defTabSz="914400" rtl="0" eaLnBrk="1" latinLnBrk="0" hangingPunct="1">
              <a:defRPr sz="1800" kern="1200">
                <a:solidFill>
                  <a:schemeClr val="dk1">
                    <a:hueOff val="0"/>
                    <a:satOff val="0"/>
                    <a:lumOff val="0"/>
                    <a:alphaOff val="0"/>
                  </a:schemeClr>
                </a:solidFill>
              </a:defRPr>
            </a:lvl6pPr>
            <a:lvl7pPr marL="2743200" algn="l" defTabSz="914400" rtl="0" eaLnBrk="1" latinLnBrk="0" hangingPunct="1">
              <a:defRPr sz="1800" kern="1200">
                <a:solidFill>
                  <a:schemeClr val="dk1">
                    <a:hueOff val="0"/>
                    <a:satOff val="0"/>
                    <a:lumOff val="0"/>
                    <a:alphaOff val="0"/>
                  </a:schemeClr>
                </a:solidFill>
              </a:defRPr>
            </a:lvl7pPr>
            <a:lvl8pPr marL="3200400" algn="l" defTabSz="914400" rtl="0" eaLnBrk="1" latinLnBrk="0" hangingPunct="1">
              <a:defRPr sz="1800" kern="1200">
                <a:solidFill>
                  <a:schemeClr val="dk1">
                    <a:hueOff val="0"/>
                    <a:satOff val="0"/>
                    <a:lumOff val="0"/>
                    <a:alphaOff val="0"/>
                  </a:schemeClr>
                </a:solidFill>
              </a:defRPr>
            </a:lvl8pPr>
            <a:lvl9pPr marL="3657600" algn="l" defTabSz="914400" rtl="0" eaLnBrk="1" latinLnBrk="0" hangingPunct="1">
              <a:defRPr sz="1800" kern="1200">
                <a:solidFill>
                  <a:schemeClr val="dk1">
                    <a:hueOff val="0"/>
                    <a:satOff val="0"/>
                    <a:lumOff val="0"/>
                    <a:alphaOff val="0"/>
                  </a:schemeClr>
                </a:solidFill>
              </a:defRPr>
            </a:lvl9p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srgbClr val="000000"/>
              </a:solidFill>
              <a:effectLst/>
              <a:uLnTx/>
              <a:uFillTx/>
            </a:endParaRPr>
          </a:p>
        </p:txBody>
      </p:sp>
      <p:sp>
        <p:nvSpPr>
          <p:cNvPr id="129" name="ï$1iďê"/>
          <p:cNvSpPr/>
          <p:nvPr/>
        </p:nvSpPr>
        <p:spPr bwMode="auto">
          <a:xfrm>
            <a:off x="1094870" y="3787813"/>
            <a:ext cx="154690" cy="222531"/>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vert="horz" wrap="square" lIns="91440" tIns="45720" rIns="91440" bIns="45720" numCol="1" anchor="t" anchorCtr="0" compatLnSpc="1">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3765"/>
            <a:endParaRPr lang="en-US" sz="2000">
              <a:solidFill>
                <a:srgbClr val="000000"/>
              </a:solidFill>
            </a:endParaRPr>
          </a:p>
        </p:txBody>
      </p:sp>
      <p:sp>
        <p:nvSpPr>
          <p:cNvPr id="130" name="矩形 129"/>
          <p:cNvSpPr/>
          <p:nvPr/>
        </p:nvSpPr>
        <p:spPr>
          <a:xfrm>
            <a:off x="1443514" y="3664741"/>
            <a:ext cx="5309636" cy="400110"/>
          </a:xfrm>
          <a:prstGeom prst="rect">
            <a:avLst/>
          </a:prstGeom>
        </p:spPr>
        <p:txBody>
          <a:bodyPr wrap="square">
            <a:spAutoFit/>
          </a:bodyPr>
          <a:lstStyle/>
          <a:p>
            <a:r>
              <a:rPr lang="en-US" altLang="zh-CN" sz="2000" b="1" dirty="0">
                <a:solidFill>
                  <a:srgbClr val="002060"/>
                </a:solidFill>
              </a:rPr>
              <a:t>2 Recommendation Letters (postgraduate)</a:t>
            </a:r>
            <a:endParaRPr lang="zh-CN" altLang="en-US" sz="2000" b="1" dirty="0">
              <a:solidFill>
                <a:srgbClr val="002060"/>
              </a:solidFill>
            </a:endParaRPr>
          </a:p>
        </p:txBody>
      </p:sp>
      <p:sp>
        <p:nvSpPr>
          <p:cNvPr id="131" name="îSlîḓé"/>
          <p:cNvSpPr/>
          <p:nvPr/>
        </p:nvSpPr>
        <p:spPr>
          <a:xfrm>
            <a:off x="1077148" y="4277836"/>
            <a:ext cx="210871" cy="295398"/>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91440" tIns="45720" rIns="91440" bIns="45720">
            <a:noAutofit/>
          </a:bodyPr>
          <a:lstStyle>
            <a:defPPr>
              <a:defRPr lang="zh-CN"/>
            </a:defPPr>
            <a:lvl1pPr marL="0" algn="l" defTabSz="914400" rtl="0" eaLnBrk="1" latinLnBrk="0" hangingPunct="1">
              <a:defRPr sz="1800" kern="1200">
                <a:solidFill>
                  <a:schemeClr val="dk1">
                    <a:hueOff val="0"/>
                    <a:satOff val="0"/>
                    <a:lumOff val="0"/>
                    <a:alphaOff val="0"/>
                  </a:schemeClr>
                </a:solidFill>
              </a:defRPr>
            </a:lvl1pPr>
            <a:lvl2pPr marL="457200" algn="l" defTabSz="914400" rtl="0" eaLnBrk="1" latinLnBrk="0" hangingPunct="1">
              <a:defRPr sz="1800" kern="1200">
                <a:solidFill>
                  <a:schemeClr val="dk1">
                    <a:hueOff val="0"/>
                    <a:satOff val="0"/>
                    <a:lumOff val="0"/>
                    <a:alphaOff val="0"/>
                  </a:schemeClr>
                </a:solidFill>
              </a:defRPr>
            </a:lvl2pPr>
            <a:lvl3pPr marL="914400" algn="l" defTabSz="914400" rtl="0" eaLnBrk="1" latinLnBrk="0" hangingPunct="1">
              <a:defRPr sz="1800" kern="1200">
                <a:solidFill>
                  <a:schemeClr val="dk1">
                    <a:hueOff val="0"/>
                    <a:satOff val="0"/>
                    <a:lumOff val="0"/>
                    <a:alphaOff val="0"/>
                  </a:schemeClr>
                </a:solidFill>
              </a:defRPr>
            </a:lvl3pPr>
            <a:lvl4pPr marL="1371600" algn="l" defTabSz="914400" rtl="0" eaLnBrk="1" latinLnBrk="0" hangingPunct="1">
              <a:defRPr sz="1800" kern="1200">
                <a:solidFill>
                  <a:schemeClr val="dk1">
                    <a:hueOff val="0"/>
                    <a:satOff val="0"/>
                    <a:lumOff val="0"/>
                    <a:alphaOff val="0"/>
                  </a:schemeClr>
                </a:solidFill>
              </a:defRPr>
            </a:lvl4pPr>
            <a:lvl5pPr marL="1828800" algn="l" defTabSz="914400" rtl="0" eaLnBrk="1" latinLnBrk="0" hangingPunct="1">
              <a:defRPr sz="1800" kern="1200">
                <a:solidFill>
                  <a:schemeClr val="dk1">
                    <a:hueOff val="0"/>
                    <a:satOff val="0"/>
                    <a:lumOff val="0"/>
                    <a:alphaOff val="0"/>
                  </a:schemeClr>
                </a:solidFill>
              </a:defRPr>
            </a:lvl5pPr>
            <a:lvl6pPr marL="2286000" algn="l" defTabSz="914400" rtl="0" eaLnBrk="1" latinLnBrk="0" hangingPunct="1">
              <a:defRPr sz="1800" kern="1200">
                <a:solidFill>
                  <a:schemeClr val="dk1">
                    <a:hueOff val="0"/>
                    <a:satOff val="0"/>
                    <a:lumOff val="0"/>
                    <a:alphaOff val="0"/>
                  </a:schemeClr>
                </a:solidFill>
              </a:defRPr>
            </a:lvl6pPr>
            <a:lvl7pPr marL="2743200" algn="l" defTabSz="914400" rtl="0" eaLnBrk="1" latinLnBrk="0" hangingPunct="1">
              <a:defRPr sz="1800" kern="1200">
                <a:solidFill>
                  <a:schemeClr val="dk1">
                    <a:hueOff val="0"/>
                    <a:satOff val="0"/>
                    <a:lumOff val="0"/>
                    <a:alphaOff val="0"/>
                  </a:schemeClr>
                </a:solidFill>
              </a:defRPr>
            </a:lvl7pPr>
            <a:lvl8pPr marL="3200400" algn="l" defTabSz="914400" rtl="0" eaLnBrk="1" latinLnBrk="0" hangingPunct="1">
              <a:defRPr sz="1800" kern="1200">
                <a:solidFill>
                  <a:schemeClr val="dk1">
                    <a:hueOff val="0"/>
                    <a:satOff val="0"/>
                    <a:lumOff val="0"/>
                    <a:alphaOff val="0"/>
                  </a:schemeClr>
                </a:solidFill>
              </a:defRPr>
            </a:lvl8pPr>
            <a:lvl9pPr marL="3657600" algn="l" defTabSz="914400" rtl="0" eaLnBrk="1" latinLnBrk="0" hangingPunct="1">
              <a:defRPr sz="1800" kern="1200">
                <a:solidFill>
                  <a:schemeClr val="dk1">
                    <a:hueOff val="0"/>
                    <a:satOff val="0"/>
                    <a:lumOff val="0"/>
                    <a:alphaOff val="0"/>
                  </a:schemeClr>
                </a:solidFill>
              </a:defRPr>
            </a:lvl9p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srgbClr val="000000"/>
              </a:solidFill>
              <a:effectLst/>
              <a:uLnTx/>
              <a:uFillTx/>
            </a:endParaRPr>
          </a:p>
        </p:txBody>
      </p:sp>
      <p:sp>
        <p:nvSpPr>
          <p:cNvPr id="132" name="ï$1iďê"/>
          <p:cNvSpPr/>
          <p:nvPr/>
        </p:nvSpPr>
        <p:spPr bwMode="auto">
          <a:xfrm>
            <a:off x="1095775" y="4314269"/>
            <a:ext cx="154690" cy="222531"/>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vert="horz" wrap="square" lIns="91440" tIns="45720" rIns="91440" bIns="45720" numCol="1" anchor="t" anchorCtr="0" compatLnSpc="1">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3765"/>
            <a:endParaRPr lang="en-US" sz="2000">
              <a:solidFill>
                <a:srgbClr val="000000"/>
              </a:solidFill>
            </a:endParaRPr>
          </a:p>
        </p:txBody>
      </p:sp>
      <p:sp>
        <p:nvSpPr>
          <p:cNvPr id="133" name="矩形 132"/>
          <p:cNvSpPr/>
          <p:nvPr/>
        </p:nvSpPr>
        <p:spPr>
          <a:xfrm>
            <a:off x="1481338" y="3245422"/>
            <a:ext cx="1531188" cy="400110"/>
          </a:xfrm>
          <a:prstGeom prst="rect">
            <a:avLst/>
          </a:prstGeom>
        </p:spPr>
        <p:txBody>
          <a:bodyPr wrap="none">
            <a:spAutoFit/>
          </a:bodyPr>
          <a:lstStyle/>
          <a:p>
            <a:r>
              <a:rPr lang="en-US" altLang="zh-CN" sz="2000" b="1" dirty="0">
                <a:solidFill>
                  <a:srgbClr val="002060"/>
                </a:solidFill>
              </a:rPr>
              <a:t>Selfie video</a:t>
            </a:r>
            <a:endParaRPr lang="zh-CN" altLang="en-US" sz="2000" b="1" dirty="0">
              <a:solidFill>
                <a:srgbClr val="002060"/>
              </a:solidFill>
            </a:endParaRPr>
          </a:p>
        </p:txBody>
      </p:sp>
      <p:sp>
        <p:nvSpPr>
          <p:cNvPr id="134" name="圆角矩形 94"/>
          <p:cNvSpPr/>
          <p:nvPr/>
        </p:nvSpPr>
        <p:spPr>
          <a:xfrm>
            <a:off x="7312246" y="1676700"/>
            <a:ext cx="2636668" cy="50602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t>Supporting </a:t>
            </a:r>
            <a:endParaRPr lang="zh-CN" altLang="en-US" sz="2800" b="1" dirty="0"/>
          </a:p>
        </p:txBody>
      </p:sp>
      <p:sp>
        <p:nvSpPr>
          <p:cNvPr id="135" name="îSlîḓé"/>
          <p:cNvSpPr/>
          <p:nvPr/>
        </p:nvSpPr>
        <p:spPr>
          <a:xfrm>
            <a:off x="1084340" y="4869951"/>
            <a:ext cx="210871" cy="295398"/>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91440" tIns="45720" rIns="91440" bIns="45720">
            <a:noAutofit/>
          </a:bodyPr>
          <a:lstStyle>
            <a:defPPr>
              <a:defRPr lang="zh-CN"/>
            </a:defPPr>
            <a:lvl1pPr marL="0" algn="l" defTabSz="914400" rtl="0" eaLnBrk="1" latinLnBrk="0" hangingPunct="1">
              <a:defRPr sz="1800" kern="1200">
                <a:solidFill>
                  <a:schemeClr val="dk1">
                    <a:hueOff val="0"/>
                    <a:satOff val="0"/>
                    <a:lumOff val="0"/>
                    <a:alphaOff val="0"/>
                  </a:schemeClr>
                </a:solidFill>
              </a:defRPr>
            </a:lvl1pPr>
            <a:lvl2pPr marL="457200" algn="l" defTabSz="914400" rtl="0" eaLnBrk="1" latinLnBrk="0" hangingPunct="1">
              <a:defRPr sz="1800" kern="1200">
                <a:solidFill>
                  <a:schemeClr val="dk1">
                    <a:hueOff val="0"/>
                    <a:satOff val="0"/>
                    <a:lumOff val="0"/>
                    <a:alphaOff val="0"/>
                  </a:schemeClr>
                </a:solidFill>
              </a:defRPr>
            </a:lvl2pPr>
            <a:lvl3pPr marL="914400" algn="l" defTabSz="914400" rtl="0" eaLnBrk="1" latinLnBrk="0" hangingPunct="1">
              <a:defRPr sz="1800" kern="1200">
                <a:solidFill>
                  <a:schemeClr val="dk1">
                    <a:hueOff val="0"/>
                    <a:satOff val="0"/>
                    <a:lumOff val="0"/>
                    <a:alphaOff val="0"/>
                  </a:schemeClr>
                </a:solidFill>
              </a:defRPr>
            </a:lvl3pPr>
            <a:lvl4pPr marL="1371600" algn="l" defTabSz="914400" rtl="0" eaLnBrk="1" latinLnBrk="0" hangingPunct="1">
              <a:defRPr sz="1800" kern="1200">
                <a:solidFill>
                  <a:schemeClr val="dk1">
                    <a:hueOff val="0"/>
                    <a:satOff val="0"/>
                    <a:lumOff val="0"/>
                    <a:alphaOff val="0"/>
                  </a:schemeClr>
                </a:solidFill>
              </a:defRPr>
            </a:lvl4pPr>
            <a:lvl5pPr marL="1828800" algn="l" defTabSz="914400" rtl="0" eaLnBrk="1" latinLnBrk="0" hangingPunct="1">
              <a:defRPr sz="1800" kern="1200">
                <a:solidFill>
                  <a:schemeClr val="dk1">
                    <a:hueOff val="0"/>
                    <a:satOff val="0"/>
                    <a:lumOff val="0"/>
                    <a:alphaOff val="0"/>
                  </a:schemeClr>
                </a:solidFill>
              </a:defRPr>
            </a:lvl5pPr>
            <a:lvl6pPr marL="2286000" algn="l" defTabSz="914400" rtl="0" eaLnBrk="1" latinLnBrk="0" hangingPunct="1">
              <a:defRPr sz="1800" kern="1200">
                <a:solidFill>
                  <a:schemeClr val="dk1">
                    <a:hueOff val="0"/>
                    <a:satOff val="0"/>
                    <a:lumOff val="0"/>
                    <a:alphaOff val="0"/>
                  </a:schemeClr>
                </a:solidFill>
              </a:defRPr>
            </a:lvl6pPr>
            <a:lvl7pPr marL="2743200" algn="l" defTabSz="914400" rtl="0" eaLnBrk="1" latinLnBrk="0" hangingPunct="1">
              <a:defRPr sz="1800" kern="1200">
                <a:solidFill>
                  <a:schemeClr val="dk1">
                    <a:hueOff val="0"/>
                    <a:satOff val="0"/>
                    <a:lumOff val="0"/>
                    <a:alphaOff val="0"/>
                  </a:schemeClr>
                </a:solidFill>
              </a:defRPr>
            </a:lvl7pPr>
            <a:lvl8pPr marL="3200400" algn="l" defTabSz="914400" rtl="0" eaLnBrk="1" latinLnBrk="0" hangingPunct="1">
              <a:defRPr sz="1800" kern="1200">
                <a:solidFill>
                  <a:schemeClr val="dk1">
                    <a:hueOff val="0"/>
                    <a:satOff val="0"/>
                    <a:lumOff val="0"/>
                    <a:alphaOff val="0"/>
                  </a:schemeClr>
                </a:solidFill>
              </a:defRPr>
            </a:lvl8pPr>
            <a:lvl9pPr marL="3657600" algn="l" defTabSz="914400" rtl="0" eaLnBrk="1" latinLnBrk="0" hangingPunct="1">
              <a:defRPr sz="1800" kern="1200">
                <a:solidFill>
                  <a:schemeClr val="dk1">
                    <a:hueOff val="0"/>
                    <a:satOff val="0"/>
                    <a:lumOff val="0"/>
                    <a:alphaOff val="0"/>
                  </a:schemeClr>
                </a:solidFill>
              </a:defRPr>
            </a:lvl9p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srgbClr val="000000"/>
              </a:solidFill>
              <a:effectLst/>
              <a:uLnTx/>
              <a:uFillTx/>
            </a:endParaRPr>
          </a:p>
        </p:txBody>
      </p:sp>
      <p:sp>
        <p:nvSpPr>
          <p:cNvPr id="136" name="ï$1iďê"/>
          <p:cNvSpPr/>
          <p:nvPr/>
        </p:nvSpPr>
        <p:spPr bwMode="auto">
          <a:xfrm>
            <a:off x="1105238" y="4906384"/>
            <a:ext cx="154690" cy="222531"/>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vert="horz" wrap="square" lIns="91440" tIns="45720" rIns="91440" bIns="45720" numCol="1" anchor="t" anchorCtr="0" compatLnSpc="1">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3765"/>
            <a:endParaRPr lang="en-US" sz="2000">
              <a:solidFill>
                <a:srgbClr val="000000"/>
              </a:solidFill>
            </a:endParaRPr>
          </a:p>
        </p:txBody>
      </p:sp>
      <p:sp>
        <p:nvSpPr>
          <p:cNvPr id="137" name="矩形 136"/>
          <p:cNvSpPr/>
          <p:nvPr/>
        </p:nvSpPr>
        <p:spPr>
          <a:xfrm>
            <a:off x="1500675" y="4832984"/>
            <a:ext cx="3929281" cy="400110"/>
          </a:xfrm>
          <a:prstGeom prst="rect">
            <a:avLst/>
          </a:prstGeom>
        </p:spPr>
        <p:txBody>
          <a:bodyPr wrap="none">
            <a:spAutoFit/>
          </a:bodyPr>
          <a:lstStyle/>
          <a:p>
            <a:r>
              <a:rPr lang="en-US" altLang="zh-CN" sz="2000" b="1" dirty="0">
                <a:solidFill>
                  <a:srgbClr val="002060"/>
                </a:solidFill>
              </a:rPr>
              <a:t>Language Proficiency Certificate</a:t>
            </a:r>
            <a:endParaRPr lang="zh-CN" altLang="en-US" sz="2000" b="1" dirty="0">
              <a:solidFill>
                <a:srgbClr val="002060"/>
              </a:solidFill>
            </a:endParaRPr>
          </a:p>
        </p:txBody>
      </p:sp>
      <p:sp>
        <p:nvSpPr>
          <p:cNvPr id="47" name="îSlîḓé"/>
          <p:cNvSpPr/>
          <p:nvPr/>
        </p:nvSpPr>
        <p:spPr>
          <a:xfrm>
            <a:off x="1081222" y="5334814"/>
            <a:ext cx="210871" cy="295398"/>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91440" tIns="45720" rIns="91440" bIns="45720">
            <a:noAutofit/>
          </a:bodyPr>
          <a:lstStyle>
            <a:defPPr>
              <a:defRPr lang="zh-CN"/>
            </a:defPPr>
            <a:lvl1pPr marL="0" algn="l" defTabSz="914400" rtl="0" eaLnBrk="1" latinLnBrk="0" hangingPunct="1">
              <a:defRPr sz="1800" kern="1200">
                <a:solidFill>
                  <a:schemeClr val="dk1">
                    <a:hueOff val="0"/>
                    <a:satOff val="0"/>
                    <a:lumOff val="0"/>
                    <a:alphaOff val="0"/>
                  </a:schemeClr>
                </a:solidFill>
              </a:defRPr>
            </a:lvl1pPr>
            <a:lvl2pPr marL="457200" algn="l" defTabSz="914400" rtl="0" eaLnBrk="1" latinLnBrk="0" hangingPunct="1">
              <a:defRPr sz="1800" kern="1200">
                <a:solidFill>
                  <a:schemeClr val="dk1">
                    <a:hueOff val="0"/>
                    <a:satOff val="0"/>
                    <a:lumOff val="0"/>
                    <a:alphaOff val="0"/>
                  </a:schemeClr>
                </a:solidFill>
              </a:defRPr>
            </a:lvl2pPr>
            <a:lvl3pPr marL="914400" algn="l" defTabSz="914400" rtl="0" eaLnBrk="1" latinLnBrk="0" hangingPunct="1">
              <a:defRPr sz="1800" kern="1200">
                <a:solidFill>
                  <a:schemeClr val="dk1">
                    <a:hueOff val="0"/>
                    <a:satOff val="0"/>
                    <a:lumOff val="0"/>
                    <a:alphaOff val="0"/>
                  </a:schemeClr>
                </a:solidFill>
              </a:defRPr>
            </a:lvl3pPr>
            <a:lvl4pPr marL="1371600" algn="l" defTabSz="914400" rtl="0" eaLnBrk="1" latinLnBrk="0" hangingPunct="1">
              <a:defRPr sz="1800" kern="1200">
                <a:solidFill>
                  <a:schemeClr val="dk1">
                    <a:hueOff val="0"/>
                    <a:satOff val="0"/>
                    <a:lumOff val="0"/>
                    <a:alphaOff val="0"/>
                  </a:schemeClr>
                </a:solidFill>
              </a:defRPr>
            </a:lvl4pPr>
            <a:lvl5pPr marL="1828800" algn="l" defTabSz="914400" rtl="0" eaLnBrk="1" latinLnBrk="0" hangingPunct="1">
              <a:defRPr sz="1800" kern="1200">
                <a:solidFill>
                  <a:schemeClr val="dk1">
                    <a:hueOff val="0"/>
                    <a:satOff val="0"/>
                    <a:lumOff val="0"/>
                    <a:alphaOff val="0"/>
                  </a:schemeClr>
                </a:solidFill>
              </a:defRPr>
            </a:lvl5pPr>
            <a:lvl6pPr marL="2286000" algn="l" defTabSz="914400" rtl="0" eaLnBrk="1" latinLnBrk="0" hangingPunct="1">
              <a:defRPr sz="1800" kern="1200">
                <a:solidFill>
                  <a:schemeClr val="dk1">
                    <a:hueOff val="0"/>
                    <a:satOff val="0"/>
                    <a:lumOff val="0"/>
                    <a:alphaOff val="0"/>
                  </a:schemeClr>
                </a:solidFill>
              </a:defRPr>
            </a:lvl6pPr>
            <a:lvl7pPr marL="2743200" algn="l" defTabSz="914400" rtl="0" eaLnBrk="1" latinLnBrk="0" hangingPunct="1">
              <a:defRPr sz="1800" kern="1200">
                <a:solidFill>
                  <a:schemeClr val="dk1">
                    <a:hueOff val="0"/>
                    <a:satOff val="0"/>
                    <a:lumOff val="0"/>
                    <a:alphaOff val="0"/>
                  </a:schemeClr>
                </a:solidFill>
              </a:defRPr>
            </a:lvl7pPr>
            <a:lvl8pPr marL="3200400" algn="l" defTabSz="914400" rtl="0" eaLnBrk="1" latinLnBrk="0" hangingPunct="1">
              <a:defRPr sz="1800" kern="1200">
                <a:solidFill>
                  <a:schemeClr val="dk1">
                    <a:hueOff val="0"/>
                    <a:satOff val="0"/>
                    <a:lumOff val="0"/>
                    <a:alphaOff val="0"/>
                  </a:schemeClr>
                </a:solidFill>
              </a:defRPr>
            </a:lvl8pPr>
            <a:lvl9pPr marL="3657600" algn="l" defTabSz="914400" rtl="0" eaLnBrk="1" latinLnBrk="0" hangingPunct="1">
              <a:defRPr sz="1800" kern="1200">
                <a:solidFill>
                  <a:schemeClr val="dk1">
                    <a:hueOff val="0"/>
                    <a:satOff val="0"/>
                    <a:lumOff val="0"/>
                    <a:alphaOff val="0"/>
                  </a:schemeClr>
                </a:solidFill>
              </a:defRPr>
            </a:lvl9p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srgbClr val="000000"/>
              </a:solidFill>
              <a:effectLst/>
              <a:uLnTx/>
              <a:uFillTx/>
            </a:endParaRPr>
          </a:p>
        </p:txBody>
      </p:sp>
      <p:sp>
        <p:nvSpPr>
          <p:cNvPr id="48" name="ï$1iďê"/>
          <p:cNvSpPr/>
          <p:nvPr/>
        </p:nvSpPr>
        <p:spPr bwMode="auto">
          <a:xfrm>
            <a:off x="1102120" y="5371247"/>
            <a:ext cx="154690" cy="222531"/>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vert="horz" wrap="square" lIns="91440" tIns="45720" rIns="91440" bIns="45720" numCol="1" anchor="t" anchorCtr="0" compatLnSpc="1">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3765"/>
            <a:endParaRPr lang="en-US" sz="2000">
              <a:solidFill>
                <a:srgbClr val="000000"/>
              </a:solidFill>
            </a:endParaRPr>
          </a:p>
        </p:txBody>
      </p:sp>
      <p:sp>
        <p:nvSpPr>
          <p:cNvPr id="49" name="矩形 48"/>
          <p:cNvSpPr/>
          <p:nvPr/>
        </p:nvSpPr>
        <p:spPr>
          <a:xfrm>
            <a:off x="1497557" y="5297847"/>
            <a:ext cx="4014240" cy="400110"/>
          </a:xfrm>
          <a:prstGeom prst="rect">
            <a:avLst/>
          </a:prstGeom>
        </p:spPr>
        <p:txBody>
          <a:bodyPr wrap="none">
            <a:spAutoFit/>
          </a:bodyPr>
          <a:lstStyle/>
          <a:p>
            <a:r>
              <a:rPr lang="en-US" altLang="zh-CN" sz="2000" b="1" dirty="0">
                <a:solidFill>
                  <a:srgbClr val="002060"/>
                </a:solidFill>
              </a:rPr>
              <a:t>Study Plan or Research Proposal</a:t>
            </a:r>
            <a:endParaRPr lang="zh-CN" altLang="en-US" sz="2000" b="1" dirty="0">
              <a:solidFill>
                <a:srgbClr val="002060"/>
              </a:solidFill>
            </a:endParaRPr>
          </a:p>
        </p:txBody>
      </p:sp>
      <p:sp>
        <p:nvSpPr>
          <p:cNvPr id="50" name="îSlîḓé"/>
          <p:cNvSpPr/>
          <p:nvPr/>
        </p:nvSpPr>
        <p:spPr>
          <a:xfrm>
            <a:off x="1088472" y="5824871"/>
            <a:ext cx="210871" cy="295398"/>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91440" tIns="45720" rIns="91440" bIns="45720">
            <a:noAutofit/>
          </a:bodyPr>
          <a:lstStyle>
            <a:defPPr>
              <a:defRPr lang="zh-CN"/>
            </a:defPPr>
            <a:lvl1pPr marL="0" algn="l" defTabSz="914400" rtl="0" eaLnBrk="1" latinLnBrk="0" hangingPunct="1">
              <a:defRPr sz="1800" kern="1200">
                <a:solidFill>
                  <a:schemeClr val="dk1">
                    <a:hueOff val="0"/>
                    <a:satOff val="0"/>
                    <a:lumOff val="0"/>
                    <a:alphaOff val="0"/>
                  </a:schemeClr>
                </a:solidFill>
              </a:defRPr>
            </a:lvl1pPr>
            <a:lvl2pPr marL="457200" algn="l" defTabSz="914400" rtl="0" eaLnBrk="1" latinLnBrk="0" hangingPunct="1">
              <a:defRPr sz="1800" kern="1200">
                <a:solidFill>
                  <a:schemeClr val="dk1">
                    <a:hueOff val="0"/>
                    <a:satOff val="0"/>
                    <a:lumOff val="0"/>
                    <a:alphaOff val="0"/>
                  </a:schemeClr>
                </a:solidFill>
              </a:defRPr>
            </a:lvl2pPr>
            <a:lvl3pPr marL="914400" algn="l" defTabSz="914400" rtl="0" eaLnBrk="1" latinLnBrk="0" hangingPunct="1">
              <a:defRPr sz="1800" kern="1200">
                <a:solidFill>
                  <a:schemeClr val="dk1">
                    <a:hueOff val="0"/>
                    <a:satOff val="0"/>
                    <a:lumOff val="0"/>
                    <a:alphaOff val="0"/>
                  </a:schemeClr>
                </a:solidFill>
              </a:defRPr>
            </a:lvl3pPr>
            <a:lvl4pPr marL="1371600" algn="l" defTabSz="914400" rtl="0" eaLnBrk="1" latinLnBrk="0" hangingPunct="1">
              <a:defRPr sz="1800" kern="1200">
                <a:solidFill>
                  <a:schemeClr val="dk1">
                    <a:hueOff val="0"/>
                    <a:satOff val="0"/>
                    <a:lumOff val="0"/>
                    <a:alphaOff val="0"/>
                  </a:schemeClr>
                </a:solidFill>
              </a:defRPr>
            </a:lvl4pPr>
            <a:lvl5pPr marL="1828800" algn="l" defTabSz="914400" rtl="0" eaLnBrk="1" latinLnBrk="0" hangingPunct="1">
              <a:defRPr sz="1800" kern="1200">
                <a:solidFill>
                  <a:schemeClr val="dk1">
                    <a:hueOff val="0"/>
                    <a:satOff val="0"/>
                    <a:lumOff val="0"/>
                    <a:alphaOff val="0"/>
                  </a:schemeClr>
                </a:solidFill>
              </a:defRPr>
            </a:lvl5pPr>
            <a:lvl6pPr marL="2286000" algn="l" defTabSz="914400" rtl="0" eaLnBrk="1" latinLnBrk="0" hangingPunct="1">
              <a:defRPr sz="1800" kern="1200">
                <a:solidFill>
                  <a:schemeClr val="dk1">
                    <a:hueOff val="0"/>
                    <a:satOff val="0"/>
                    <a:lumOff val="0"/>
                    <a:alphaOff val="0"/>
                  </a:schemeClr>
                </a:solidFill>
              </a:defRPr>
            </a:lvl6pPr>
            <a:lvl7pPr marL="2743200" algn="l" defTabSz="914400" rtl="0" eaLnBrk="1" latinLnBrk="0" hangingPunct="1">
              <a:defRPr sz="1800" kern="1200">
                <a:solidFill>
                  <a:schemeClr val="dk1">
                    <a:hueOff val="0"/>
                    <a:satOff val="0"/>
                    <a:lumOff val="0"/>
                    <a:alphaOff val="0"/>
                  </a:schemeClr>
                </a:solidFill>
              </a:defRPr>
            </a:lvl7pPr>
            <a:lvl8pPr marL="3200400" algn="l" defTabSz="914400" rtl="0" eaLnBrk="1" latinLnBrk="0" hangingPunct="1">
              <a:defRPr sz="1800" kern="1200">
                <a:solidFill>
                  <a:schemeClr val="dk1">
                    <a:hueOff val="0"/>
                    <a:satOff val="0"/>
                    <a:lumOff val="0"/>
                    <a:alphaOff val="0"/>
                  </a:schemeClr>
                </a:solidFill>
              </a:defRPr>
            </a:lvl8pPr>
            <a:lvl9pPr marL="3657600" algn="l" defTabSz="914400" rtl="0" eaLnBrk="1" latinLnBrk="0" hangingPunct="1">
              <a:defRPr sz="1800" kern="1200">
                <a:solidFill>
                  <a:schemeClr val="dk1">
                    <a:hueOff val="0"/>
                    <a:satOff val="0"/>
                    <a:lumOff val="0"/>
                    <a:alphaOff val="0"/>
                  </a:schemeClr>
                </a:solidFill>
              </a:defRPr>
            </a:lvl9p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2000" b="0" i="0" u="none" strike="noStrike" kern="1200" cap="none" spc="0" normalizeH="0" baseline="0" noProof="0" dirty="0">
              <a:ln>
                <a:noFill/>
              </a:ln>
              <a:solidFill>
                <a:srgbClr val="000000"/>
              </a:solidFill>
              <a:effectLst/>
              <a:uLnTx/>
              <a:uFillTx/>
            </a:endParaRPr>
          </a:p>
        </p:txBody>
      </p:sp>
      <p:sp>
        <p:nvSpPr>
          <p:cNvPr id="51" name="ï$1iďê"/>
          <p:cNvSpPr/>
          <p:nvPr/>
        </p:nvSpPr>
        <p:spPr bwMode="auto">
          <a:xfrm>
            <a:off x="1109370" y="5861304"/>
            <a:ext cx="154690" cy="222531"/>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vert="horz" wrap="square" lIns="91440" tIns="45720" rIns="91440" bIns="45720" numCol="1" anchor="t" anchorCtr="0" compatLnSpc="1">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3765"/>
            <a:endParaRPr lang="en-US" sz="2000">
              <a:solidFill>
                <a:srgbClr val="000000"/>
              </a:solidFill>
            </a:endParaRPr>
          </a:p>
        </p:txBody>
      </p:sp>
      <p:sp>
        <p:nvSpPr>
          <p:cNvPr id="54" name="矩形 53"/>
          <p:cNvSpPr/>
          <p:nvPr/>
        </p:nvSpPr>
        <p:spPr>
          <a:xfrm>
            <a:off x="1504807" y="5787904"/>
            <a:ext cx="3796232" cy="400110"/>
          </a:xfrm>
          <a:prstGeom prst="rect">
            <a:avLst/>
          </a:prstGeom>
        </p:spPr>
        <p:txBody>
          <a:bodyPr wrap="none">
            <a:spAutoFit/>
          </a:bodyPr>
          <a:lstStyle/>
          <a:p>
            <a:r>
              <a:rPr lang="en-US" altLang="zh-CN" sz="2000" b="1" dirty="0">
                <a:solidFill>
                  <a:srgbClr val="002060"/>
                </a:solidFill>
              </a:rPr>
              <a:t>Statement of Financial Support</a:t>
            </a:r>
            <a:endParaRPr lang="zh-CN" altLang="en-US" sz="2000" b="1" dirty="0">
              <a:solidFill>
                <a:srgbClr val="002060"/>
              </a:solidFill>
            </a:endParaRPr>
          </a:p>
        </p:txBody>
      </p:sp>
      <p:sp>
        <p:nvSpPr>
          <p:cNvPr id="3" name="等腰三角形 2"/>
          <p:cNvSpPr/>
          <p:nvPr/>
        </p:nvSpPr>
        <p:spPr>
          <a:xfrm rot="5400000">
            <a:off x="-174172" y="174171"/>
            <a:ext cx="841829" cy="493486"/>
          </a:xfrm>
          <a:prstGeom prst="triangle">
            <a:avLst/>
          </a:prstGeom>
          <a:gradFill>
            <a:gsLst>
              <a:gs pos="0">
                <a:srgbClr val="007BD3"/>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bldLst>
      <p:bldP spid="86" grpId="0" bldLvl="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1487488" y="0"/>
            <a:ext cx="10704512" cy="3429000"/>
          </a:xfrm>
          <a:custGeom>
            <a:avLst/>
            <a:gdLst>
              <a:gd name="connsiteX0" fmla="*/ 0 w 8028384"/>
              <a:gd name="connsiteY0" fmla="*/ 0 h 2571750"/>
              <a:gd name="connsiteX1" fmla="*/ 8028384 w 8028384"/>
              <a:gd name="connsiteY1" fmla="*/ 0 h 2571750"/>
              <a:gd name="connsiteX2" fmla="*/ 8028384 w 8028384"/>
              <a:gd name="connsiteY2" fmla="*/ 2571750 h 2571750"/>
              <a:gd name="connsiteX3" fmla="*/ 0 w 8028384"/>
              <a:gd name="connsiteY3" fmla="*/ 2571750 h 2571750"/>
              <a:gd name="connsiteX4" fmla="*/ 0 w 8028384"/>
              <a:gd name="connsiteY4" fmla="*/ 0 h 2571750"/>
              <a:gd name="connsiteX0-1" fmla="*/ 0 w 8028384"/>
              <a:gd name="connsiteY0-2" fmla="*/ 0 h 2571750"/>
              <a:gd name="connsiteX1-3" fmla="*/ 8028384 w 8028384"/>
              <a:gd name="connsiteY1-4" fmla="*/ 0 h 2571750"/>
              <a:gd name="connsiteX2-5" fmla="*/ 8028384 w 8028384"/>
              <a:gd name="connsiteY2-6" fmla="*/ 2571750 h 2571750"/>
              <a:gd name="connsiteX3-7" fmla="*/ 2445165 w 8028384"/>
              <a:gd name="connsiteY3-8" fmla="*/ 2571078 h 2571750"/>
              <a:gd name="connsiteX4-9" fmla="*/ 0 w 8028384"/>
              <a:gd name="connsiteY4-10" fmla="*/ 2571750 h 2571750"/>
              <a:gd name="connsiteX5" fmla="*/ 0 w 8028384"/>
              <a:gd name="connsiteY5" fmla="*/ 0 h 2571750"/>
              <a:gd name="connsiteX0-11" fmla="*/ 0 w 8028384"/>
              <a:gd name="connsiteY0-12" fmla="*/ 0 h 2571750"/>
              <a:gd name="connsiteX1-13" fmla="*/ 8028384 w 8028384"/>
              <a:gd name="connsiteY1-14" fmla="*/ 0 h 2571750"/>
              <a:gd name="connsiteX2-15" fmla="*/ 8028384 w 8028384"/>
              <a:gd name="connsiteY2-16" fmla="*/ 2571750 h 2571750"/>
              <a:gd name="connsiteX3-17" fmla="*/ 2445165 w 8028384"/>
              <a:gd name="connsiteY3-18" fmla="*/ 2571078 h 2571750"/>
              <a:gd name="connsiteX4-19" fmla="*/ 0 w 8028384"/>
              <a:gd name="connsiteY4-20" fmla="*/ 0 h 257175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028384" h="2571750">
                <a:moveTo>
                  <a:pt x="0" y="0"/>
                </a:moveTo>
                <a:lnTo>
                  <a:pt x="8028384" y="0"/>
                </a:lnTo>
                <a:lnTo>
                  <a:pt x="8028384" y="2571750"/>
                </a:lnTo>
                <a:lnTo>
                  <a:pt x="2445165" y="2571078"/>
                </a:lnTo>
                <a:lnTo>
                  <a:pt x="0" y="0"/>
                </a:lnTo>
                <a:close/>
              </a:path>
            </a:pathLst>
          </a:custGeom>
          <a:blipFill dpi="0" rotWithShape="1">
            <a:blip r:embed="rId3" cstate="print">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a:fillRect t="-62398" b="-46580"/>
            </a:stretch>
          </a:blipFill>
          <a:ln>
            <a:noFill/>
          </a:ln>
          <a:effectLst>
            <a:outerShdw blurRad="254000" dist="635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 name="等腰三角形 2"/>
          <p:cNvSpPr/>
          <p:nvPr/>
        </p:nvSpPr>
        <p:spPr>
          <a:xfrm rot="5400000">
            <a:off x="-1751169" y="1751170"/>
            <a:ext cx="6858000" cy="3355661"/>
          </a:xfrm>
          <a:prstGeom prst="triangle">
            <a:avLst/>
          </a:prstGeom>
          <a:gradFill>
            <a:gsLst>
              <a:gs pos="0">
                <a:srgbClr val="007BD3"/>
              </a:gs>
              <a:gs pos="0">
                <a:srgbClr val="016DBB">
                  <a:alpha val="100000"/>
                </a:srgbClr>
              </a:gs>
              <a:gs pos="0">
                <a:srgbClr val="025FA3">
                  <a:alpha val="100000"/>
                </a:srgbClr>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1" name="矩形 20"/>
          <p:cNvSpPr/>
          <p:nvPr/>
        </p:nvSpPr>
        <p:spPr>
          <a:xfrm>
            <a:off x="6230599" y="4612963"/>
            <a:ext cx="4652645" cy="922020"/>
          </a:xfrm>
          <a:prstGeom prst="rect">
            <a:avLst/>
          </a:prstGeom>
        </p:spPr>
        <p:txBody>
          <a:bodyPr wrap="none" lIns="91440" tIns="45720" rIns="91440" bIns="45720">
            <a:spAutoFit/>
          </a:bodyPr>
          <a:lstStyle/>
          <a:p>
            <a:pPr algn="l" defTabSz="1218565">
              <a:defRPr/>
            </a:pPr>
            <a:r>
              <a:rPr lang="zh-CN" altLang="en-US" sz="5400" b="1" kern="0" spc="800" dirty="0">
                <a:solidFill>
                  <a:srgbClr val="00206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WHY SHU?</a:t>
            </a:r>
          </a:p>
        </p:txBody>
      </p:sp>
      <p:sp>
        <p:nvSpPr>
          <p:cNvPr id="24" name="矩形 3"/>
          <p:cNvSpPr/>
          <p:nvPr/>
        </p:nvSpPr>
        <p:spPr>
          <a:xfrm>
            <a:off x="1487488" y="0"/>
            <a:ext cx="10704512" cy="3429000"/>
          </a:xfrm>
          <a:custGeom>
            <a:avLst/>
            <a:gdLst>
              <a:gd name="connsiteX0" fmla="*/ 0 w 8028384"/>
              <a:gd name="connsiteY0" fmla="*/ 0 h 2571750"/>
              <a:gd name="connsiteX1" fmla="*/ 8028384 w 8028384"/>
              <a:gd name="connsiteY1" fmla="*/ 0 h 2571750"/>
              <a:gd name="connsiteX2" fmla="*/ 8028384 w 8028384"/>
              <a:gd name="connsiteY2" fmla="*/ 2571750 h 2571750"/>
              <a:gd name="connsiteX3" fmla="*/ 0 w 8028384"/>
              <a:gd name="connsiteY3" fmla="*/ 2571750 h 2571750"/>
              <a:gd name="connsiteX4" fmla="*/ 0 w 8028384"/>
              <a:gd name="connsiteY4" fmla="*/ 0 h 2571750"/>
              <a:gd name="connsiteX0-1" fmla="*/ 0 w 8028384"/>
              <a:gd name="connsiteY0-2" fmla="*/ 0 h 2571750"/>
              <a:gd name="connsiteX1-3" fmla="*/ 8028384 w 8028384"/>
              <a:gd name="connsiteY1-4" fmla="*/ 0 h 2571750"/>
              <a:gd name="connsiteX2-5" fmla="*/ 8028384 w 8028384"/>
              <a:gd name="connsiteY2-6" fmla="*/ 2571750 h 2571750"/>
              <a:gd name="connsiteX3-7" fmla="*/ 2445165 w 8028384"/>
              <a:gd name="connsiteY3-8" fmla="*/ 2571078 h 2571750"/>
              <a:gd name="connsiteX4-9" fmla="*/ 0 w 8028384"/>
              <a:gd name="connsiteY4-10" fmla="*/ 2571750 h 2571750"/>
              <a:gd name="connsiteX5" fmla="*/ 0 w 8028384"/>
              <a:gd name="connsiteY5" fmla="*/ 0 h 2571750"/>
              <a:gd name="connsiteX0-11" fmla="*/ 0 w 8028384"/>
              <a:gd name="connsiteY0-12" fmla="*/ 0 h 2571750"/>
              <a:gd name="connsiteX1-13" fmla="*/ 8028384 w 8028384"/>
              <a:gd name="connsiteY1-14" fmla="*/ 0 h 2571750"/>
              <a:gd name="connsiteX2-15" fmla="*/ 8028384 w 8028384"/>
              <a:gd name="connsiteY2-16" fmla="*/ 2571750 h 2571750"/>
              <a:gd name="connsiteX3-17" fmla="*/ 2445165 w 8028384"/>
              <a:gd name="connsiteY3-18" fmla="*/ 2571078 h 2571750"/>
              <a:gd name="connsiteX4-19" fmla="*/ 0 w 8028384"/>
              <a:gd name="connsiteY4-20" fmla="*/ 0 h 257175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028384" h="2571750">
                <a:moveTo>
                  <a:pt x="0" y="0"/>
                </a:moveTo>
                <a:lnTo>
                  <a:pt x="8028384" y="0"/>
                </a:lnTo>
                <a:lnTo>
                  <a:pt x="8028384" y="2571750"/>
                </a:lnTo>
                <a:lnTo>
                  <a:pt x="2445165" y="2571078"/>
                </a:lnTo>
                <a:lnTo>
                  <a:pt x="0" y="0"/>
                </a:lnTo>
                <a:close/>
              </a:path>
            </a:pathLst>
          </a:custGeom>
          <a:gradFill>
            <a:gsLst>
              <a:gs pos="0">
                <a:srgbClr val="007BD3"/>
              </a:gs>
              <a:gs pos="0">
                <a:srgbClr val="034373">
                  <a:alpha val="8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5" name="矩形 24"/>
          <p:cNvSpPr/>
          <p:nvPr/>
        </p:nvSpPr>
        <p:spPr>
          <a:xfrm>
            <a:off x="476332" y="2595743"/>
            <a:ext cx="1428596" cy="1323439"/>
          </a:xfrm>
          <a:prstGeom prst="rect">
            <a:avLst/>
          </a:prstGeom>
          <a:gradFill>
            <a:gsLst>
              <a:gs pos="0">
                <a:srgbClr val="23607C"/>
              </a:gs>
              <a:gs pos="0">
                <a:srgbClr val="0C364F"/>
              </a:gs>
            </a:gsLst>
            <a:lin ang="0" scaled="1"/>
          </a:gradFill>
        </p:spPr>
        <p:txBody>
          <a:bodyPr wrap="none" lIns="91440" tIns="45720" rIns="91440" bIns="45720">
            <a:spAutoFit/>
          </a:bodyPr>
          <a:lstStyle/>
          <a:p>
            <a:pPr defTabSz="1218565">
              <a:defRPr/>
            </a:pPr>
            <a:r>
              <a:rPr lang="en-US" altLang="zh-CN" sz="8000" b="1" kern="0" spc="40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Arial" panose="020B0604020202020204" pitchFamily="34" charset="0"/>
              </a:rPr>
              <a:t>01</a:t>
            </a:r>
            <a:endParaRPr lang="zh-CN" altLang="en-US" sz="8000" b="1" kern="0" spc="40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bldLst>
      <p:bldP spid="4" grpId="0" bldLvl="0" animBg="1"/>
      <p:bldP spid="3" grpId="0" bldLvl="0" animBg="1"/>
      <p:bldP spid="21" grpId="0"/>
      <p:bldP spid="24" grpId="0" bldLvl="0" animBg="1"/>
      <p:bldP spid="25" grpId="0" bldLvl="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 name="矩形 164"/>
          <p:cNvSpPr/>
          <p:nvPr/>
        </p:nvSpPr>
        <p:spPr>
          <a:xfrm>
            <a:off x="-1" y="1373376"/>
            <a:ext cx="12419741" cy="2841701"/>
          </a:xfrm>
          <a:prstGeom prst="rect">
            <a:avLst/>
          </a:prstGeom>
          <a:gradFill>
            <a:gsLst>
              <a:gs pos="29000">
                <a:srgbClr val="0A7BB6">
                  <a:alpha val="15000"/>
                </a:srgbClr>
              </a:gs>
              <a:gs pos="100000">
                <a:srgbClr val="0A7BB6">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9" name="椭圆 138"/>
          <p:cNvSpPr/>
          <p:nvPr/>
        </p:nvSpPr>
        <p:spPr>
          <a:xfrm>
            <a:off x="262679" y="1879899"/>
            <a:ext cx="2185911" cy="2185911"/>
          </a:xfrm>
          <a:prstGeom prst="ellipse">
            <a:avLst/>
          </a:prstGeom>
          <a:solidFill>
            <a:schemeClr val="bg1"/>
          </a:solidFill>
          <a:ln w="25400">
            <a:solidFill>
              <a:srgbClr val="0A7B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40" name="直接连接符 139"/>
          <p:cNvCxnSpPr>
            <a:stCxn id="139" idx="6"/>
          </p:cNvCxnSpPr>
          <p:nvPr/>
        </p:nvCxnSpPr>
        <p:spPr>
          <a:xfrm>
            <a:off x="2448590" y="2972855"/>
            <a:ext cx="7381507" cy="13653"/>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141" name="椭圆 140"/>
          <p:cNvSpPr/>
          <p:nvPr/>
        </p:nvSpPr>
        <p:spPr>
          <a:xfrm>
            <a:off x="3412278" y="1879899"/>
            <a:ext cx="2185911" cy="2185911"/>
          </a:xfrm>
          <a:prstGeom prst="ellipse">
            <a:avLst/>
          </a:prstGeom>
          <a:solidFill>
            <a:schemeClr val="bg1"/>
          </a:solidFill>
          <a:ln w="25400">
            <a:solidFill>
              <a:srgbClr val="0A7B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2" name="椭圆 141"/>
          <p:cNvSpPr/>
          <p:nvPr/>
        </p:nvSpPr>
        <p:spPr>
          <a:xfrm>
            <a:off x="6482503" y="1896063"/>
            <a:ext cx="2185911" cy="2169747"/>
          </a:xfrm>
          <a:prstGeom prst="ellipse">
            <a:avLst/>
          </a:prstGeom>
          <a:solidFill>
            <a:schemeClr val="bg1"/>
          </a:solidFill>
          <a:ln w="25400">
            <a:solidFill>
              <a:srgbClr val="0A7B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9" name="图片 148"/>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285557" y="1979702"/>
            <a:ext cx="2104999" cy="1948934"/>
          </a:xfrm>
          <a:prstGeom prst="ellipse">
            <a:avLst/>
          </a:prstGeom>
        </p:spPr>
      </p:pic>
      <p:pic>
        <p:nvPicPr>
          <p:cNvPr id="150" name="图片 14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a:xfrm>
            <a:off x="3466124" y="1947803"/>
            <a:ext cx="2074031" cy="1948934"/>
          </a:xfrm>
          <a:prstGeom prst="ellipse">
            <a:avLst/>
          </a:prstGeom>
        </p:spPr>
      </p:pic>
      <p:pic>
        <p:nvPicPr>
          <p:cNvPr id="151" name="图片 15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6511075" y="1928166"/>
            <a:ext cx="2112619" cy="2109259"/>
          </a:xfrm>
          <a:prstGeom prst="ellipse">
            <a:avLst/>
          </a:prstGeom>
        </p:spPr>
      </p:pic>
      <p:sp>
        <p:nvSpPr>
          <p:cNvPr id="155" name="椭圆 154"/>
          <p:cNvSpPr/>
          <p:nvPr/>
        </p:nvSpPr>
        <p:spPr>
          <a:xfrm>
            <a:off x="9513835" y="1879900"/>
            <a:ext cx="2185911" cy="2185911"/>
          </a:xfrm>
          <a:prstGeom prst="ellipse">
            <a:avLst/>
          </a:prstGeom>
          <a:solidFill>
            <a:schemeClr val="bg1"/>
          </a:solidFill>
          <a:ln w="25400">
            <a:solidFill>
              <a:srgbClr val="0A7B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6" name="图片 15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9765177" y="1953567"/>
            <a:ext cx="1683226" cy="2038573"/>
          </a:xfrm>
          <a:prstGeom prst="ellipse">
            <a:avLst/>
          </a:prstGeom>
        </p:spPr>
      </p:pic>
      <p:sp>
        <p:nvSpPr>
          <p:cNvPr id="167" name="文本框 166"/>
          <p:cNvSpPr txBox="1"/>
          <p:nvPr/>
        </p:nvSpPr>
        <p:spPr>
          <a:xfrm>
            <a:off x="-503238" y="4948620"/>
            <a:ext cx="3490313" cy="584775"/>
          </a:xfrm>
          <a:prstGeom prst="rect">
            <a:avLst/>
          </a:prstGeom>
          <a:noFill/>
        </p:spPr>
        <p:txBody>
          <a:bodyPr wrap="square" rtlCol="0">
            <a:spAutoFit/>
          </a:bodyPr>
          <a:lstStyle/>
          <a:p>
            <a:pPr algn="ctr"/>
            <a:r>
              <a:rPr lang="en-US" altLang="zh-CN" sz="1600" dirty="0">
                <a:latin typeface="Arial" panose="020B0604020202020204" pitchFamily="34" charset="0"/>
                <a:cs typeface="Arial" panose="020B0604020202020204" pitchFamily="34" charset="0"/>
              </a:rPr>
              <a:t>Chinese Government</a:t>
            </a:r>
          </a:p>
          <a:p>
            <a:pPr algn="ctr"/>
            <a:r>
              <a:rPr lang="en-US" altLang="zh-CN" sz="1600" dirty="0">
                <a:latin typeface="Arial" panose="020B0604020202020204" pitchFamily="34" charset="0"/>
                <a:cs typeface="Arial" panose="020B0604020202020204" pitchFamily="34" charset="0"/>
              </a:rPr>
              <a:t> Scholarship</a:t>
            </a:r>
            <a:endParaRPr lang="zh-CN" altLang="en-US" sz="1600" dirty="0">
              <a:latin typeface="Arial" panose="020B0604020202020204" pitchFamily="34" charset="0"/>
              <a:cs typeface="Arial" panose="020B0604020202020204" pitchFamily="34" charset="0"/>
            </a:endParaRPr>
          </a:p>
        </p:txBody>
      </p:sp>
      <p:sp>
        <p:nvSpPr>
          <p:cNvPr id="168" name="文本框 167"/>
          <p:cNvSpPr txBox="1"/>
          <p:nvPr/>
        </p:nvSpPr>
        <p:spPr>
          <a:xfrm>
            <a:off x="302533" y="4500800"/>
            <a:ext cx="3131747" cy="400110"/>
          </a:xfrm>
          <a:prstGeom prst="rect">
            <a:avLst/>
          </a:prstGeom>
          <a:noFill/>
        </p:spPr>
        <p:txBody>
          <a:bodyPr wrap="square" rtlCol="0">
            <a:spAutoFit/>
          </a:bodyPr>
          <a:lstStyle/>
          <a:p>
            <a:r>
              <a:rPr lang="zh-CN" altLang="en-US" sz="2000" dirty="0">
                <a:solidFill>
                  <a:srgbClr val="1402C8"/>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中国政府奖学金</a:t>
            </a:r>
          </a:p>
        </p:txBody>
      </p:sp>
      <p:sp>
        <p:nvSpPr>
          <p:cNvPr id="169" name="文本框 168"/>
          <p:cNvSpPr txBox="1"/>
          <p:nvPr/>
        </p:nvSpPr>
        <p:spPr>
          <a:xfrm>
            <a:off x="2719556" y="4949776"/>
            <a:ext cx="3490313" cy="584775"/>
          </a:xfrm>
          <a:prstGeom prst="rect">
            <a:avLst/>
          </a:prstGeom>
          <a:noFill/>
        </p:spPr>
        <p:txBody>
          <a:bodyPr wrap="square" rtlCol="0">
            <a:spAutoFit/>
          </a:bodyPr>
          <a:lstStyle/>
          <a:p>
            <a:pPr algn="ctr"/>
            <a:r>
              <a:rPr lang="en-US" altLang="zh-CN" sz="1600" dirty="0">
                <a:latin typeface="Arial" panose="020B0604020202020204" pitchFamily="34" charset="0"/>
                <a:cs typeface="Arial" panose="020B0604020202020204" pitchFamily="34" charset="0"/>
              </a:rPr>
              <a:t>Shanghai Government </a:t>
            </a:r>
          </a:p>
          <a:p>
            <a:pPr algn="ctr"/>
            <a:r>
              <a:rPr lang="en-US" altLang="zh-CN" sz="1600" dirty="0">
                <a:latin typeface="Arial" panose="020B0604020202020204" pitchFamily="34" charset="0"/>
                <a:cs typeface="Arial" panose="020B0604020202020204" pitchFamily="34" charset="0"/>
              </a:rPr>
              <a:t>Scholarship</a:t>
            </a:r>
            <a:endParaRPr lang="zh-CN" altLang="en-US" sz="1600" dirty="0">
              <a:latin typeface="Arial" panose="020B0604020202020204" pitchFamily="34" charset="0"/>
              <a:cs typeface="Arial" panose="020B0604020202020204" pitchFamily="34" charset="0"/>
            </a:endParaRPr>
          </a:p>
        </p:txBody>
      </p:sp>
      <p:sp>
        <p:nvSpPr>
          <p:cNvPr id="170" name="文本框 169"/>
          <p:cNvSpPr txBox="1"/>
          <p:nvPr/>
        </p:nvSpPr>
        <p:spPr>
          <a:xfrm>
            <a:off x="3275958" y="4485390"/>
            <a:ext cx="3131747" cy="400110"/>
          </a:xfrm>
          <a:prstGeom prst="rect">
            <a:avLst/>
          </a:prstGeom>
          <a:noFill/>
        </p:spPr>
        <p:txBody>
          <a:bodyPr wrap="square" rtlCol="0">
            <a:spAutoFit/>
          </a:bodyPr>
          <a:lstStyle/>
          <a:p>
            <a:r>
              <a:rPr lang="zh-CN" altLang="en-US" sz="2000" dirty="0">
                <a:solidFill>
                  <a:srgbClr val="45ABC3"/>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上海市政府奖学金</a:t>
            </a:r>
          </a:p>
        </p:txBody>
      </p:sp>
      <p:sp>
        <p:nvSpPr>
          <p:cNvPr id="171" name="文本框 170"/>
          <p:cNvSpPr txBox="1"/>
          <p:nvPr/>
        </p:nvSpPr>
        <p:spPr>
          <a:xfrm>
            <a:off x="9195637" y="4956750"/>
            <a:ext cx="2996363" cy="584775"/>
          </a:xfrm>
          <a:prstGeom prst="rect">
            <a:avLst/>
          </a:prstGeom>
          <a:noFill/>
        </p:spPr>
        <p:txBody>
          <a:bodyPr wrap="square" rtlCol="0">
            <a:spAutoFit/>
          </a:bodyPr>
          <a:lstStyle/>
          <a:p>
            <a:pPr algn="ctr"/>
            <a:r>
              <a:rPr lang="en-US" altLang="zh-CN" sz="1600" dirty="0">
                <a:latin typeface="Arial" panose="020B0604020202020204" pitchFamily="34" charset="0"/>
                <a:cs typeface="Arial" panose="020B0604020202020204" pitchFamily="34" charset="0"/>
              </a:rPr>
              <a:t>Shanghai University </a:t>
            </a:r>
          </a:p>
          <a:p>
            <a:pPr algn="ctr"/>
            <a:r>
              <a:rPr lang="en-US" altLang="zh-CN" sz="1600" dirty="0">
                <a:latin typeface="Arial" panose="020B0604020202020204" pitchFamily="34" charset="0"/>
                <a:cs typeface="Arial" panose="020B0604020202020204" pitchFamily="34" charset="0"/>
              </a:rPr>
              <a:t>Scholarship </a:t>
            </a:r>
            <a:endParaRPr lang="zh-CN" altLang="en-US" sz="1600" dirty="0">
              <a:latin typeface="Arial" panose="020B0604020202020204" pitchFamily="34" charset="0"/>
              <a:cs typeface="Arial" panose="020B0604020202020204" pitchFamily="34" charset="0"/>
            </a:endParaRPr>
          </a:p>
        </p:txBody>
      </p:sp>
      <p:sp>
        <p:nvSpPr>
          <p:cNvPr id="172" name="文本框 171"/>
          <p:cNvSpPr txBox="1"/>
          <p:nvPr/>
        </p:nvSpPr>
        <p:spPr>
          <a:xfrm>
            <a:off x="9067801" y="4495846"/>
            <a:ext cx="3653982" cy="400110"/>
          </a:xfrm>
          <a:prstGeom prst="rect">
            <a:avLst/>
          </a:prstGeom>
          <a:noFill/>
        </p:spPr>
        <p:txBody>
          <a:bodyPr wrap="square" rtlCol="0">
            <a:spAutoFit/>
          </a:bodyPr>
          <a:lstStyle/>
          <a:p>
            <a:r>
              <a:rPr lang="zh-CN" altLang="en-US" sz="2000" dirty="0">
                <a:solidFill>
                  <a:srgbClr val="1C52B2"/>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上海大学国际新生奖学金</a:t>
            </a:r>
          </a:p>
        </p:txBody>
      </p:sp>
      <p:sp>
        <p:nvSpPr>
          <p:cNvPr id="173" name="文本框 172"/>
          <p:cNvSpPr txBox="1"/>
          <p:nvPr/>
        </p:nvSpPr>
        <p:spPr>
          <a:xfrm>
            <a:off x="5809527" y="4924458"/>
            <a:ext cx="3490313" cy="584775"/>
          </a:xfrm>
          <a:prstGeom prst="rect">
            <a:avLst/>
          </a:prstGeom>
          <a:noFill/>
        </p:spPr>
        <p:txBody>
          <a:bodyPr wrap="square" rtlCol="0">
            <a:spAutoFit/>
          </a:bodyPr>
          <a:lstStyle/>
          <a:p>
            <a:pPr algn="ctr"/>
            <a:r>
              <a:rPr lang="en-US" altLang="zh-CN" sz="1600" dirty="0">
                <a:latin typeface="Arial" panose="020B0604020202020204" pitchFamily="34" charset="0"/>
                <a:cs typeface="Arial" panose="020B0604020202020204" pitchFamily="34" charset="0"/>
              </a:rPr>
              <a:t>Confucius Institute </a:t>
            </a:r>
          </a:p>
          <a:p>
            <a:pPr algn="ctr"/>
            <a:r>
              <a:rPr lang="en-US" altLang="zh-CN" sz="1600" dirty="0">
                <a:latin typeface="Arial" panose="020B0604020202020204" pitchFamily="34" charset="0"/>
                <a:cs typeface="Arial" panose="020B0604020202020204" pitchFamily="34" charset="0"/>
              </a:rPr>
              <a:t>Scholarship</a:t>
            </a:r>
            <a:endParaRPr lang="zh-CN" altLang="en-US" sz="1600" dirty="0">
              <a:latin typeface="Arial" panose="020B0604020202020204" pitchFamily="34" charset="0"/>
              <a:cs typeface="Arial" panose="020B0604020202020204" pitchFamily="34" charset="0"/>
            </a:endParaRPr>
          </a:p>
        </p:txBody>
      </p:sp>
      <p:sp>
        <p:nvSpPr>
          <p:cNvPr id="174" name="文本框 173"/>
          <p:cNvSpPr txBox="1"/>
          <p:nvPr/>
        </p:nvSpPr>
        <p:spPr>
          <a:xfrm>
            <a:off x="6630196" y="4495846"/>
            <a:ext cx="3131747" cy="400110"/>
          </a:xfrm>
          <a:prstGeom prst="rect">
            <a:avLst/>
          </a:prstGeom>
          <a:noFill/>
        </p:spPr>
        <p:txBody>
          <a:bodyPr wrap="square" rtlCol="0">
            <a:spAutoFit/>
          </a:bodyPr>
          <a:lstStyle/>
          <a:p>
            <a:r>
              <a:rPr lang="zh-CN" altLang="en-US" sz="2000" dirty="0">
                <a:solidFill>
                  <a:srgbClr val="05A004"/>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孔子学院奖学金</a:t>
            </a:r>
          </a:p>
        </p:txBody>
      </p:sp>
      <p:sp>
        <p:nvSpPr>
          <p:cNvPr id="179" name="文本框 178"/>
          <p:cNvSpPr txBox="1"/>
          <p:nvPr/>
        </p:nvSpPr>
        <p:spPr>
          <a:xfrm>
            <a:off x="144538" y="5679062"/>
            <a:ext cx="2406446" cy="707886"/>
          </a:xfrm>
          <a:prstGeom prst="rect">
            <a:avLst/>
          </a:prstGeom>
          <a:noFill/>
        </p:spPr>
        <p:txBody>
          <a:bodyPr wrap="square" rtlCol="0">
            <a:spAutoFit/>
          </a:bodyPr>
          <a:lstStyle/>
          <a:p>
            <a:pPr algn="ctr"/>
            <a:r>
              <a:rPr lang="en-US" altLang="zh-CN" sz="2000" dirty="0">
                <a:solidFill>
                  <a:srgbClr val="1402C8"/>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CSC Type A</a:t>
            </a:r>
          </a:p>
          <a:p>
            <a:pPr algn="ctr"/>
            <a:r>
              <a:rPr lang="en-US" altLang="zh-CN" sz="2000" dirty="0">
                <a:solidFill>
                  <a:srgbClr val="1402C8"/>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CSC Type B</a:t>
            </a:r>
            <a:endParaRPr lang="zh-CN" altLang="en-US" sz="2000" dirty="0">
              <a:solidFill>
                <a:srgbClr val="1402C8"/>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80" name="文本框 179"/>
          <p:cNvSpPr txBox="1"/>
          <p:nvPr/>
        </p:nvSpPr>
        <p:spPr>
          <a:xfrm>
            <a:off x="3444858" y="5781383"/>
            <a:ext cx="2153332" cy="404598"/>
          </a:xfrm>
          <a:prstGeom prst="rect">
            <a:avLst/>
          </a:prstGeom>
          <a:noFill/>
        </p:spPr>
        <p:txBody>
          <a:bodyPr wrap="square" rtlCol="0">
            <a:spAutoFit/>
          </a:bodyPr>
          <a:lstStyle/>
          <a:p>
            <a:pPr algn="ctr"/>
            <a:r>
              <a:rPr lang="en-US" altLang="zh-CN" sz="2000" dirty="0">
                <a:solidFill>
                  <a:srgbClr val="45ABC3"/>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SGS</a:t>
            </a:r>
            <a:endParaRPr lang="zh-CN" altLang="en-US" sz="2000" dirty="0">
              <a:solidFill>
                <a:srgbClr val="45ABC3"/>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81" name="文本框 180"/>
          <p:cNvSpPr txBox="1"/>
          <p:nvPr/>
        </p:nvSpPr>
        <p:spPr>
          <a:xfrm>
            <a:off x="6630197" y="5824291"/>
            <a:ext cx="2038218" cy="400110"/>
          </a:xfrm>
          <a:prstGeom prst="rect">
            <a:avLst/>
          </a:prstGeom>
          <a:noFill/>
        </p:spPr>
        <p:txBody>
          <a:bodyPr wrap="square" rtlCol="0">
            <a:spAutoFit/>
          </a:bodyPr>
          <a:lstStyle>
            <a:defPPr>
              <a:defRPr lang="zh-CN"/>
            </a:defPPr>
            <a:lvl1pPr>
              <a:defRPr sz="2000">
                <a:solidFill>
                  <a:srgbClr val="05A004"/>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defRPr>
            </a:lvl1pPr>
          </a:lstStyle>
          <a:p>
            <a:pPr algn="ctr"/>
            <a:r>
              <a:rPr lang="en-US" altLang="zh-CN"/>
              <a:t>CI</a:t>
            </a:r>
            <a:r>
              <a:rPr lang="en-US" altLang="zh-CN" dirty="0"/>
              <a:t>S</a:t>
            </a:r>
            <a:endParaRPr lang="zh-CN" altLang="en-US" dirty="0"/>
          </a:p>
        </p:txBody>
      </p:sp>
      <p:sp>
        <p:nvSpPr>
          <p:cNvPr id="182" name="文本框 181"/>
          <p:cNvSpPr txBox="1"/>
          <p:nvPr/>
        </p:nvSpPr>
        <p:spPr>
          <a:xfrm>
            <a:off x="9416489" y="5785871"/>
            <a:ext cx="2380602" cy="400110"/>
          </a:xfrm>
          <a:prstGeom prst="rect">
            <a:avLst/>
          </a:prstGeom>
          <a:noFill/>
        </p:spPr>
        <p:txBody>
          <a:bodyPr wrap="square" rtlCol="0">
            <a:spAutoFit/>
          </a:bodyPr>
          <a:lstStyle/>
          <a:p>
            <a:pPr algn="ctr"/>
            <a:r>
              <a:rPr lang="en-US" altLang="zh-CN" sz="2000" dirty="0">
                <a:solidFill>
                  <a:srgbClr val="1C52B2"/>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SHS</a:t>
            </a:r>
            <a:endParaRPr lang="zh-CN" altLang="en-US" sz="2000" dirty="0">
              <a:solidFill>
                <a:srgbClr val="1C52B2"/>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0" name="文本框 29"/>
          <p:cNvSpPr txBox="1"/>
          <p:nvPr/>
        </p:nvSpPr>
        <p:spPr>
          <a:xfrm>
            <a:off x="493395" y="184785"/>
            <a:ext cx="5105400" cy="583565"/>
          </a:xfrm>
          <a:prstGeom prst="rect">
            <a:avLst/>
          </a:prstGeom>
          <a:noFill/>
        </p:spPr>
        <p:txBody>
          <a:bodyPr wrap="square" rtlCol="0">
            <a:spAutoFit/>
          </a:bodyPr>
          <a:lstStyle/>
          <a:p>
            <a:pPr lvl="0">
              <a:defRPr/>
            </a:pPr>
            <a:r>
              <a:rPr lang="en-US" sz="3200" b="1" kern="0" spc="400" dirty="0">
                <a:solidFill>
                  <a:srgbClr val="002060"/>
                </a:solidFill>
                <a:latin typeface="Arial" panose="020B0604020202020204" pitchFamily="34" charset="0"/>
                <a:ea typeface="微软雅黑" panose="020B0503020204020204" pitchFamily="34" charset="-122"/>
                <a:cs typeface="Arial" panose="020B0604020202020204" pitchFamily="34" charset="0"/>
              </a:rPr>
              <a:t>Scholarship Types</a:t>
            </a:r>
          </a:p>
        </p:txBody>
      </p:sp>
      <p:pic>
        <p:nvPicPr>
          <p:cNvPr id="18" name="图片 17" descr="上大logo最新"/>
          <p:cNvPicPr>
            <a:picLocks noChangeAspect="1"/>
          </p:cNvPicPr>
          <p:nvPr/>
        </p:nvPicPr>
        <p:blipFill>
          <a:blip r:embed="rId6">
            <a:clrChange>
              <a:clrFrom>
                <a:srgbClr val="F6F5F6">
                  <a:alpha val="100000"/>
                </a:srgbClr>
              </a:clrFrom>
              <a:clrTo>
                <a:srgbClr val="F6F5F6">
                  <a:alpha val="100000"/>
                  <a:alpha val="0"/>
                </a:srgbClr>
              </a:clrTo>
            </a:clrChange>
          </a:blip>
          <a:stretch>
            <a:fillRect/>
          </a:stretch>
        </p:blipFill>
        <p:spPr>
          <a:xfrm>
            <a:off x="9684385" y="125730"/>
            <a:ext cx="2439670" cy="702310"/>
          </a:xfrm>
          <a:prstGeom prst="rect">
            <a:avLst/>
          </a:prstGeom>
        </p:spPr>
      </p:pic>
      <p:sp>
        <p:nvSpPr>
          <p:cNvPr id="3" name="等腰三角形 2"/>
          <p:cNvSpPr/>
          <p:nvPr/>
        </p:nvSpPr>
        <p:spPr>
          <a:xfrm rot="5400000">
            <a:off x="-174172" y="174171"/>
            <a:ext cx="841829" cy="493486"/>
          </a:xfrm>
          <a:prstGeom prst="triangle">
            <a:avLst/>
          </a:prstGeom>
          <a:gradFill>
            <a:gsLst>
              <a:gs pos="0">
                <a:srgbClr val="007BD3"/>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1250">
        <p:push/>
      </p:transition>
    </mc:Choice>
    <mc:Fallback xmlns="">
      <p:transition spd="slow">
        <p:push/>
      </p:transition>
    </mc:Fallback>
  </mc:AlternateContent>
  <p:timing>
    <p:tnLst>
      <p:par>
        <p:cTn id="1" dur="indefinite" restart="never" nodeType="tmRoot"/>
      </p:par>
    </p:tnLst>
    <p:bldLst>
      <p:bldP spid="139" grpId="0" bldLvl="0" animBg="1"/>
      <p:bldP spid="141" grpId="0" bldLvl="0" animBg="1"/>
      <p:bldP spid="142" grpId="0" bldLvl="0" animBg="1"/>
      <p:bldP spid="155" grpId="0" bldLvl="0" animBg="1"/>
      <p:bldP spid="167" grpId="0"/>
      <p:bldP spid="168" grpId="0"/>
      <p:bldP spid="169" grpId="0"/>
      <p:bldP spid="170" grpId="0"/>
      <p:bldP spid="171" grpId="0"/>
      <p:bldP spid="172" grpId="0"/>
      <p:bldP spid="173" grpId="0"/>
      <p:bldP spid="174" grpId="0"/>
      <p:bldP spid="179" grpId="0"/>
      <p:bldP spid="180" grpId="0"/>
      <p:bldP spid="181" grpId="0"/>
      <p:bldP spid="18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íşľïḋe"/>
          <p:cNvSpPr/>
          <p:nvPr/>
        </p:nvSpPr>
        <p:spPr bwMode="auto">
          <a:xfrm>
            <a:off x="147932" y="872005"/>
            <a:ext cx="11737209" cy="2440725"/>
          </a:xfrm>
          <a:prstGeom prst="rect">
            <a:avLst/>
          </a:prstGeom>
          <a:blipFill dpi="0" rotWithShape="1">
            <a:blip r:embed="rId4">
              <a:alphaModFix amt="61000"/>
            </a:blip>
            <a:srcRect/>
            <a:stretch>
              <a:fillRect/>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lt1"/>
              </a:solidFill>
            </a:endParaRPr>
          </a:p>
        </p:txBody>
      </p:sp>
      <p:sp>
        <p:nvSpPr>
          <p:cNvPr id="5" name="î$1ïdé"/>
          <p:cNvSpPr/>
          <p:nvPr/>
        </p:nvSpPr>
        <p:spPr bwMode="auto">
          <a:xfrm>
            <a:off x="147931" y="868919"/>
            <a:ext cx="11737208" cy="2446265"/>
          </a:xfrm>
          <a:prstGeom prst="rect">
            <a:avLst/>
          </a:prstGeom>
          <a:solidFill>
            <a:srgbClr val="E9EBF5">
              <a:alpha val="61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t"/>
          <a:lstStyle/>
          <a:p>
            <a:pPr algn="ctr"/>
            <a:endParaRPr lang="en-US" altLang="zh-CN" sz="1600" dirty="0"/>
          </a:p>
        </p:txBody>
      </p:sp>
      <p:sp>
        <p:nvSpPr>
          <p:cNvPr id="49" name="矩形 48"/>
          <p:cNvSpPr/>
          <p:nvPr/>
        </p:nvSpPr>
        <p:spPr>
          <a:xfrm>
            <a:off x="0" y="0"/>
            <a:ext cx="1000906" cy="830997"/>
          </a:xfrm>
          <a:prstGeom prst="rect">
            <a:avLst/>
          </a:prstGeom>
          <a:solidFill>
            <a:srgbClr val="0A7BB6">
              <a:alpha val="67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80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50" name="文本框 49"/>
          <p:cNvSpPr txBox="1"/>
          <p:nvPr/>
        </p:nvSpPr>
        <p:spPr>
          <a:xfrm>
            <a:off x="1120759" y="140995"/>
            <a:ext cx="6707723" cy="583565"/>
          </a:xfrm>
          <a:prstGeom prst="rect">
            <a:avLst/>
          </a:prstGeom>
          <a:noFill/>
        </p:spPr>
        <p:txBody>
          <a:bodyPr wrap="square" rtlCol="0">
            <a:spAutoFit/>
          </a:bodyPr>
          <a:lstStyle/>
          <a:p>
            <a:pPr lvl="0">
              <a:defRPr/>
            </a:pPr>
            <a:r>
              <a:rPr lang="en-US" sz="3200" b="1" kern="0" spc="400" dirty="0">
                <a:solidFill>
                  <a:srgbClr val="002060"/>
                </a:solidFill>
                <a:latin typeface="Arial" panose="020B0604020202020204" pitchFamily="34" charset="0"/>
                <a:ea typeface="微软雅黑" panose="020B0503020204020204" pitchFamily="34" charset="-122"/>
                <a:cs typeface="Arial" panose="020B0604020202020204" pitchFamily="34" charset="0"/>
              </a:rPr>
              <a:t>SCHOLARSHIP COVERAGE</a:t>
            </a:r>
            <a:endParaRPr lang="en-US" altLang="zh-CN" sz="3200" kern="0" spc="400" dirty="0">
              <a:solidFill>
                <a:srgbClr val="0A7BB6"/>
              </a:solidFill>
              <a:latin typeface="微软雅黑" panose="020B0503020204020204" pitchFamily="34" charset="-122"/>
              <a:ea typeface="微软雅黑" panose="020B0503020204020204" pitchFamily="34" charset="-122"/>
            </a:endParaRPr>
          </a:p>
        </p:txBody>
      </p:sp>
      <p:sp>
        <p:nvSpPr>
          <p:cNvPr id="67" name="椭圆 66"/>
          <p:cNvSpPr/>
          <p:nvPr/>
        </p:nvSpPr>
        <p:spPr>
          <a:xfrm>
            <a:off x="3118965" y="1788732"/>
            <a:ext cx="952748" cy="962265"/>
          </a:xfrm>
          <a:prstGeom prst="ellipse">
            <a:avLst/>
          </a:prstGeom>
          <a:solidFill>
            <a:schemeClr val="bg1"/>
          </a:solidFill>
          <a:ln w="25400">
            <a:solidFill>
              <a:srgbClr val="0A7B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椭圆 67"/>
          <p:cNvSpPr/>
          <p:nvPr/>
        </p:nvSpPr>
        <p:spPr>
          <a:xfrm>
            <a:off x="6397487" y="1759168"/>
            <a:ext cx="952748" cy="962265"/>
          </a:xfrm>
          <a:prstGeom prst="ellipse">
            <a:avLst/>
          </a:prstGeom>
          <a:solidFill>
            <a:schemeClr val="bg1"/>
          </a:solidFill>
          <a:ln w="25400">
            <a:solidFill>
              <a:srgbClr val="0A7B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1" name="图片 70"/>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6490631" y="1819417"/>
            <a:ext cx="776969" cy="794809"/>
          </a:xfrm>
          <a:prstGeom prst="ellipse">
            <a:avLst/>
          </a:prstGeom>
        </p:spPr>
      </p:pic>
      <p:sp>
        <p:nvSpPr>
          <p:cNvPr id="73" name="椭圆 72"/>
          <p:cNvSpPr/>
          <p:nvPr/>
        </p:nvSpPr>
        <p:spPr>
          <a:xfrm>
            <a:off x="9801138" y="1797834"/>
            <a:ext cx="952748" cy="962265"/>
          </a:xfrm>
          <a:prstGeom prst="ellipse">
            <a:avLst/>
          </a:prstGeom>
          <a:solidFill>
            <a:schemeClr val="bg1"/>
          </a:solidFill>
          <a:ln w="25400">
            <a:solidFill>
              <a:srgbClr val="0A7B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4" name="图片 73"/>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9915319" y="1825781"/>
            <a:ext cx="733648" cy="897405"/>
          </a:xfrm>
          <a:prstGeom prst="ellipse">
            <a:avLst/>
          </a:prstGeom>
        </p:spPr>
      </p:pic>
      <p:pic>
        <p:nvPicPr>
          <p:cNvPr id="75" name="图片 74"/>
          <p:cNvPicPr>
            <a:picLocks noChangeAspect="1"/>
          </p:cNvPicPr>
          <p:nvPr/>
        </p:nvPicPr>
        <p:blipFill rotWithShape="1">
          <a:blip r:embed="rId7" cstate="print">
            <a:extLst>
              <a:ext uri="{28A0092B-C50C-407E-A947-70E740481C1C}">
                <a14:useLocalDpi xmlns:a14="http://schemas.microsoft.com/office/drawing/2010/main" val="0"/>
              </a:ext>
            </a:extLst>
          </a:blip>
          <a:srcRect/>
          <a:stretch>
            <a:fillRect/>
          </a:stretch>
        </p:blipFill>
        <p:spPr>
          <a:xfrm>
            <a:off x="3114481" y="1835244"/>
            <a:ext cx="925941" cy="857945"/>
          </a:xfrm>
          <a:prstGeom prst="ellipse">
            <a:avLst/>
          </a:prstGeom>
        </p:spPr>
      </p:pic>
      <p:sp>
        <p:nvSpPr>
          <p:cNvPr id="76" name="îṧḻïḑê"/>
          <p:cNvSpPr txBox="1"/>
          <p:nvPr/>
        </p:nvSpPr>
        <p:spPr bwMode="auto">
          <a:xfrm>
            <a:off x="147932" y="3316792"/>
            <a:ext cx="1729755" cy="478635"/>
          </a:xfrm>
          <a:prstGeom prst="rect">
            <a:avLst/>
          </a:prstGeom>
          <a:solidFill>
            <a:schemeClr val="accent1">
              <a:alpha val="69000"/>
            </a:schemeClr>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en-US" altLang="zh-CN" b="1" dirty="0">
                <a:solidFill>
                  <a:schemeClr val="bg1"/>
                </a:solidFill>
              </a:rPr>
              <a:t>Tuition fee</a:t>
            </a:r>
          </a:p>
        </p:txBody>
      </p:sp>
      <p:sp>
        <p:nvSpPr>
          <p:cNvPr id="78" name="ïš1íḑé"/>
          <p:cNvSpPr txBox="1"/>
          <p:nvPr/>
        </p:nvSpPr>
        <p:spPr bwMode="auto">
          <a:xfrm>
            <a:off x="158565" y="5356055"/>
            <a:ext cx="1706163" cy="930899"/>
          </a:xfrm>
          <a:prstGeom prst="rect">
            <a:avLst/>
          </a:prstGeom>
          <a:solidFill>
            <a:schemeClr val="bg1"/>
          </a:solidFill>
          <a:ln w="19050">
            <a:solidFill>
              <a:schemeClr val="accent1"/>
            </a:solid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en-US" altLang="zh-CN" sz="1600" b="1" dirty="0"/>
              <a:t>Stipend</a:t>
            </a:r>
          </a:p>
        </p:txBody>
      </p:sp>
      <p:sp>
        <p:nvSpPr>
          <p:cNvPr id="115" name="îṧḻïḑê"/>
          <p:cNvSpPr txBox="1"/>
          <p:nvPr/>
        </p:nvSpPr>
        <p:spPr bwMode="auto">
          <a:xfrm>
            <a:off x="158565" y="3831480"/>
            <a:ext cx="1721700" cy="474390"/>
          </a:xfrm>
          <a:prstGeom prst="rect">
            <a:avLst/>
          </a:prstGeom>
          <a:solidFill>
            <a:srgbClr val="C00000">
              <a:alpha val="25000"/>
            </a:srgbClr>
          </a:solid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en-US" altLang="zh-CN" b="1" dirty="0">
                <a:solidFill>
                  <a:schemeClr val="bg1"/>
                </a:solidFill>
              </a:rPr>
              <a:t>Insurance </a:t>
            </a:r>
          </a:p>
        </p:txBody>
      </p:sp>
      <p:sp>
        <p:nvSpPr>
          <p:cNvPr id="132" name="矩形 131"/>
          <p:cNvSpPr/>
          <p:nvPr/>
        </p:nvSpPr>
        <p:spPr>
          <a:xfrm>
            <a:off x="158565" y="4340533"/>
            <a:ext cx="1721701" cy="470416"/>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bg1"/>
                </a:solidFill>
              </a:rPr>
              <a:t>Free university dormitory</a:t>
            </a:r>
            <a:endParaRPr lang="zh-CN" altLang="en-US" sz="1400" b="1" dirty="0">
              <a:solidFill>
                <a:schemeClr val="bg1"/>
              </a:solidFill>
            </a:endParaRPr>
          </a:p>
        </p:txBody>
      </p:sp>
      <p:sp>
        <p:nvSpPr>
          <p:cNvPr id="134" name="矩形 133"/>
          <p:cNvSpPr/>
          <p:nvPr/>
        </p:nvSpPr>
        <p:spPr>
          <a:xfrm>
            <a:off x="157789" y="4814035"/>
            <a:ext cx="1721702" cy="470416"/>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400" b="1" dirty="0">
                <a:solidFill>
                  <a:schemeClr val="bg1"/>
                </a:solidFill>
              </a:rPr>
              <a:t>Off-campus housing subsidies</a:t>
            </a:r>
            <a:endParaRPr lang="zh-CN" altLang="en-US" sz="1400" b="1" dirty="0">
              <a:solidFill>
                <a:schemeClr val="bg1"/>
              </a:solidFill>
            </a:endParaRPr>
          </a:p>
        </p:txBody>
      </p:sp>
      <p:grpSp>
        <p:nvGrpSpPr>
          <p:cNvPr id="154" name="组合 153"/>
          <p:cNvGrpSpPr/>
          <p:nvPr/>
        </p:nvGrpSpPr>
        <p:grpSpPr>
          <a:xfrm>
            <a:off x="1969770" y="2811681"/>
            <a:ext cx="9915369" cy="3856327"/>
            <a:chOff x="1969771" y="2811681"/>
            <a:chExt cx="8660474" cy="3856327"/>
          </a:xfrm>
        </p:grpSpPr>
        <p:pic>
          <p:nvPicPr>
            <p:cNvPr id="101" name="图形 100" descr="关闭"/>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6810616" y="4357840"/>
              <a:ext cx="415993" cy="415993"/>
            </a:xfrm>
            <a:prstGeom prst="rect">
              <a:avLst/>
            </a:prstGeom>
          </p:spPr>
        </p:pic>
        <p:sp>
          <p:nvSpPr>
            <p:cNvPr id="23" name="ïṣľîde"/>
            <p:cNvSpPr/>
            <p:nvPr/>
          </p:nvSpPr>
          <p:spPr bwMode="auto">
            <a:xfrm>
              <a:off x="5765052" y="4612630"/>
              <a:ext cx="1400120" cy="496468"/>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6" name="iSḷiḓè"/>
            <p:cNvSpPr/>
            <p:nvPr/>
          </p:nvSpPr>
          <p:spPr bwMode="auto">
            <a:xfrm>
              <a:off x="3414582" y="2811681"/>
              <a:ext cx="1400120" cy="496468"/>
            </a:xfrm>
            <a:prstGeom prst="rect">
              <a:avLst/>
            </a:prstGeom>
            <a:solidFill>
              <a:srgbClr val="5BA6CE"/>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b="1" dirty="0">
                  <a:solidFill>
                    <a:schemeClr val="bg1"/>
                  </a:solidFill>
                </a:rPr>
                <a:t>CSC Type B</a:t>
              </a:r>
            </a:p>
          </p:txBody>
        </p:sp>
        <p:sp>
          <p:nvSpPr>
            <p:cNvPr id="7" name="íś1íḓè"/>
            <p:cNvSpPr/>
            <p:nvPr/>
          </p:nvSpPr>
          <p:spPr bwMode="auto">
            <a:xfrm>
              <a:off x="3414582" y="3308149"/>
              <a:ext cx="1400120" cy="496468"/>
            </a:xfrm>
            <a:prstGeom prst="rect">
              <a:avLst/>
            </a:prstGeom>
            <a:solidFill>
              <a:schemeClr val="bg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8" name="is1ïḓè"/>
            <p:cNvSpPr/>
            <p:nvPr/>
          </p:nvSpPr>
          <p:spPr bwMode="auto">
            <a:xfrm>
              <a:off x="3414582" y="3804616"/>
              <a:ext cx="1400120" cy="496468"/>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9" name="îšḻíḍê"/>
            <p:cNvSpPr/>
            <p:nvPr/>
          </p:nvSpPr>
          <p:spPr bwMode="auto">
            <a:xfrm>
              <a:off x="3414582" y="4301084"/>
              <a:ext cx="1400120" cy="496468"/>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11" name="išļiďé"/>
            <p:cNvSpPr/>
            <p:nvPr/>
          </p:nvSpPr>
          <p:spPr bwMode="auto">
            <a:xfrm>
              <a:off x="3457547" y="5294018"/>
              <a:ext cx="1400120" cy="496468"/>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13" name="iṧ1ïḓe"/>
            <p:cNvSpPr/>
            <p:nvPr/>
          </p:nvSpPr>
          <p:spPr bwMode="auto">
            <a:xfrm>
              <a:off x="4857667" y="2811681"/>
              <a:ext cx="1400120" cy="496468"/>
            </a:xfrm>
            <a:prstGeom prst="rect">
              <a:avLst/>
            </a:prstGeom>
            <a:solidFill>
              <a:srgbClr val="5BA6CE"/>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b="1" dirty="0">
                  <a:solidFill>
                    <a:schemeClr val="bg1"/>
                  </a:solidFill>
                </a:rPr>
                <a:t>SGS Type A</a:t>
              </a:r>
            </a:p>
          </p:txBody>
        </p:sp>
        <p:sp>
          <p:nvSpPr>
            <p:cNvPr id="14" name="išļîde"/>
            <p:cNvSpPr/>
            <p:nvPr/>
          </p:nvSpPr>
          <p:spPr bwMode="auto">
            <a:xfrm>
              <a:off x="4857667" y="3308149"/>
              <a:ext cx="1400120" cy="496468"/>
            </a:xfrm>
            <a:prstGeom prst="rect">
              <a:avLst/>
            </a:prstGeom>
            <a:solidFill>
              <a:schemeClr val="bg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15" name="ïṥļïḋê"/>
            <p:cNvSpPr/>
            <p:nvPr/>
          </p:nvSpPr>
          <p:spPr bwMode="auto">
            <a:xfrm>
              <a:off x="4857667" y="3804616"/>
              <a:ext cx="1400120" cy="496468"/>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16" name="îṥlïḋê"/>
            <p:cNvSpPr/>
            <p:nvPr/>
          </p:nvSpPr>
          <p:spPr bwMode="auto">
            <a:xfrm>
              <a:off x="4857667" y="4301084"/>
              <a:ext cx="1400120" cy="496468"/>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18" name="îşļïḍé"/>
            <p:cNvSpPr/>
            <p:nvPr/>
          </p:nvSpPr>
          <p:spPr bwMode="auto">
            <a:xfrm>
              <a:off x="4857667" y="5294019"/>
              <a:ext cx="1400120" cy="496468"/>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20" name="îṥḷíḋè"/>
            <p:cNvSpPr/>
            <p:nvPr/>
          </p:nvSpPr>
          <p:spPr bwMode="auto">
            <a:xfrm>
              <a:off x="6300754" y="2811681"/>
              <a:ext cx="1400120" cy="496468"/>
            </a:xfrm>
            <a:prstGeom prst="rect">
              <a:avLst/>
            </a:prstGeom>
            <a:solidFill>
              <a:srgbClr val="5BA6CE"/>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b="1" dirty="0">
                  <a:solidFill>
                    <a:schemeClr val="bg1"/>
                  </a:solidFill>
                </a:rPr>
                <a:t>SGS Type B</a:t>
              </a:r>
            </a:p>
          </p:txBody>
        </p:sp>
        <p:sp>
          <p:nvSpPr>
            <p:cNvPr id="21" name="ïṩḷïďê"/>
            <p:cNvSpPr/>
            <p:nvPr/>
          </p:nvSpPr>
          <p:spPr bwMode="auto">
            <a:xfrm>
              <a:off x="6300754" y="3308149"/>
              <a:ext cx="1400120" cy="496468"/>
            </a:xfrm>
            <a:prstGeom prst="rect">
              <a:avLst/>
            </a:prstGeom>
            <a:solidFill>
              <a:schemeClr val="bg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22" name="î$ļidé"/>
            <p:cNvSpPr/>
            <p:nvPr/>
          </p:nvSpPr>
          <p:spPr bwMode="auto">
            <a:xfrm>
              <a:off x="6300754" y="3804616"/>
              <a:ext cx="1400120" cy="496468"/>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24" name="îşliďè"/>
            <p:cNvSpPr/>
            <p:nvPr/>
          </p:nvSpPr>
          <p:spPr bwMode="auto">
            <a:xfrm>
              <a:off x="6300754" y="4797551"/>
              <a:ext cx="1400120" cy="496468"/>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dirty="0"/>
            </a:p>
          </p:txBody>
        </p:sp>
        <p:sp>
          <p:nvSpPr>
            <p:cNvPr id="25" name="ïsḷiḋê"/>
            <p:cNvSpPr/>
            <p:nvPr/>
          </p:nvSpPr>
          <p:spPr bwMode="auto">
            <a:xfrm>
              <a:off x="6279488" y="5294019"/>
              <a:ext cx="1400120" cy="496468"/>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26" name="iṩḷïḍe"/>
            <p:cNvSpPr/>
            <p:nvPr/>
          </p:nvSpPr>
          <p:spPr bwMode="auto">
            <a:xfrm>
              <a:off x="6300754" y="5790486"/>
              <a:ext cx="1400120" cy="496468"/>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dirty="0"/>
            </a:p>
          </p:txBody>
        </p:sp>
        <p:sp>
          <p:nvSpPr>
            <p:cNvPr id="28" name="iṣḻíḓe"/>
            <p:cNvSpPr/>
            <p:nvPr/>
          </p:nvSpPr>
          <p:spPr bwMode="auto">
            <a:xfrm>
              <a:off x="7754253" y="3308149"/>
              <a:ext cx="1400120" cy="496468"/>
            </a:xfrm>
            <a:prstGeom prst="rect">
              <a:avLst/>
            </a:prstGeom>
            <a:solidFill>
              <a:schemeClr val="bg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34" name="íṩľïḋe"/>
            <p:cNvSpPr/>
            <p:nvPr/>
          </p:nvSpPr>
          <p:spPr bwMode="auto">
            <a:xfrm>
              <a:off x="7781335" y="2821707"/>
              <a:ext cx="1400120" cy="496468"/>
            </a:xfrm>
            <a:prstGeom prst="rect">
              <a:avLst/>
            </a:prstGeom>
            <a:solidFill>
              <a:srgbClr val="5BA6CE"/>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b="1" dirty="0">
                  <a:solidFill>
                    <a:schemeClr val="bg1"/>
                  </a:solidFill>
                </a:rPr>
                <a:t>SHS Type A</a:t>
              </a:r>
              <a:endParaRPr lang="zh-CN" altLang="en-US" b="1" dirty="0">
                <a:solidFill>
                  <a:schemeClr val="bg1"/>
                </a:solidFill>
              </a:endParaRPr>
            </a:p>
          </p:txBody>
        </p:sp>
        <p:sp>
          <p:nvSpPr>
            <p:cNvPr id="35" name="iṣļíďé"/>
            <p:cNvSpPr/>
            <p:nvPr/>
          </p:nvSpPr>
          <p:spPr bwMode="auto">
            <a:xfrm>
              <a:off x="7781335" y="3318175"/>
              <a:ext cx="1400120" cy="496468"/>
            </a:xfrm>
            <a:prstGeom prst="rect">
              <a:avLst/>
            </a:prstGeom>
            <a:solidFill>
              <a:schemeClr val="bg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36" name="îṣļiďê"/>
            <p:cNvSpPr/>
            <p:nvPr/>
          </p:nvSpPr>
          <p:spPr bwMode="auto">
            <a:xfrm>
              <a:off x="7781335" y="3814642"/>
              <a:ext cx="1400120" cy="496468"/>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37" name="iṡļíḍê"/>
            <p:cNvSpPr/>
            <p:nvPr/>
          </p:nvSpPr>
          <p:spPr bwMode="auto">
            <a:xfrm>
              <a:off x="7781335" y="4311110"/>
              <a:ext cx="1400120" cy="496468"/>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38" name="ïṩlíḋe"/>
            <p:cNvSpPr/>
            <p:nvPr/>
          </p:nvSpPr>
          <p:spPr bwMode="auto">
            <a:xfrm>
              <a:off x="7781335" y="4807577"/>
              <a:ext cx="1400120" cy="496468"/>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dirty="0"/>
            </a:p>
          </p:txBody>
        </p:sp>
        <p:sp>
          <p:nvSpPr>
            <p:cNvPr id="39" name="îş1idé"/>
            <p:cNvSpPr/>
            <p:nvPr/>
          </p:nvSpPr>
          <p:spPr bwMode="auto">
            <a:xfrm>
              <a:off x="7767578" y="5319156"/>
              <a:ext cx="1400120" cy="496468"/>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40" name="í$lïḑè"/>
            <p:cNvSpPr/>
            <p:nvPr/>
          </p:nvSpPr>
          <p:spPr bwMode="auto">
            <a:xfrm>
              <a:off x="7781335" y="5800512"/>
              <a:ext cx="1400120" cy="496468"/>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dirty="0"/>
            </a:p>
          </p:txBody>
        </p:sp>
        <p:sp>
          <p:nvSpPr>
            <p:cNvPr id="41" name="iṣḻîḓe"/>
            <p:cNvSpPr/>
            <p:nvPr/>
          </p:nvSpPr>
          <p:spPr bwMode="auto">
            <a:xfrm>
              <a:off x="9230125" y="2821707"/>
              <a:ext cx="1400120" cy="496468"/>
            </a:xfrm>
            <a:prstGeom prst="rect">
              <a:avLst/>
            </a:prstGeom>
            <a:solidFill>
              <a:srgbClr val="5BA6CE"/>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b="1" dirty="0">
                  <a:solidFill>
                    <a:schemeClr val="bg1"/>
                  </a:solidFill>
                </a:rPr>
                <a:t>SHS Type B</a:t>
              </a:r>
              <a:endParaRPr lang="zh-CN" altLang="en-US" b="1" dirty="0">
                <a:solidFill>
                  <a:schemeClr val="bg1"/>
                </a:solidFill>
              </a:endParaRPr>
            </a:p>
          </p:txBody>
        </p:sp>
        <p:sp>
          <p:nvSpPr>
            <p:cNvPr id="42" name="îSḻïdé"/>
            <p:cNvSpPr/>
            <p:nvPr/>
          </p:nvSpPr>
          <p:spPr bwMode="auto">
            <a:xfrm>
              <a:off x="9230125" y="3318175"/>
              <a:ext cx="1400120" cy="496468"/>
            </a:xfrm>
            <a:prstGeom prst="rect">
              <a:avLst/>
            </a:prstGeom>
            <a:solidFill>
              <a:schemeClr val="bg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43" name="îS1îďê"/>
            <p:cNvSpPr/>
            <p:nvPr/>
          </p:nvSpPr>
          <p:spPr bwMode="auto">
            <a:xfrm>
              <a:off x="9230125" y="3814642"/>
              <a:ext cx="1400120" cy="496468"/>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44" name="işlîḑê"/>
            <p:cNvSpPr/>
            <p:nvPr/>
          </p:nvSpPr>
          <p:spPr bwMode="auto">
            <a:xfrm>
              <a:off x="9230125" y="4311110"/>
              <a:ext cx="1400120" cy="496468"/>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45" name="îśľiďé"/>
            <p:cNvSpPr/>
            <p:nvPr/>
          </p:nvSpPr>
          <p:spPr bwMode="auto">
            <a:xfrm>
              <a:off x="9230125" y="4807577"/>
              <a:ext cx="1400120" cy="496468"/>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dirty="0"/>
            </a:p>
          </p:txBody>
        </p:sp>
        <p:sp>
          <p:nvSpPr>
            <p:cNvPr id="46" name="îśḷiḋê"/>
            <p:cNvSpPr/>
            <p:nvPr/>
          </p:nvSpPr>
          <p:spPr bwMode="auto">
            <a:xfrm>
              <a:off x="9230125" y="5304045"/>
              <a:ext cx="1400120" cy="496468"/>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b="1" dirty="0">
                <a:solidFill>
                  <a:schemeClr val="tx1"/>
                </a:solidFill>
              </a:endParaRPr>
            </a:p>
          </p:txBody>
        </p:sp>
        <p:sp>
          <p:nvSpPr>
            <p:cNvPr id="47" name="ïśļiḑe"/>
            <p:cNvSpPr/>
            <p:nvPr/>
          </p:nvSpPr>
          <p:spPr bwMode="auto">
            <a:xfrm>
              <a:off x="9230125" y="5800512"/>
              <a:ext cx="1400120" cy="496468"/>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100" dirty="0"/>
            </a:p>
          </p:txBody>
        </p:sp>
        <p:sp>
          <p:nvSpPr>
            <p:cNvPr id="59" name="iSḷiḓè"/>
            <p:cNvSpPr/>
            <p:nvPr/>
          </p:nvSpPr>
          <p:spPr bwMode="auto">
            <a:xfrm>
              <a:off x="1971494" y="2811681"/>
              <a:ext cx="1400120" cy="496468"/>
            </a:xfrm>
            <a:prstGeom prst="rect">
              <a:avLst/>
            </a:prstGeom>
            <a:solidFill>
              <a:srgbClr val="5BA6CE"/>
            </a:solidFill>
            <a:ln w="38100">
              <a:noFill/>
            </a:ln>
          </p:spPr>
          <p:style>
            <a:lnRef idx="2">
              <a:schemeClr val="dk1"/>
            </a:lnRef>
            <a:fillRef idx="1">
              <a:schemeClr val="lt1"/>
            </a:fillRef>
            <a:effectRef idx="0">
              <a:schemeClr val="dk1"/>
            </a:effectRef>
            <a:fontRef idx="minor">
              <a:schemeClr val="dk1"/>
            </a:fontRef>
          </p:style>
          <p:txBody>
            <a:bodyPr rtlCol="0"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altLang="zh-CN" b="1" dirty="0">
                  <a:solidFill>
                    <a:schemeClr val="bg1"/>
                  </a:solidFill>
                </a:rPr>
                <a:t>CSC Type A</a:t>
              </a:r>
            </a:p>
          </p:txBody>
        </p:sp>
        <p:sp>
          <p:nvSpPr>
            <p:cNvPr id="60" name="íś1íḓè"/>
            <p:cNvSpPr/>
            <p:nvPr/>
          </p:nvSpPr>
          <p:spPr bwMode="auto">
            <a:xfrm>
              <a:off x="1971494" y="3308149"/>
              <a:ext cx="1400120" cy="496468"/>
            </a:xfrm>
            <a:prstGeom prst="rect">
              <a:avLst/>
            </a:prstGeom>
            <a:solidFill>
              <a:schemeClr val="bg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zh-CN" altLang="en-US" sz="1100" b="1" dirty="0">
                <a:solidFill>
                  <a:schemeClr val="tx1"/>
                </a:solidFill>
              </a:endParaRPr>
            </a:p>
          </p:txBody>
        </p:sp>
        <p:sp>
          <p:nvSpPr>
            <p:cNvPr id="61" name="is1ïḓè"/>
            <p:cNvSpPr/>
            <p:nvPr/>
          </p:nvSpPr>
          <p:spPr bwMode="auto">
            <a:xfrm>
              <a:off x="1971494" y="3804616"/>
              <a:ext cx="1400120" cy="496468"/>
            </a:xfrm>
            <a:prstGeom prst="rect">
              <a:avLst/>
            </a:prstGeom>
            <a:solidFill>
              <a:schemeClr val="accent1">
                <a:alpha val="1500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zh-CN" altLang="en-US" sz="1100" b="1" dirty="0">
                <a:solidFill>
                  <a:schemeClr val="tx1"/>
                </a:solidFill>
              </a:endParaRPr>
            </a:p>
          </p:txBody>
        </p:sp>
        <p:sp>
          <p:nvSpPr>
            <p:cNvPr id="62" name="îšḻíḍê"/>
            <p:cNvSpPr/>
            <p:nvPr/>
          </p:nvSpPr>
          <p:spPr bwMode="auto">
            <a:xfrm>
              <a:off x="1971494" y="4301084"/>
              <a:ext cx="1400120" cy="496468"/>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zh-CN" altLang="en-US" sz="1100" b="1" dirty="0">
                <a:solidFill>
                  <a:schemeClr val="tx1"/>
                </a:solidFill>
              </a:endParaRPr>
            </a:p>
          </p:txBody>
        </p:sp>
        <p:sp>
          <p:nvSpPr>
            <p:cNvPr id="64" name="išļiďé"/>
            <p:cNvSpPr/>
            <p:nvPr/>
          </p:nvSpPr>
          <p:spPr bwMode="auto">
            <a:xfrm>
              <a:off x="1971494" y="5294019"/>
              <a:ext cx="1400120" cy="496468"/>
            </a:xfrm>
            <a:prstGeom prst="rect">
              <a:avLst/>
            </a:prstGeom>
            <a:solidFill>
              <a:schemeClr val="accent1">
                <a:alpha val="0"/>
              </a:schemeClr>
            </a:solidFill>
            <a:ln w="38100">
              <a:noFill/>
            </a:ln>
          </p:spPr>
          <p:style>
            <a:lnRef idx="2">
              <a:schemeClr val="dk1"/>
            </a:lnRef>
            <a:fillRef idx="1">
              <a:schemeClr val="lt1"/>
            </a:fillRef>
            <a:effectRef idx="0">
              <a:schemeClr val="dk1"/>
            </a:effectRef>
            <a:fontRef idx="minor">
              <a:schemeClr val="dk1"/>
            </a:fontRef>
          </p:style>
          <p:txBody>
            <a:bodyPr rtlCol="0"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zh-CN" altLang="en-US" sz="1100" b="1" dirty="0">
                <a:solidFill>
                  <a:schemeClr val="tx1"/>
                </a:solidFill>
              </a:endParaRPr>
            </a:p>
          </p:txBody>
        </p:sp>
        <p:cxnSp>
          <p:nvCxnSpPr>
            <p:cNvPr id="80" name="直接连接符 79"/>
            <p:cNvCxnSpPr/>
            <p:nvPr/>
          </p:nvCxnSpPr>
          <p:spPr>
            <a:xfrm>
              <a:off x="4834078" y="2811681"/>
              <a:ext cx="0" cy="3475273"/>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直接连接符 81"/>
            <p:cNvCxnSpPr/>
            <p:nvPr/>
          </p:nvCxnSpPr>
          <p:spPr>
            <a:xfrm>
              <a:off x="7738327" y="2825487"/>
              <a:ext cx="0" cy="3475273"/>
            </a:xfrm>
            <a:prstGeom prst="line">
              <a:avLst/>
            </a:prstGeom>
          </p:spPr>
          <p:style>
            <a:lnRef idx="1">
              <a:schemeClr val="accent1"/>
            </a:lnRef>
            <a:fillRef idx="0">
              <a:schemeClr val="accent1"/>
            </a:fillRef>
            <a:effectRef idx="0">
              <a:schemeClr val="accent1"/>
            </a:effectRef>
            <a:fontRef idx="minor">
              <a:schemeClr val="tx1"/>
            </a:fontRef>
          </p:style>
        </p:cxnSp>
        <p:pic>
          <p:nvPicPr>
            <p:cNvPr id="99" name="图形 98"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2562450" y="3368438"/>
              <a:ext cx="360641" cy="360641"/>
            </a:xfrm>
            <a:prstGeom prst="rect">
              <a:avLst/>
            </a:prstGeom>
          </p:spPr>
        </p:pic>
        <p:pic>
          <p:nvPicPr>
            <p:cNvPr id="109" name="图形 108"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3996597" y="3380517"/>
              <a:ext cx="360641" cy="360641"/>
            </a:xfrm>
            <a:prstGeom prst="rect">
              <a:avLst/>
            </a:prstGeom>
          </p:spPr>
        </p:pic>
        <p:pic>
          <p:nvPicPr>
            <p:cNvPr id="110" name="图形 109"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5430744" y="3392596"/>
              <a:ext cx="360641" cy="360641"/>
            </a:xfrm>
            <a:prstGeom prst="rect">
              <a:avLst/>
            </a:prstGeom>
          </p:spPr>
        </p:pic>
        <p:pic>
          <p:nvPicPr>
            <p:cNvPr id="111" name="图形 110"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6864891" y="3404675"/>
              <a:ext cx="360641" cy="360641"/>
            </a:xfrm>
            <a:prstGeom prst="rect">
              <a:avLst/>
            </a:prstGeom>
          </p:spPr>
        </p:pic>
        <p:pic>
          <p:nvPicPr>
            <p:cNvPr id="113" name="图形 112"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8311477" y="3417593"/>
              <a:ext cx="360641" cy="360641"/>
            </a:xfrm>
            <a:prstGeom prst="rect">
              <a:avLst/>
            </a:prstGeom>
          </p:spPr>
        </p:pic>
        <p:pic>
          <p:nvPicPr>
            <p:cNvPr id="114" name="图形 113"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9745624" y="3429672"/>
              <a:ext cx="360641" cy="360641"/>
            </a:xfrm>
            <a:prstGeom prst="rect">
              <a:avLst/>
            </a:prstGeom>
          </p:spPr>
        </p:pic>
        <p:pic>
          <p:nvPicPr>
            <p:cNvPr id="117" name="图形 116"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2545668" y="3819670"/>
              <a:ext cx="360641" cy="360641"/>
            </a:xfrm>
            <a:prstGeom prst="rect">
              <a:avLst/>
            </a:prstGeom>
          </p:spPr>
        </p:pic>
        <p:pic>
          <p:nvPicPr>
            <p:cNvPr id="118" name="图形 117"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3979815" y="3831749"/>
              <a:ext cx="360641" cy="360641"/>
            </a:xfrm>
            <a:prstGeom prst="rect">
              <a:avLst/>
            </a:prstGeom>
          </p:spPr>
        </p:pic>
        <p:pic>
          <p:nvPicPr>
            <p:cNvPr id="119" name="图形 118"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5413962" y="3843828"/>
              <a:ext cx="360641" cy="360641"/>
            </a:xfrm>
            <a:prstGeom prst="rect">
              <a:avLst/>
            </a:prstGeom>
          </p:spPr>
        </p:pic>
        <p:pic>
          <p:nvPicPr>
            <p:cNvPr id="120" name="图形 119"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6848109" y="3855907"/>
              <a:ext cx="360641" cy="360641"/>
            </a:xfrm>
            <a:prstGeom prst="rect">
              <a:avLst/>
            </a:prstGeom>
          </p:spPr>
        </p:pic>
        <p:pic>
          <p:nvPicPr>
            <p:cNvPr id="122" name="图形 121"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8294695" y="3868825"/>
              <a:ext cx="360641" cy="360641"/>
            </a:xfrm>
            <a:prstGeom prst="rect">
              <a:avLst/>
            </a:prstGeom>
          </p:spPr>
        </p:pic>
        <p:pic>
          <p:nvPicPr>
            <p:cNvPr id="123" name="图形 122"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9728842" y="3880904"/>
              <a:ext cx="360641" cy="360641"/>
            </a:xfrm>
            <a:prstGeom prst="rect">
              <a:avLst/>
            </a:prstGeom>
          </p:spPr>
        </p:pic>
        <p:pic>
          <p:nvPicPr>
            <p:cNvPr id="124" name="图形 123"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2562450" y="4332613"/>
              <a:ext cx="360641" cy="360641"/>
            </a:xfrm>
            <a:prstGeom prst="rect">
              <a:avLst/>
            </a:prstGeom>
          </p:spPr>
        </p:pic>
        <p:pic>
          <p:nvPicPr>
            <p:cNvPr id="125" name="图形 124"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3996597" y="4344692"/>
              <a:ext cx="360641" cy="360641"/>
            </a:xfrm>
            <a:prstGeom prst="rect">
              <a:avLst/>
            </a:prstGeom>
          </p:spPr>
        </p:pic>
        <p:pic>
          <p:nvPicPr>
            <p:cNvPr id="126" name="图形 125"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5430744" y="4356771"/>
              <a:ext cx="360641" cy="360641"/>
            </a:xfrm>
            <a:prstGeom prst="rect">
              <a:avLst/>
            </a:prstGeom>
          </p:spPr>
        </p:pic>
        <p:pic>
          <p:nvPicPr>
            <p:cNvPr id="129" name="图形 128"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8311477" y="4381768"/>
              <a:ext cx="360641" cy="360641"/>
            </a:xfrm>
            <a:prstGeom prst="rect">
              <a:avLst/>
            </a:prstGeom>
          </p:spPr>
        </p:pic>
        <p:pic>
          <p:nvPicPr>
            <p:cNvPr id="130" name="图形 129"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9745624" y="4419260"/>
              <a:ext cx="360641" cy="360641"/>
            </a:xfrm>
            <a:prstGeom prst="rect">
              <a:avLst/>
            </a:prstGeom>
          </p:spPr>
        </p:pic>
        <p:sp>
          <p:nvSpPr>
            <p:cNvPr id="63" name="ïšḷïde"/>
            <p:cNvSpPr/>
            <p:nvPr/>
          </p:nvSpPr>
          <p:spPr bwMode="auto">
            <a:xfrm>
              <a:off x="1971492" y="4797551"/>
              <a:ext cx="4279107" cy="496468"/>
            </a:xfrm>
            <a:prstGeom prst="rect">
              <a:avLst/>
            </a:prstGeom>
            <a:solidFill>
              <a:srgbClr val="E3EAF6"/>
            </a:solidFill>
            <a:ln w="38100">
              <a:noFill/>
            </a:ln>
          </p:spPr>
          <p:style>
            <a:lnRef idx="2">
              <a:schemeClr val="dk1"/>
            </a:lnRef>
            <a:fillRef idx="1">
              <a:schemeClr val="lt1"/>
            </a:fillRef>
            <a:effectRef idx="0">
              <a:schemeClr val="dk1"/>
            </a:effectRef>
            <a:fontRef idx="minor">
              <a:schemeClr val="dk1"/>
            </a:fontRef>
          </p:style>
          <p:txBody>
            <a:bodyPr rtlCol="0"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altLang="zh-CN" sz="1200" b="1" dirty="0"/>
                <a:t>Undergraduates and Master’s students: </a:t>
              </a:r>
              <a:r>
                <a:rPr lang="en-US" altLang="zh-CN" sz="1200" b="1" dirty="0">
                  <a:solidFill>
                    <a:srgbClr val="C00000"/>
                  </a:solidFill>
                </a:rPr>
                <a:t>CNY 700/month; </a:t>
              </a:r>
            </a:p>
            <a:p>
              <a:pPr algn="ctr"/>
              <a:r>
                <a:rPr lang="en-US" altLang="zh-CN" sz="1200" b="1" dirty="0"/>
                <a:t>PhD: </a:t>
              </a:r>
              <a:r>
                <a:rPr lang="en-US" altLang="zh-CN" sz="1200" b="1" dirty="0">
                  <a:solidFill>
                    <a:srgbClr val="C00000"/>
                  </a:solidFill>
                </a:rPr>
                <a:t>CNY 1000 /month </a:t>
              </a:r>
              <a:endParaRPr lang="zh-CN" altLang="en-US" sz="1200" b="1" dirty="0">
                <a:solidFill>
                  <a:srgbClr val="C00000"/>
                </a:solidFill>
              </a:endParaRPr>
            </a:p>
          </p:txBody>
        </p:sp>
        <p:pic>
          <p:nvPicPr>
            <p:cNvPr id="141" name="图形 140"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2589460" y="5290886"/>
              <a:ext cx="360641" cy="360641"/>
            </a:xfrm>
            <a:prstGeom prst="rect">
              <a:avLst/>
            </a:prstGeom>
          </p:spPr>
        </p:pic>
        <p:pic>
          <p:nvPicPr>
            <p:cNvPr id="142" name="图形 141"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4023607" y="5302965"/>
              <a:ext cx="360641" cy="360641"/>
            </a:xfrm>
            <a:prstGeom prst="rect">
              <a:avLst/>
            </a:prstGeom>
          </p:spPr>
        </p:pic>
        <p:pic>
          <p:nvPicPr>
            <p:cNvPr id="143" name="图形 142"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5457754" y="5315044"/>
              <a:ext cx="360641" cy="360641"/>
            </a:xfrm>
            <a:prstGeom prst="rect">
              <a:avLst/>
            </a:prstGeom>
          </p:spPr>
        </p:pic>
        <p:pic>
          <p:nvPicPr>
            <p:cNvPr id="145" name="图形 144"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8338487" y="5340041"/>
              <a:ext cx="360641" cy="360641"/>
            </a:xfrm>
            <a:prstGeom prst="rect">
              <a:avLst/>
            </a:prstGeom>
          </p:spPr>
        </p:pic>
        <p:sp>
          <p:nvSpPr>
            <p:cNvPr id="148" name="ïšḷïde"/>
            <p:cNvSpPr/>
            <p:nvPr/>
          </p:nvSpPr>
          <p:spPr bwMode="auto">
            <a:xfrm>
              <a:off x="1969771" y="5790486"/>
              <a:ext cx="4279107" cy="499548"/>
            </a:xfrm>
            <a:prstGeom prst="rect">
              <a:avLst/>
            </a:prstGeom>
            <a:solidFill>
              <a:srgbClr val="E3EAF6"/>
            </a:solidFill>
            <a:ln w="38100">
              <a:noFill/>
            </a:ln>
          </p:spPr>
          <p:style>
            <a:lnRef idx="2">
              <a:schemeClr val="dk1"/>
            </a:lnRef>
            <a:fillRef idx="1">
              <a:schemeClr val="lt1"/>
            </a:fillRef>
            <a:effectRef idx="0">
              <a:schemeClr val="dk1"/>
            </a:effectRef>
            <a:fontRef idx="minor">
              <a:schemeClr val="dk1"/>
            </a:fontRef>
          </p:style>
          <p:txBody>
            <a:bodyPr rtlCol="0"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altLang="zh-CN" sz="1200" b="1" dirty="0"/>
                <a:t>Undergraduates : </a:t>
              </a:r>
              <a:r>
                <a:rPr lang="en-US" altLang="zh-CN" sz="1200" b="1" dirty="0">
                  <a:solidFill>
                    <a:srgbClr val="C00000"/>
                  </a:solidFill>
                </a:rPr>
                <a:t>CNY 2000/month; </a:t>
              </a:r>
              <a:endParaRPr lang="en-US" altLang="zh-CN" sz="1200" b="1" dirty="0"/>
            </a:p>
            <a:p>
              <a:pPr algn="ctr"/>
              <a:r>
                <a:rPr lang="en-US" altLang="zh-CN" sz="1200" b="1" dirty="0"/>
                <a:t> Master’s students: </a:t>
              </a:r>
              <a:r>
                <a:rPr lang="en-US" altLang="zh-CN" sz="1200" b="1" dirty="0">
                  <a:solidFill>
                    <a:srgbClr val="C00000"/>
                  </a:solidFill>
                </a:rPr>
                <a:t>CNY 3000/month; </a:t>
              </a:r>
            </a:p>
            <a:p>
              <a:pPr algn="ctr"/>
              <a:r>
                <a:rPr lang="en-US" altLang="zh-CN" sz="1200" b="1" dirty="0"/>
                <a:t>PhD: </a:t>
              </a:r>
              <a:r>
                <a:rPr lang="en-US" altLang="zh-CN" sz="1200" b="1" dirty="0">
                  <a:solidFill>
                    <a:srgbClr val="C00000"/>
                  </a:solidFill>
                </a:rPr>
                <a:t>CNY 3500 /month </a:t>
              </a:r>
              <a:endParaRPr lang="zh-CN" altLang="en-US" sz="1200" b="1" dirty="0">
                <a:solidFill>
                  <a:srgbClr val="C00000"/>
                </a:solidFill>
              </a:endParaRPr>
            </a:p>
          </p:txBody>
        </p:sp>
        <p:pic>
          <p:nvPicPr>
            <p:cNvPr id="135" name="图形 134" descr="关闭"/>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6810616" y="4842284"/>
              <a:ext cx="415993" cy="415993"/>
            </a:xfrm>
            <a:prstGeom prst="rect">
              <a:avLst/>
            </a:prstGeom>
          </p:spPr>
        </p:pic>
        <p:pic>
          <p:nvPicPr>
            <p:cNvPr id="136" name="图形 135" descr="关闭"/>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9705388" y="4852310"/>
              <a:ext cx="415993" cy="415993"/>
            </a:xfrm>
            <a:prstGeom prst="rect">
              <a:avLst/>
            </a:prstGeom>
          </p:spPr>
        </p:pic>
        <p:pic>
          <p:nvPicPr>
            <p:cNvPr id="137" name="图形 136" descr="关闭"/>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8271241" y="4820499"/>
              <a:ext cx="415993" cy="415993"/>
            </a:xfrm>
            <a:prstGeom prst="rect">
              <a:avLst/>
            </a:prstGeom>
          </p:spPr>
        </p:pic>
        <p:pic>
          <p:nvPicPr>
            <p:cNvPr id="146" name="图形 145" descr="关闭"/>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6812475" y="5825025"/>
              <a:ext cx="415993" cy="415993"/>
            </a:xfrm>
            <a:prstGeom prst="rect">
              <a:avLst/>
            </a:prstGeom>
          </p:spPr>
        </p:pic>
        <p:pic>
          <p:nvPicPr>
            <p:cNvPr id="147" name="图形 146" descr="关闭"/>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9731222" y="5371547"/>
              <a:ext cx="415993" cy="415993"/>
            </a:xfrm>
            <a:prstGeom prst="rect">
              <a:avLst/>
            </a:prstGeom>
          </p:spPr>
        </p:pic>
        <p:pic>
          <p:nvPicPr>
            <p:cNvPr id="149" name="图形 148" descr="关闭"/>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9746420" y="5836547"/>
              <a:ext cx="415993" cy="415993"/>
            </a:xfrm>
            <a:prstGeom prst="rect">
              <a:avLst/>
            </a:prstGeom>
          </p:spPr>
        </p:pic>
        <p:sp>
          <p:nvSpPr>
            <p:cNvPr id="150" name="矩形 149"/>
            <p:cNvSpPr/>
            <p:nvPr/>
          </p:nvSpPr>
          <p:spPr>
            <a:xfrm>
              <a:off x="7831427" y="5767762"/>
              <a:ext cx="2305926" cy="900246"/>
            </a:xfrm>
            <a:prstGeom prst="rect">
              <a:avLst/>
            </a:prstGeom>
          </p:spPr>
          <p:txBody>
            <a:bodyPr wrap="square">
              <a:spAutoFit/>
            </a:bodyPr>
            <a:lstStyle/>
            <a:p>
              <a:r>
                <a:rPr lang="en-US" altLang="zh-CN" sz="1050" b="1" dirty="0"/>
                <a:t>Undergraduates : </a:t>
              </a:r>
            </a:p>
            <a:p>
              <a:r>
                <a:rPr lang="en-US" altLang="zh-CN" sz="1050" b="1" dirty="0">
                  <a:solidFill>
                    <a:srgbClr val="C00000"/>
                  </a:solidFill>
                </a:rPr>
                <a:t>CNY 1100/month;</a:t>
              </a:r>
            </a:p>
            <a:p>
              <a:r>
                <a:rPr lang="en-US" altLang="zh-CN" sz="1050" b="1" dirty="0"/>
                <a:t>Master’s students: </a:t>
              </a:r>
            </a:p>
            <a:p>
              <a:r>
                <a:rPr lang="en-US" altLang="zh-CN" sz="1050" b="1" dirty="0">
                  <a:solidFill>
                    <a:srgbClr val="C00000"/>
                  </a:solidFill>
                </a:rPr>
                <a:t>CNY 1700/month; </a:t>
              </a:r>
            </a:p>
            <a:p>
              <a:r>
                <a:rPr lang="en-US" altLang="zh-CN" sz="1050" b="1" dirty="0"/>
                <a:t>PhD: </a:t>
              </a:r>
              <a:r>
                <a:rPr lang="en-US" altLang="zh-CN" sz="1050" b="1" dirty="0">
                  <a:solidFill>
                    <a:srgbClr val="C00000"/>
                  </a:solidFill>
                </a:rPr>
                <a:t>CNY 2100 /month </a:t>
              </a:r>
            </a:p>
          </p:txBody>
        </p:sp>
        <p:pic>
          <p:nvPicPr>
            <p:cNvPr id="151" name="图形 150" descr="关闭"/>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6810990" y="5310531"/>
              <a:ext cx="415993" cy="415993"/>
            </a:xfrm>
            <a:prstGeom prst="rect">
              <a:avLst/>
            </a:prstGeom>
          </p:spPr>
        </p:pic>
      </p:grpSp>
      <p:pic>
        <p:nvPicPr>
          <p:cNvPr id="152" name="图片 151"/>
          <p:cNvPicPr>
            <a:picLocks noChangeAspect="1"/>
          </p:cNvPicPr>
          <p:nvPr/>
        </p:nvPicPr>
        <p:blipFill>
          <a:blip r:embed="rId12" cstate="screen">
            <a:duotone>
              <a:schemeClr val="accent1">
                <a:shade val="45000"/>
                <a:satMod val="135000"/>
              </a:schemeClr>
              <a:prstClr val="white"/>
            </a:duotone>
          </a:blip>
          <a:stretch>
            <a:fillRect/>
          </a:stretch>
        </p:blipFill>
        <p:spPr>
          <a:xfrm>
            <a:off x="9709106" y="150291"/>
            <a:ext cx="2176034" cy="628723"/>
          </a:xfrm>
          <a:prstGeom prst="rect">
            <a:avLst/>
          </a:prstGeom>
        </p:spPr>
      </p:pic>
    </p:spTree>
    <p:custDataLst>
      <p:tags r:id="rId1"/>
    </p:custDataLst>
  </p:cSld>
  <p:clrMapOvr>
    <a:masterClrMapping/>
  </p:clrMapOvr>
  <p:transition spd="slow">
    <p:push/>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î$1ïdé"/>
          <p:cNvSpPr/>
          <p:nvPr/>
        </p:nvSpPr>
        <p:spPr bwMode="auto">
          <a:xfrm>
            <a:off x="0" y="813236"/>
            <a:ext cx="12192000" cy="6044764"/>
          </a:xfrm>
          <a:prstGeom prst="rect">
            <a:avLst/>
          </a:prstGeom>
          <a:solidFill>
            <a:srgbClr val="E9EBF5">
              <a:alpha val="61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t"/>
          <a:lstStyle/>
          <a:p>
            <a:pPr algn="ctr"/>
            <a:endParaRPr lang="en-US" altLang="zh-CN" sz="1600" dirty="0"/>
          </a:p>
        </p:txBody>
      </p:sp>
      <p:sp>
        <p:nvSpPr>
          <p:cNvPr id="49" name="矩形 48"/>
          <p:cNvSpPr/>
          <p:nvPr/>
        </p:nvSpPr>
        <p:spPr>
          <a:xfrm>
            <a:off x="0" y="0"/>
            <a:ext cx="1000906" cy="830997"/>
          </a:xfrm>
          <a:prstGeom prst="rect">
            <a:avLst/>
          </a:prstGeom>
          <a:solidFill>
            <a:srgbClr val="0A7BB6">
              <a:alpha val="67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80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67" name="椭圆 66"/>
          <p:cNvSpPr/>
          <p:nvPr/>
        </p:nvSpPr>
        <p:spPr>
          <a:xfrm>
            <a:off x="110537" y="2987293"/>
            <a:ext cx="952748" cy="962265"/>
          </a:xfrm>
          <a:prstGeom prst="ellipse">
            <a:avLst/>
          </a:prstGeom>
          <a:solidFill>
            <a:schemeClr val="bg1"/>
          </a:solidFill>
          <a:ln w="25400">
            <a:solidFill>
              <a:srgbClr val="0A7B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椭圆 67"/>
          <p:cNvSpPr/>
          <p:nvPr/>
        </p:nvSpPr>
        <p:spPr>
          <a:xfrm>
            <a:off x="101347" y="4060496"/>
            <a:ext cx="952748" cy="962265"/>
          </a:xfrm>
          <a:prstGeom prst="ellipse">
            <a:avLst/>
          </a:prstGeom>
          <a:solidFill>
            <a:schemeClr val="bg1"/>
          </a:solidFill>
          <a:ln w="25400">
            <a:solidFill>
              <a:srgbClr val="0A7B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1" name="图片 70"/>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194491" y="4120745"/>
            <a:ext cx="776969" cy="794809"/>
          </a:xfrm>
          <a:prstGeom prst="ellipse">
            <a:avLst/>
          </a:prstGeom>
        </p:spPr>
      </p:pic>
      <p:sp>
        <p:nvSpPr>
          <p:cNvPr id="73" name="椭圆 72"/>
          <p:cNvSpPr/>
          <p:nvPr/>
        </p:nvSpPr>
        <p:spPr>
          <a:xfrm>
            <a:off x="80772" y="5128187"/>
            <a:ext cx="952748" cy="962265"/>
          </a:xfrm>
          <a:prstGeom prst="ellipse">
            <a:avLst/>
          </a:prstGeom>
          <a:solidFill>
            <a:schemeClr val="bg1"/>
          </a:solidFill>
          <a:ln w="25400">
            <a:solidFill>
              <a:srgbClr val="0A7B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4" name="图片 73"/>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a:xfrm>
            <a:off x="194953" y="5156134"/>
            <a:ext cx="733648" cy="897405"/>
          </a:xfrm>
          <a:prstGeom prst="ellipse">
            <a:avLst/>
          </a:prstGeom>
        </p:spPr>
      </p:pic>
      <p:pic>
        <p:nvPicPr>
          <p:cNvPr id="75" name="图片 74"/>
          <p:cNvPicPr>
            <a:picLocks noChangeAspect="1"/>
          </p:cNvPicPr>
          <p:nvPr/>
        </p:nvPicPr>
        <p:blipFill rotWithShape="1">
          <a:blip r:embed="rId6" cstate="print">
            <a:extLst>
              <a:ext uri="{28A0092B-C50C-407E-A947-70E740481C1C}">
                <a14:useLocalDpi xmlns:a14="http://schemas.microsoft.com/office/drawing/2010/main" val="0"/>
              </a:ext>
            </a:extLst>
          </a:blip>
          <a:srcRect/>
          <a:stretch>
            <a:fillRect/>
          </a:stretch>
        </p:blipFill>
        <p:spPr>
          <a:xfrm>
            <a:off x="131453" y="3033805"/>
            <a:ext cx="925941" cy="857945"/>
          </a:xfrm>
          <a:prstGeom prst="ellipse">
            <a:avLst/>
          </a:prstGeom>
        </p:spPr>
      </p:pic>
      <p:sp>
        <p:nvSpPr>
          <p:cNvPr id="6" name="iSḷiḓè"/>
          <p:cNvSpPr/>
          <p:nvPr/>
        </p:nvSpPr>
        <p:spPr bwMode="auto">
          <a:xfrm>
            <a:off x="1134342" y="3450296"/>
            <a:ext cx="1340682" cy="494712"/>
          </a:xfrm>
          <a:prstGeom prst="rect">
            <a:avLst/>
          </a:prstGeom>
          <a:solidFill>
            <a:srgbClr val="5BA6CE"/>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600" b="1" dirty="0">
                <a:solidFill>
                  <a:schemeClr val="bg1"/>
                </a:solidFill>
              </a:rPr>
              <a:t>CSC Type B</a:t>
            </a:r>
          </a:p>
        </p:txBody>
      </p:sp>
      <p:sp>
        <p:nvSpPr>
          <p:cNvPr id="13" name="iṧ1ïḓe"/>
          <p:cNvSpPr/>
          <p:nvPr/>
        </p:nvSpPr>
        <p:spPr bwMode="auto">
          <a:xfrm>
            <a:off x="1134067" y="3982042"/>
            <a:ext cx="1329733" cy="461847"/>
          </a:xfrm>
          <a:prstGeom prst="rect">
            <a:avLst/>
          </a:prstGeom>
          <a:solidFill>
            <a:srgbClr val="5BA6CE"/>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600" b="1" dirty="0">
                <a:solidFill>
                  <a:schemeClr val="bg1"/>
                </a:solidFill>
              </a:rPr>
              <a:t>SGS Type A</a:t>
            </a:r>
          </a:p>
        </p:txBody>
      </p:sp>
      <p:sp>
        <p:nvSpPr>
          <p:cNvPr id="20" name="îṥḷíḋè"/>
          <p:cNvSpPr/>
          <p:nvPr/>
        </p:nvSpPr>
        <p:spPr bwMode="auto">
          <a:xfrm>
            <a:off x="1134067" y="4512734"/>
            <a:ext cx="1329733" cy="476412"/>
          </a:xfrm>
          <a:prstGeom prst="rect">
            <a:avLst/>
          </a:prstGeom>
          <a:solidFill>
            <a:srgbClr val="5BA6CE"/>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600" b="1" dirty="0">
                <a:solidFill>
                  <a:schemeClr val="bg1"/>
                </a:solidFill>
              </a:rPr>
              <a:t>SGS Type B</a:t>
            </a:r>
          </a:p>
        </p:txBody>
      </p:sp>
      <p:sp>
        <p:nvSpPr>
          <p:cNvPr id="59" name="iSḷiḓè"/>
          <p:cNvSpPr/>
          <p:nvPr/>
        </p:nvSpPr>
        <p:spPr bwMode="auto">
          <a:xfrm>
            <a:off x="1134067" y="2936911"/>
            <a:ext cx="1329733" cy="477797"/>
          </a:xfrm>
          <a:prstGeom prst="rect">
            <a:avLst/>
          </a:prstGeom>
          <a:solidFill>
            <a:srgbClr val="5BA6CE"/>
          </a:solidFill>
          <a:ln w="38100">
            <a:noFill/>
          </a:ln>
        </p:spPr>
        <p:style>
          <a:lnRef idx="2">
            <a:schemeClr val="dk1"/>
          </a:lnRef>
          <a:fillRef idx="1">
            <a:schemeClr val="lt1"/>
          </a:fillRef>
          <a:effectRef idx="0">
            <a:schemeClr val="dk1"/>
          </a:effectRef>
          <a:fontRef idx="minor">
            <a:schemeClr val="dk1"/>
          </a:fontRef>
        </p:style>
        <p:txBody>
          <a:bodyPr rtlCol="0"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r>
              <a:rPr lang="en-US" altLang="zh-CN" sz="1600" b="1" dirty="0">
                <a:solidFill>
                  <a:schemeClr val="bg1"/>
                </a:solidFill>
              </a:rPr>
              <a:t>CSC Type A</a:t>
            </a:r>
          </a:p>
        </p:txBody>
      </p:sp>
      <p:pic>
        <p:nvPicPr>
          <p:cNvPr id="152" name="图片 151"/>
          <p:cNvPicPr>
            <a:picLocks noChangeAspect="1"/>
          </p:cNvPicPr>
          <p:nvPr/>
        </p:nvPicPr>
        <p:blipFill>
          <a:blip r:embed="rId7" cstate="screen">
            <a:duotone>
              <a:schemeClr val="accent1">
                <a:shade val="45000"/>
                <a:satMod val="135000"/>
              </a:schemeClr>
              <a:prstClr val="white"/>
            </a:duotone>
          </a:blip>
          <a:stretch>
            <a:fillRect/>
          </a:stretch>
        </p:blipFill>
        <p:spPr>
          <a:xfrm>
            <a:off x="9709106" y="150291"/>
            <a:ext cx="2176034" cy="628723"/>
          </a:xfrm>
          <a:prstGeom prst="rect">
            <a:avLst/>
          </a:prstGeom>
        </p:spPr>
      </p:pic>
      <p:cxnSp>
        <p:nvCxnSpPr>
          <p:cNvPr id="22" name="直接连接符 21"/>
          <p:cNvCxnSpPr/>
          <p:nvPr/>
        </p:nvCxnSpPr>
        <p:spPr>
          <a:xfrm flipH="1">
            <a:off x="9728339" y="2795688"/>
            <a:ext cx="2376000" cy="0"/>
          </a:xfrm>
          <a:prstGeom prst="line">
            <a:avLst/>
          </a:prstGeom>
          <a:noFill/>
          <a:ln w="254000">
            <a:solidFill>
              <a:srgbClr val="97D0DD"/>
            </a:solidFill>
          </a:ln>
          <a:effectLst/>
        </p:spPr>
      </p:cxnSp>
      <p:cxnSp>
        <p:nvCxnSpPr>
          <p:cNvPr id="23" name="直接连接符 22"/>
          <p:cNvCxnSpPr/>
          <p:nvPr/>
        </p:nvCxnSpPr>
        <p:spPr>
          <a:xfrm flipH="1">
            <a:off x="9728339" y="2809224"/>
            <a:ext cx="2256695"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4" name="íŝḷiḑé"/>
          <p:cNvSpPr/>
          <p:nvPr/>
        </p:nvSpPr>
        <p:spPr bwMode="auto">
          <a:xfrm>
            <a:off x="9290799" y="1308477"/>
            <a:ext cx="1490274" cy="1490274"/>
          </a:xfrm>
          <a:prstGeom prst="ellipse">
            <a:avLst/>
          </a:prstGeom>
          <a:noFill/>
          <a:ln w="254000">
            <a:solidFill>
              <a:srgbClr val="97D0DD"/>
            </a:solidFill>
          </a:ln>
          <a:effectLst/>
        </p:spPr>
        <p:txBody>
          <a:bodyPr wrap="square" lIns="91440" tIns="45720" rIns="91440" bIns="45720" anchor="ctr">
            <a:noAutofit/>
          </a:bodyPr>
          <a:lstStyle/>
          <a:p>
            <a:pPr algn="ctr"/>
            <a:endParaRPr/>
          </a:p>
        </p:txBody>
      </p:sp>
      <p:sp>
        <p:nvSpPr>
          <p:cNvPr id="25" name="îś1iḍé"/>
          <p:cNvSpPr/>
          <p:nvPr/>
        </p:nvSpPr>
        <p:spPr bwMode="auto">
          <a:xfrm>
            <a:off x="9290799" y="1318950"/>
            <a:ext cx="1490274" cy="1490274"/>
          </a:xfrm>
          <a:prstGeom prst="ellipse">
            <a:avLst/>
          </a:prstGeom>
          <a:noFill/>
          <a:ln w="19050">
            <a:solidFill>
              <a:schemeClr val="bg1"/>
            </a:solidFill>
            <a:prstDash val="dash"/>
          </a:ln>
          <a:effectLst/>
        </p:spPr>
        <p:txBody>
          <a:bodyPr wrap="square" lIns="91440" tIns="45720" rIns="91440" bIns="45720" anchor="ctr">
            <a:noAutofit/>
          </a:bodyPr>
          <a:lstStyle/>
          <a:p>
            <a:pPr algn="ctr"/>
            <a:endParaRPr dirty="0"/>
          </a:p>
        </p:txBody>
      </p:sp>
      <p:cxnSp>
        <p:nvCxnSpPr>
          <p:cNvPr id="26" name="直接连接符 25"/>
          <p:cNvCxnSpPr>
            <a:stCxn id="24" idx="4"/>
          </p:cNvCxnSpPr>
          <p:nvPr/>
        </p:nvCxnSpPr>
        <p:spPr>
          <a:xfrm flipH="1">
            <a:off x="7781870" y="2798751"/>
            <a:ext cx="2254066" cy="0"/>
          </a:xfrm>
          <a:prstGeom prst="line">
            <a:avLst/>
          </a:prstGeom>
          <a:noFill/>
          <a:ln w="254000">
            <a:solidFill>
              <a:srgbClr val="97D0DD"/>
            </a:solidFill>
          </a:ln>
          <a:effectLst/>
        </p:spPr>
      </p:cxnSp>
      <p:cxnSp>
        <p:nvCxnSpPr>
          <p:cNvPr id="27" name="直接连接符 26"/>
          <p:cNvCxnSpPr/>
          <p:nvPr/>
        </p:nvCxnSpPr>
        <p:spPr>
          <a:xfrm flipH="1">
            <a:off x="8037293" y="2809224"/>
            <a:ext cx="1998644"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8" name="îş1iḓé"/>
          <p:cNvSpPr/>
          <p:nvPr/>
        </p:nvSpPr>
        <p:spPr bwMode="auto">
          <a:xfrm>
            <a:off x="7130799" y="1308477"/>
            <a:ext cx="1490274" cy="1490274"/>
          </a:xfrm>
          <a:prstGeom prst="ellipse">
            <a:avLst/>
          </a:prstGeom>
          <a:noFill/>
          <a:ln w="254000">
            <a:solidFill>
              <a:srgbClr val="97D0DD"/>
            </a:solidFill>
          </a:ln>
          <a:effectLst/>
        </p:spPr>
        <p:txBody>
          <a:bodyPr wrap="square" lIns="91440" tIns="45720" rIns="91440" bIns="45720" anchor="ctr">
            <a:noAutofit/>
          </a:bodyPr>
          <a:lstStyle/>
          <a:p>
            <a:pPr algn="ctr"/>
            <a:endParaRPr/>
          </a:p>
        </p:txBody>
      </p:sp>
      <p:sp>
        <p:nvSpPr>
          <p:cNvPr id="29" name="ïṣḻîdè"/>
          <p:cNvSpPr/>
          <p:nvPr/>
        </p:nvSpPr>
        <p:spPr bwMode="auto">
          <a:xfrm>
            <a:off x="7130799" y="1318950"/>
            <a:ext cx="1490274" cy="1490274"/>
          </a:xfrm>
          <a:prstGeom prst="ellipse">
            <a:avLst/>
          </a:prstGeom>
          <a:noFill/>
          <a:ln w="19050">
            <a:solidFill>
              <a:schemeClr val="bg1"/>
            </a:solidFill>
            <a:prstDash val="dash"/>
          </a:ln>
          <a:effectLst/>
        </p:spPr>
        <p:txBody>
          <a:bodyPr wrap="square" lIns="91440" tIns="45720" rIns="91440" bIns="45720" anchor="ctr">
            <a:noAutofit/>
          </a:bodyPr>
          <a:lstStyle/>
          <a:p>
            <a:pPr algn="ctr"/>
            <a:endParaRPr>
              <a:solidFill>
                <a:srgbClr val="0070C0"/>
              </a:solidFill>
            </a:endParaRPr>
          </a:p>
        </p:txBody>
      </p:sp>
      <p:cxnSp>
        <p:nvCxnSpPr>
          <p:cNvPr id="30" name="直接连接符 29"/>
          <p:cNvCxnSpPr>
            <a:stCxn id="28" idx="4"/>
          </p:cNvCxnSpPr>
          <p:nvPr/>
        </p:nvCxnSpPr>
        <p:spPr>
          <a:xfrm flipH="1">
            <a:off x="5621870" y="2798751"/>
            <a:ext cx="2254066" cy="0"/>
          </a:xfrm>
          <a:prstGeom prst="line">
            <a:avLst/>
          </a:prstGeom>
          <a:noFill/>
          <a:ln w="254000">
            <a:solidFill>
              <a:srgbClr val="97D0DD"/>
            </a:solidFill>
          </a:ln>
          <a:effectLst/>
        </p:spPr>
      </p:cxnSp>
      <p:cxnSp>
        <p:nvCxnSpPr>
          <p:cNvPr id="31" name="直接连接符 30"/>
          <p:cNvCxnSpPr/>
          <p:nvPr/>
        </p:nvCxnSpPr>
        <p:spPr>
          <a:xfrm flipH="1">
            <a:off x="5877293" y="2809224"/>
            <a:ext cx="1998644"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2" name="îśḷïḋê"/>
          <p:cNvSpPr/>
          <p:nvPr/>
        </p:nvSpPr>
        <p:spPr bwMode="auto">
          <a:xfrm>
            <a:off x="1096242" y="6077481"/>
            <a:ext cx="11008097" cy="124348"/>
          </a:xfrm>
          <a:prstGeom prst="rect">
            <a:avLst/>
          </a:prstGeom>
          <a:solidFill>
            <a:srgbClr val="97D0DD"/>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dk1"/>
              </a:solidFill>
            </a:endParaRPr>
          </a:p>
        </p:txBody>
      </p:sp>
      <p:sp>
        <p:nvSpPr>
          <p:cNvPr id="33" name="îṥḷidê"/>
          <p:cNvSpPr/>
          <p:nvPr/>
        </p:nvSpPr>
        <p:spPr bwMode="auto">
          <a:xfrm>
            <a:off x="4986596" y="1308477"/>
            <a:ext cx="1490274" cy="1490274"/>
          </a:xfrm>
          <a:prstGeom prst="ellipse">
            <a:avLst/>
          </a:prstGeom>
          <a:noFill/>
          <a:ln w="254000">
            <a:solidFill>
              <a:srgbClr val="97D0DD"/>
            </a:solidFill>
          </a:ln>
          <a:effectLst/>
        </p:spPr>
        <p:txBody>
          <a:bodyPr wrap="square" lIns="91440" tIns="45720" rIns="91440" bIns="45720" anchor="ctr">
            <a:noAutofit/>
          </a:bodyPr>
          <a:lstStyle/>
          <a:p>
            <a:pPr algn="ctr"/>
            <a:endParaRPr/>
          </a:p>
        </p:txBody>
      </p:sp>
      <p:sp>
        <p:nvSpPr>
          <p:cNvPr id="35" name="îsḻïḑé"/>
          <p:cNvSpPr/>
          <p:nvPr/>
        </p:nvSpPr>
        <p:spPr bwMode="auto">
          <a:xfrm>
            <a:off x="4986596" y="1318950"/>
            <a:ext cx="1490274" cy="1490274"/>
          </a:xfrm>
          <a:prstGeom prst="ellipse">
            <a:avLst/>
          </a:prstGeom>
          <a:noFill/>
          <a:ln w="19050">
            <a:solidFill>
              <a:schemeClr val="bg1"/>
            </a:solidFill>
            <a:prstDash val="dash"/>
          </a:ln>
          <a:effectLst/>
        </p:spPr>
        <p:txBody>
          <a:bodyPr wrap="square" lIns="91440" tIns="45720" rIns="91440" bIns="45720" anchor="ctr">
            <a:noAutofit/>
          </a:bodyPr>
          <a:lstStyle/>
          <a:p>
            <a:pPr algn="ctr"/>
            <a:endParaRPr/>
          </a:p>
        </p:txBody>
      </p:sp>
      <p:cxnSp>
        <p:nvCxnSpPr>
          <p:cNvPr id="36" name="直接连接符 35"/>
          <p:cNvCxnSpPr>
            <a:stCxn id="33" idx="4"/>
          </p:cNvCxnSpPr>
          <p:nvPr/>
        </p:nvCxnSpPr>
        <p:spPr>
          <a:xfrm flipH="1">
            <a:off x="3477667" y="2798751"/>
            <a:ext cx="2254066" cy="0"/>
          </a:xfrm>
          <a:prstGeom prst="line">
            <a:avLst/>
          </a:prstGeom>
          <a:noFill/>
          <a:ln w="254000">
            <a:solidFill>
              <a:srgbClr val="97D0DD"/>
            </a:solidFill>
          </a:ln>
          <a:effectLst/>
        </p:spPr>
      </p:cxnSp>
      <p:cxnSp>
        <p:nvCxnSpPr>
          <p:cNvPr id="37" name="直接连接符 36"/>
          <p:cNvCxnSpPr/>
          <p:nvPr/>
        </p:nvCxnSpPr>
        <p:spPr>
          <a:xfrm flipH="1">
            <a:off x="3733090" y="2809224"/>
            <a:ext cx="1998644"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8" name="iş1íḋê"/>
          <p:cNvSpPr/>
          <p:nvPr/>
        </p:nvSpPr>
        <p:spPr>
          <a:xfrm rot="8100000">
            <a:off x="3335543" y="2096124"/>
            <a:ext cx="484838" cy="484838"/>
          </a:xfrm>
          <a:prstGeom prst="teardrop">
            <a:avLst/>
          </a:prstGeom>
          <a:solidFill>
            <a:schemeClr val="accent6">
              <a:lumMod val="60000"/>
              <a:lumOff val="4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a:p>
        </p:txBody>
      </p:sp>
      <p:sp>
        <p:nvSpPr>
          <p:cNvPr id="39" name="ïṣḷíḋe"/>
          <p:cNvSpPr/>
          <p:nvPr/>
        </p:nvSpPr>
        <p:spPr bwMode="auto">
          <a:xfrm>
            <a:off x="3436445" y="2192917"/>
            <a:ext cx="300920" cy="300920"/>
          </a:xfrm>
          <a:custGeom>
            <a:avLst/>
            <a:gdLst>
              <a:gd name="T0" fmla="*/ 116 w 232"/>
              <a:gd name="T1" fmla="*/ 0 h 232"/>
              <a:gd name="T2" fmla="*/ 0 w 232"/>
              <a:gd name="T3" fmla="*/ 116 h 232"/>
              <a:gd name="T4" fmla="*/ 116 w 232"/>
              <a:gd name="T5" fmla="*/ 232 h 232"/>
              <a:gd name="T6" fmla="*/ 232 w 232"/>
              <a:gd name="T7" fmla="*/ 116 h 232"/>
              <a:gd name="T8" fmla="*/ 116 w 232"/>
              <a:gd name="T9" fmla="*/ 0 h 232"/>
              <a:gd name="T10" fmla="*/ 129 w 232"/>
              <a:gd name="T11" fmla="*/ 208 h 232"/>
              <a:gd name="T12" fmla="*/ 129 w 232"/>
              <a:gd name="T13" fmla="*/ 190 h 232"/>
              <a:gd name="T14" fmla="*/ 117 w 232"/>
              <a:gd name="T15" fmla="*/ 178 h 232"/>
              <a:gd name="T16" fmla="*/ 105 w 232"/>
              <a:gd name="T17" fmla="*/ 190 h 232"/>
              <a:gd name="T18" fmla="*/ 105 w 232"/>
              <a:gd name="T19" fmla="*/ 208 h 232"/>
              <a:gd name="T20" fmla="*/ 25 w 232"/>
              <a:gd name="T21" fmla="*/ 129 h 232"/>
              <a:gd name="T22" fmla="*/ 42 w 232"/>
              <a:gd name="T23" fmla="*/ 129 h 232"/>
              <a:gd name="T24" fmla="*/ 53 w 232"/>
              <a:gd name="T25" fmla="*/ 117 h 232"/>
              <a:gd name="T26" fmla="*/ 42 w 232"/>
              <a:gd name="T27" fmla="*/ 105 h 232"/>
              <a:gd name="T28" fmla="*/ 24 w 232"/>
              <a:gd name="T29" fmla="*/ 105 h 232"/>
              <a:gd name="T30" fmla="*/ 104 w 232"/>
              <a:gd name="T31" fmla="*/ 25 h 232"/>
              <a:gd name="T32" fmla="*/ 104 w 232"/>
              <a:gd name="T33" fmla="*/ 41 h 232"/>
              <a:gd name="T34" fmla="*/ 116 w 232"/>
              <a:gd name="T35" fmla="*/ 53 h 232"/>
              <a:gd name="T36" fmla="*/ 128 w 232"/>
              <a:gd name="T37" fmla="*/ 41 h 232"/>
              <a:gd name="T38" fmla="*/ 128 w 232"/>
              <a:gd name="T39" fmla="*/ 25 h 232"/>
              <a:gd name="T40" fmla="*/ 208 w 232"/>
              <a:gd name="T41" fmla="*/ 104 h 232"/>
              <a:gd name="T42" fmla="*/ 190 w 232"/>
              <a:gd name="T43" fmla="*/ 104 h 232"/>
              <a:gd name="T44" fmla="*/ 179 w 232"/>
              <a:gd name="T45" fmla="*/ 116 h 232"/>
              <a:gd name="T46" fmla="*/ 190 w 232"/>
              <a:gd name="T47" fmla="*/ 128 h 232"/>
              <a:gd name="T48" fmla="*/ 208 w 232"/>
              <a:gd name="T49" fmla="*/ 128 h 232"/>
              <a:gd name="T50" fmla="*/ 129 w 232"/>
              <a:gd name="T51" fmla="*/ 208 h 232"/>
              <a:gd name="T52" fmla="*/ 124 w 232"/>
              <a:gd name="T53" fmla="*/ 94 h 232"/>
              <a:gd name="T54" fmla="*/ 70 w 232"/>
              <a:gd name="T55" fmla="*/ 69 h 232"/>
              <a:gd name="T56" fmla="*/ 94 w 232"/>
              <a:gd name="T57" fmla="*/ 124 h 232"/>
              <a:gd name="T58" fmla="*/ 109 w 232"/>
              <a:gd name="T59" fmla="*/ 138 h 232"/>
              <a:gd name="T60" fmla="*/ 163 w 232"/>
              <a:gd name="T61" fmla="*/ 163 h 232"/>
              <a:gd name="T62" fmla="*/ 138 w 232"/>
              <a:gd name="T63" fmla="*/ 108 h 232"/>
              <a:gd name="T64" fmla="*/ 124 w 232"/>
              <a:gd name="T65" fmla="*/ 94 h 232"/>
              <a:gd name="T66" fmla="*/ 123 w 232"/>
              <a:gd name="T67" fmla="*/ 123 h 232"/>
              <a:gd name="T68" fmla="*/ 110 w 232"/>
              <a:gd name="T69" fmla="*/ 123 h 232"/>
              <a:gd name="T70" fmla="*/ 110 w 232"/>
              <a:gd name="T71" fmla="*/ 109 h 232"/>
              <a:gd name="T72" fmla="*/ 123 w 232"/>
              <a:gd name="T73" fmla="*/ 109 h 232"/>
              <a:gd name="T74" fmla="*/ 123 w 232"/>
              <a:gd name="T75" fmla="*/ 12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2" h="232">
                <a:moveTo>
                  <a:pt x="116" y="0"/>
                </a:moveTo>
                <a:cubicBezTo>
                  <a:pt x="52" y="0"/>
                  <a:pt x="0" y="52"/>
                  <a:pt x="0" y="116"/>
                </a:cubicBezTo>
                <a:cubicBezTo>
                  <a:pt x="0" y="180"/>
                  <a:pt x="52" y="232"/>
                  <a:pt x="116" y="232"/>
                </a:cubicBezTo>
                <a:cubicBezTo>
                  <a:pt x="180" y="232"/>
                  <a:pt x="232" y="180"/>
                  <a:pt x="232" y="116"/>
                </a:cubicBezTo>
                <a:cubicBezTo>
                  <a:pt x="232" y="52"/>
                  <a:pt x="180" y="0"/>
                  <a:pt x="116" y="0"/>
                </a:cubicBezTo>
                <a:close/>
                <a:moveTo>
                  <a:pt x="129" y="208"/>
                </a:moveTo>
                <a:cubicBezTo>
                  <a:pt x="129" y="190"/>
                  <a:pt x="129" y="190"/>
                  <a:pt x="129" y="190"/>
                </a:cubicBezTo>
                <a:cubicBezTo>
                  <a:pt x="129" y="183"/>
                  <a:pt x="123" y="178"/>
                  <a:pt x="117" y="178"/>
                </a:cubicBezTo>
                <a:cubicBezTo>
                  <a:pt x="110" y="178"/>
                  <a:pt x="105" y="183"/>
                  <a:pt x="105" y="190"/>
                </a:cubicBezTo>
                <a:cubicBezTo>
                  <a:pt x="105" y="208"/>
                  <a:pt x="105" y="208"/>
                  <a:pt x="105" y="208"/>
                </a:cubicBezTo>
                <a:cubicBezTo>
                  <a:pt x="63" y="203"/>
                  <a:pt x="30" y="170"/>
                  <a:pt x="25" y="129"/>
                </a:cubicBezTo>
                <a:cubicBezTo>
                  <a:pt x="42" y="129"/>
                  <a:pt x="42" y="129"/>
                  <a:pt x="42" y="129"/>
                </a:cubicBezTo>
                <a:cubicBezTo>
                  <a:pt x="48" y="129"/>
                  <a:pt x="53" y="123"/>
                  <a:pt x="53" y="117"/>
                </a:cubicBezTo>
                <a:cubicBezTo>
                  <a:pt x="53" y="110"/>
                  <a:pt x="48" y="105"/>
                  <a:pt x="42" y="105"/>
                </a:cubicBezTo>
                <a:cubicBezTo>
                  <a:pt x="24" y="105"/>
                  <a:pt x="24" y="105"/>
                  <a:pt x="24" y="105"/>
                </a:cubicBezTo>
                <a:cubicBezTo>
                  <a:pt x="29" y="63"/>
                  <a:pt x="63" y="30"/>
                  <a:pt x="104" y="25"/>
                </a:cubicBezTo>
                <a:cubicBezTo>
                  <a:pt x="104" y="41"/>
                  <a:pt x="104" y="41"/>
                  <a:pt x="104" y="41"/>
                </a:cubicBezTo>
                <a:cubicBezTo>
                  <a:pt x="104" y="47"/>
                  <a:pt x="109" y="53"/>
                  <a:pt x="116" y="53"/>
                </a:cubicBezTo>
                <a:cubicBezTo>
                  <a:pt x="122" y="53"/>
                  <a:pt x="128" y="47"/>
                  <a:pt x="128" y="41"/>
                </a:cubicBezTo>
                <a:cubicBezTo>
                  <a:pt x="128" y="25"/>
                  <a:pt x="128" y="25"/>
                  <a:pt x="128" y="25"/>
                </a:cubicBezTo>
                <a:cubicBezTo>
                  <a:pt x="169" y="30"/>
                  <a:pt x="202" y="63"/>
                  <a:pt x="208" y="104"/>
                </a:cubicBezTo>
                <a:cubicBezTo>
                  <a:pt x="190" y="104"/>
                  <a:pt x="190" y="104"/>
                  <a:pt x="190" y="104"/>
                </a:cubicBezTo>
                <a:cubicBezTo>
                  <a:pt x="184" y="104"/>
                  <a:pt x="179" y="109"/>
                  <a:pt x="179" y="116"/>
                </a:cubicBezTo>
                <a:cubicBezTo>
                  <a:pt x="179" y="122"/>
                  <a:pt x="184" y="128"/>
                  <a:pt x="190" y="128"/>
                </a:cubicBezTo>
                <a:cubicBezTo>
                  <a:pt x="208" y="128"/>
                  <a:pt x="208" y="128"/>
                  <a:pt x="208" y="128"/>
                </a:cubicBezTo>
                <a:cubicBezTo>
                  <a:pt x="203" y="169"/>
                  <a:pt x="170" y="202"/>
                  <a:pt x="129" y="208"/>
                </a:cubicBezTo>
                <a:close/>
                <a:moveTo>
                  <a:pt x="124" y="94"/>
                </a:moveTo>
                <a:cubicBezTo>
                  <a:pt x="70" y="69"/>
                  <a:pt x="70" y="69"/>
                  <a:pt x="70" y="69"/>
                </a:cubicBezTo>
                <a:cubicBezTo>
                  <a:pt x="94" y="124"/>
                  <a:pt x="94" y="124"/>
                  <a:pt x="94" y="124"/>
                </a:cubicBezTo>
                <a:cubicBezTo>
                  <a:pt x="97" y="129"/>
                  <a:pt x="103" y="136"/>
                  <a:pt x="109" y="138"/>
                </a:cubicBezTo>
                <a:cubicBezTo>
                  <a:pt x="163" y="163"/>
                  <a:pt x="163" y="163"/>
                  <a:pt x="163" y="163"/>
                </a:cubicBezTo>
                <a:cubicBezTo>
                  <a:pt x="138" y="108"/>
                  <a:pt x="138" y="108"/>
                  <a:pt x="138" y="108"/>
                </a:cubicBezTo>
                <a:cubicBezTo>
                  <a:pt x="136" y="103"/>
                  <a:pt x="130" y="96"/>
                  <a:pt x="124" y="94"/>
                </a:cubicBezTo>
                <a:close/>
                <a:moveTo>
                  <a:pt x="123" y="123"/>
                </a:moveTo>
                <a:cubicBezTo>
                  <a:pt x="119" y="126"/>
                  <a:pt x="113" y="126"/>
                  <a:pt x="110" y="123"/>
                </a:cubicBezTo>
                <a:cubicBezTo>
                  <a:pt x="106" y="119"/>
                  <a:pt x="106" y="113"/>
                  <a:pt x="110" y="109"/>
                </a:cubicBezTo>
                <a:cubicBezTo>
                  <a:pt x="113" y="106"/>
                  <a:pt x="119" y="106"/>
                  <a:pt x="123" y="109"/>
                </a:cubicBezTo>
                <a:cubicBezTo>
                  <a:pt x="127" y="113"/>
                  <a:pt x="127" y="119"/>
                  <a:pt x="123" y="123"/>
                </a:cubicBezTo>
                <a:close/>
              </a:path>
            </a:pathLst>
          </a:custGeom>
          <a:solidFill>
            <a:schemeClr val="bg1"/>
          </a:solidFill>
          <a:ln>
            <a:noFill/>
          </a:ln>
        </p:spPr>
        <p:txBody>
          <a:bodyPr wrap="square" lIns="91440" tIns="45720" rIns="91440" bIns="45720" anchor="ctr">
            <a:noAutofit/>
          </a:bodyPr>
          <a:lstStyle/>
          <a:p>
            <a:pPr algn="ctr"/>
            <a:endParaRPr/>
          </a:p>
        </p:txBody>
      </p:sp>
      <p:sp>
        <p:nvSpPr>
          <p:cNvPr id="40" name="îšļíḑè"/>
          <p:cNvSpPr/>
          <p:nvPr/>
        </p:nvSpPr>
        <p:spPr>
          <a:xfrm>
            <a:off x="3087734" y="1655140"/>
            <a:ext cx="1057998" cy="459610"/>
          </a:xfrm>
          <a:prstGeom prst="rect">
            <a:avLst/>
          </a:prstGeom>
        </p:spPr>
        <p:txBody>
          <a:bodyPr wrap="none">
            <a:prstTxWarp prst="textPlain">
              <a:avLst/>
            </a:prstTxWarp>
            <a:normAutofit/>
          </a:bodyPr>
          <a:lstStyle/>
          <a:p>
            <a:pPr algn="ctr"/>
            <a:r>
              <a:rPr lang="en-US" altLang="zh-CN" b="1" dirty="0">
                <a:solidFill>
                  <a:srgbClr val="00B050"/>
                </a:solidFill>
              </a:rPr>
              <a:t>Undergraduates</a:t>
            </a:r>
          </a:p>
        </p:txBody>
      </p:sp>
      <p:sp>
        <p:nvSpPr>
          <p:cNvPr id="42" name="îṧ1íḋê"/>
          <p:cNvSpPr/>
          <p:nvPr/>
        </p:nvSpPr>
        <p:spPr>
          <a:xfrm rot="8100000">
            <a:off x="5489314" y="2096124"/>
            <a:ext cx="484838" cy="484838"/>
          </a:xfrm>
          <a:prstGeom prst="teardrop">
            <a:avLst/>
          </a:prstGeom>
          <a:solidFill>
            <a:schemeClr val="accent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dirty="0"/>
          </a:p>
        </p:txBody>
      </p:sp>
      <p:sp>
        <p:nvSpPr>
          <p:cNvPr id="43" name="îŝḻiḍé"/>
          <p:cNvSpPr/>
          <p:nvPr/>
        </p:nvSpPr>
        <p:spPr bwMode="auto">
          <a:xfrm>
            <a:off x="5590216" y="2192917"/>
            <a:ext cx="300920" cy="300920"/>
          </a:xfrm>
          <a:custGeom>
            <a:avLst/>
            <a:gdLst>
              <a:gd name="T0" fmla="*/ 116 w 232"/>
              <a:gd name="T1" fmla="*/ 0 h 232"/>
              <a:gd name="T2" fmla="*/ 0 w 232"/>
              <a:gd name="T3" fmla="*/ 116 h 232"/>
              <a:gd name="T4" fmla="*/ 116 w 232"/>
              <a:gd name="T5" fmla="*/ 232 h 232"/>
              <a:gd name="T6" fmla="*/ 232 w 232"/>
              <a:gd name="T7" fmla="*/ 116 h 232"/>
              <a:gd name="T8" fmla="*/ 116 w 232"/>
              <a:gd name="T9" fmla="*/ 0 h 232"/>
              <a:gd name="T10" fmla="*/ 129 w 232"/>
              <a:gd name="T11" fmla="*/ 208 h 232"/>
              <a:gd name="T12" fmla="*/ 129 w 232"/>
              <a:gd name="T13" fmla="*/ 190 h 232"/>
              <a:gd name="T14" fmla="*/ 117 w 232"/>
              <a:gd name="T15" fmla="*/ 178 h 232"/>
              <a:gd name="T16" fmla="*/ 105 w 232"/>
              <a:gd name="T17" fmla="*/ 190 h 232"/>
              <a:gd name="T18" fmla="*/ 105 w 232"/>
              <a:gd name="T19" fmla="*/ 208 h 232"/>
              <a:gd name="T20" fmla="*/ 25 w 232"/>
              <a:gd name="T21" fmla="*/ 129 h 232"/>
              <a:gd name="T22" fmla="*/ 42 w 232"/>
              <a:gd name="T23" fmla="*/ 129 h 232"/>
              <a:gd name="T24" fmla="*/ 53 w 232"/>
              <a:gd name="T25" fmla="*/ 117 h 232"/>
              <a:gd name="T26" fmla="*/ 42 w 232"/>
              <a:gd name="T27" fmla="*/ 105 h 232"/>
              <a:gd name="T28" fmla="*/ 24 w 232"/>
              <a:gd name="T29" fmla="*/ 105 h 232"/>
              <a:gd name="T30" fmla="*/ 104 w 232"/>
              <a:gd name="T31" fmla="*/ 25 h 232"/>
              <a:gd name="T32" fmla="*/ 104 w 232"/>
              <a:gd name="T33" fmla="*/ 41 h 232"/>
              <a:gd name="T34" fmla="*/ 116 w 232"/>
              <a:gd name="T35" fmla="*/ 53 h 232"/>
              <a:gd name="T36" fmla="*/ 128 w 232"/>
              <a:gd name="T37" fmla="*/ 41 h 232"/>
              <a:gd name="T38" fmla="*/ 128 w 232"/>
              <a:gd name="T39" fmla="*/ 25 h 232"/>
              <a:gd name="T40" fmla="*/ 208 w 232"/>
              <a:gd name="T41" fmla="*/ 104 h 232"/>
              <a:gd name="T42" fmla="*/ 190 w 232"/>
              <a:gd name="T43" fmla="*/ 104 h 232"/>
              <a:gd name="T44" fmla="*/ 179 w 232"/>
              <a:gd name="T45" fmla="*/ 116 h 232"/>
              <a:gd name="T46" fmla="*/ 190 w 232"/>
              <a:gd name="T47" fmla="*/ 128 h 232"/>
              <a:gd name="T48" fmla="*/ 208 w 232"/>
              <a:gd name="T49" fmla="*/ 128 h 232"/>
              <a:gd name="T50" fmla="*/ 129 w 232"/>
              <a:gd name="T51" fmla="*/ 208 h 232"/>
              <a:gd name="T52" fmla="*/ 124 w 232"/>
              <a:gd name="T53" fmla="*/ 94 h 232"/>
              <a:gd name="T54" fmla="*/ 70 w 232"/>
              <a:gd name="T55" fmla="*/ 69 h 232"/>
              <a:gd name="T56" fmla="*/ 94 w 232"/>
              <a:gd name="T57" fmla="*/ 124 h 232"/>
              <a:gd name="T58" fmla="*/ 109 w 232"/>
              <a:gd name="T59" fmla="*/ 138 h 232"/>
              <a:gd name="T60" fmla="*/ 163 w 232"/>
              <a:gd name="T61" fmla="*/ 163 h 232"/>
              <a:gd name="T62" fmla="*/ 138 w 232"/>
              <a:gd name="T63" fmla="*/ 108 h 232"/>
              <a:gd name="T64" fmla="*/ 124 w 232"/>
              <a:gd name="T65" fmla="*/ 94 h 232"/>
              <a:gd name="T66" fmla="*/ 123 w 232"/>
              <a:gd name="T67" fmla="*/ 123 h 232"/>
              <a:gd name="T68" fmla="*/ 110 w 232"/>
              <a:gd name="T69" fmla="*/ 123 h 232"/>
              <a:gd name="T70" fmla="*/ 110 w 232"/>
              <a:gd name="T71" fmla="*/ 109 h 232"/>
              <a:gd name="T72" fmla="*/ 123 w 232"/>
              <a:gd name="T73" fmla="*/ 109 h 232"/>
              <a:gd name="T74" fmla="*/ 123 w 232"/>
              <a:gd name="T75" fmla="*/ 12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2" h="232">
                <a:moveTo>
                  <a:pt x="116" y="0"/>
                </a:moveTo>
                <a:cubicBezTo>
                  <a:pt x="52" y="0"/>
                  <a:pt x="0" y="52"/>
                  <a:pt x="0" y="116"/>
                </a:cubicBezTo>
                <a:cubicBezTo>
                  <a:pt x="0" y="180"/>
                  <a:pt x="52" y="232"/>
                  <a:pt x="116" y="232"/>
                </a:cubicBezTo>
                <a:cubicBezTo>
                  <a:pt x="180" y="232"/>
                  <a:pt x="232" y="180"/>
                  <a:pt x="232" y="116"/>
                </a:cubicBezTo>
                <a:cubicBezTo>
                  <a:pt x="232" y="52"/>
                  <a:pt x="180" y="0"/>
                  <a:pt x="116" y="0"/>
                </a:cubicBezTo>
                <a:close/>
                <a:moveTo>
                  <a:pt x="129" y="208"/>
                </a:moveTo>
                <a:cubicBezTo>
                  <a:pt x="129" y="190"/>
                  <a:pt x="129" y="190"/>
                  <a:pt x="129" y="190"/>
                </a:cubicBezTo>
                <a:cubicBezTo>
                  <a:pt x="129" y="183"/>
                  <a:pt x="123" y="178"/>
                  <a:pt x="117" y="178"/>
                </a:cubicBezTo>
                <a:cubicBezTo>
                  <a:pt x="110" y="178"/>
                  <a:pt x="105" y="183"/>
                  <a:pt x="105" y="190"/>
                </a:cubicBezTo>
                <a:cubicBezTo>
                  <a:pt x="105" y="208"/>
                  <a:pt x="105" y="208"/>
                  <a:pt x="105" y="208"/>
                </a:cubicBezTo>
                <a:cubicBezTo>
                  <a:pt x="63" y="203"/>
                  <a:pt x="30" y="170"/>
                  <a:pt x="25" y="129"/>
                </a:cubicBezTo>
                <a:cubicBezTo>
                  <a:pt x="42" y="129"/>
                  <a:pt x="42" y="129"/>
                  <a:pt x="42" y="129"/>
                </a:cubicBezTo>
                <a:cubicBezTo>
                  <a:pt x="48" y="129"/>
                  <a:pt x="53" y="123"/>
                  <a:pt x="53" y="117"/>
                </a:cubicBezTo>
                <a:cubicBezTo>
                  <a:pt x="53" y="110"/>
                  <a:pt x="48" y="105"/>
                  <a:pt x="42" y="105"/>
                </a:cubicBezTo>
                <a:cubicBezTo>
                  <a:pt x="24" y="105"/>
                  <a:pt x="24" y="105"/>
                  <a:pt x="24" y="105"/>
                </a:cubicBezTo>
                <a:cubicBezTo>
                  <a:pt x="29" y="63"/>
                  <a:pt x="63" y="30"/>
                  <a:pt x="104" y="25"/>
                </a:cubicBezTo>
                <a:cubicBezTo>
                  <a:pt x="104" y="41"/>
                  <a:pt x="104" y="41"/>
                  <a:pt x="104" y="41"/>
                </a:cubicBezTo>
                <a:cubicBezTo>
                  <a:pt x="104" y="47"/>
                  <a:pt x="109" y="53"/>
                  <a:pt x="116" y="53"/>
                </a:cubicBezTo>
                <a:cubicBezTo>
                  <a:pt x="122" y="53"/>
                  <a:pt x="128" y="47"/>
                  <a:pt x="128" y="41"/>
                </a:cubicBezTo>
                <a:cubicBezTo>
                  <a:pt x="128" y="25"/>
                  <a:pt x="128" y="25"/>
                  <a:pt x="128" y="25"/>
                </a:cubicBezTo>
                <a:cubicBezTo>
                  <a:pt x="169" y="30"/>
                  <a:pt x="202" y="63"/>
                  <a:pt x="208" y="104"/>
                </a:cubicBezTo>
                <a:cubicBezTo>
                  <a:pt x="190" y="104"/>
                  <a:pt x="190" y="104"/>
                  <a:pt x="190" y="104"/>
                </a:cubicBezTo>
                <a:cubicBezTo>
                  <a:pt x="184" y="104"/>
                  <a:pt x="179" y="109"/>
                  <a:pt x="179" y="116"/>
                </a:cubicBezTo>
                <a:cubicBezTo>
                  <a:pt x="179" y="122"/>
                  <a:pt x="184" y="128"/>
                  <a:pt x="190" y="128"/>
                </a:cubicBezTo>
                <a:cubicBezTo>
                  <a:pt x="208" y="128"/>
                  <a:pt x="208" y="128"/>
                  <a:pt x="208" y="128"/>
                </a:cubicBezTo>
                <a:cubicBezTo>
                  <a:pt x="203" y="169"/>
                  <a:pt x="170" y="202"/>
                  <a:pt x="129" y="208"/>
                </a:cubicBezTo>
                <a:close/>
                <a:moveTo>
                  <a:pt x="124" y="94"/>
                </a:moveTo>
                <a:cubicBezTo>
                  <a:pt x="70" y="69"/>
                  <a:pt x="70" y="69"/>
                  <a:pt x="70" y="69"/>
                </a:cubicBezTo>
                <a:cubicBezTo>
                  <a:pt x="94" y="124"/>
                  <a:pt x="94" y="124"/>
                  <a:pt x="94" y="124"/>
                </a:cubicBezTo>
                <a:cubicBezTo>
                  <a:pt x="97" y="129"/>
                  <a:pt x="103" y="136"/>
                  <a:pt x="109" y="138"/>
                </a:cubicBezTo>
                <a:cubicBezTo>
                  <a:pt x="163" y="163"/>
                  <a:pt x="163" y="163"/>
                  <a:pt x="163" y="163"/>
                </a:cubicBezTo>
                <a:cubicBezTo>
                  <a:pt x="138" y="108"/>
                  <a:pt x="138" y="108"/>
                  <a:pt x="138" y="108"/>
                </a:cubicBezTo>
                <a:cubicBezTo>
                  <a:pt x="136" y="103"/>
                  <a:pt x="130" y="96"/>
                  <a:pt x="124" y="94"/>
                </a:cubicBezTo>
                <a:close/>
                <a:moveTo>
                  <a:pt x="123" y="123"/>
                </a:moveTo>
                <a:cubicBezTo>
                  <a:pt x="119" y="126"/>
                  <a:pt x="113" y="126"/>
                  <a:pt x="110" y="123"/>
                </a:cubicBezTo>
                <a:cubicBezTo>
                  <a:pt x="106" y="119"/>
                  <a:pt x="106" y="113"/>
                  <a:pt x="110" y="109"/>
                </a:cubicBezTo>
                <a:cubicBezTo>
                  <a:pt x="113" y="106"/>
                  <a:pt x="119" y="106"/>
                  <a:pt x="123" y="109"/>
                </a:cubicBezTo>
                <a:cubicBezTo>
                  <a:pt x="127" y="113"/>
                  <a:pt x="127" y="119"/>
                  <a:pt x="123" y="123"/>
                </a:cubicBezTo>
                <a:close/>
              </a:path>
            </a:pathLst>
          </a:custGeom>
          <a:solidFill>
            <a:schemeClr val="bg1"/>
          </a:solidFill>
          <a:ln>
            <a:noFill/>
          </a:ln>
        </p:spPr>
        <p:txBody>
          <a:bodyPr wrap="square" lIns="91440" tIns="45720" rIns="91440" bIns="45720" anchor="ctr">
            <a:noAutofit/>
          </a:bodyPr>
          <a:lstStyle/>
          <a:p>
            <a:pPr algn="ctr"/>
            <a:endParaRPr/>
          </a:p>
        </p:txBody>
      </p:sp>
      <p:sp>
        <p:nvSpPr>
          <p:cNvPr id="44" name="îš1íḍe"/>
          <p:cNvSpPr/>
          <p:nvPr/>
        </p:nvSpPr>
        <p:spPr>
          <a:xfrm>
            <a:off x="5313366" y="1580331"/>
            <a:ext cx="836734" cy="419518"/>
          </a:xfrm>
          <a:prstGeom prst="rect">
            <a:avLst/>
          </a:prstGeom>
        </p:spPr>
        <p:txBody>
          <a:bodyPr wrap="none">
            <a:prstTxWarp prst="textPlain">
              <a:avLst/>
            </a:prstTxWarp>
            <a:normAutofit/>
          </a:bodyPr>
          <a:lstStyle/>
          <a:p>
            <a:pPr algn="ctr"/>
            <a:r>
              <a:rPr lang="en-US" altLang="zh-CN" b="1" dirty="0">
                <a:solidFill>
                  <a:schemeClr val="accent2"/>
                </a:solidFill>
              </a:rPr>
              <a:t>Masters</a:t>
            </a:r>
          </a:p>
        </p:txBody>
      </p:sp>
      <p:sp>
        <p:nvSpPr>
          <p:cNvPr id="45" name="íṡ1ïďé"/>
          <p:cNvSpPr/>
          <p:nvPr/>
        </p:nvSpPr>
        <p:spPr>
          <a:xfrm rot="8100000">
            <a:off x="7649314" y="2096124"/>
            <a:ext cx="484838" cy="484838"/>
          </a:xfrm>
          <a:prstGeom prst="teardrop">
            <a:avLst/>
          </a:prstGeom>
          <a:solidFill>
            <a:srgbClr val="0070C0"/>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a:solidFill>
                <a:srgbClr val="0070C0"/>
              </a:solidFill>
            </a:endParaRPr>
          </a:p>
        </p:txBody>
      </p:sp>
      <p:sp>
        <p:nvSpPr>
          <p:cNvPr id="46" name="ïślïḋe"/>
          <p:cNvSpPr/>
          <p:nvPr/>
        </p:nvSpPr>
        <p:spPr bwMode="auto">
          <a:xfrm>
            <a:off x="7750216" y="2192917"/>
            <a:ext cx="300920" cy="300920"/>
          </a:xfrm>
          <a:custGeom>
            <a:avLst/>
            <a:gdLst>
              <a:gd name="T0" fmla="*/ 116 w 232"/>
              <a:gd name="T1" fmla="*/ 0 h 232"/>
              <a:gd name="T2" fmla="*/ 0 w 232"/>
              <a:gd name="T3" fmla="*/ 116 h 232"/>
              <a:gd name="T4" fmla="*/ 116 w 232"/>
              <a:gd name="T5" fmla="*/ 232 h 232"/>
              <a:gd name="T6" fmla="*/ 232 w 232"/>
              <a:gd name="T7" fmla="*/ 116 h 232"/>
              <a:gd name="T8" fmla="*/ 116 w 232"/>
              <a:gd name="T9" fmla="*/ 0 h 232"/>
              <a:gd name="T10" fmla="*/ 129 w 232"/>
              <a:gd name="T11" fmla="*/ 208 h 232"/>
              <a:gd name="T12" fmla="*/ 129 w 232"/>
              <a:gd name="T13" fmla="*/ 190 h 232"/>
              <a:gd name="T14" fmla="*/ 117 w 232"/>
              <a:gd name="T15" fmla="*/ 178 h 232"/>
              <a:gd name="T16" fmla="*/ 105 w 232"/>
              <a:gd name="T17" fmla="*/ 190 h 232"/>
              <a:gd name="T18" fmla="*/ 105 w 232"/>
              <a:gd name="T19" fmla="*/ 208 h 232"/>
              <a:gd name="T20" fmla="*/ 25 w 232"/>
              <a:gd name="T21" fmla="*/ 129 h 232"/>
              <a:gd name="T22" fmla="*/ 42 w 232"/>
              <a:gd name="T23" fmla="*/ 129 h 232"/>
              <a:gd name="T24" fmla="*/ 53 w 232"/>
              <a:gd name="T25" fmla="*/ 117 h 232"/>
              <a:gd name="T26" fmla="*/ 42 w 232"/>
              <a:gd name="T27" fmla="*/ 105 h 232"/>
              <a:gd name="T28" fmla="*/ 24 w 232"/>
              <a:gd name="T29" fmla="*/ 105 h 232"/>
              <a:gd name="T30" fmla="*/ 104 w 232"/>
              <a:gd name="T31" fmla="*/ 25 h 232"/>
              <a:gd name="T32" fmla="*/ 104 w 232"/>
              <a:gd name="T33" fmla="*/ 41 h 232"/>
              <a:gd name="T34" fmla="*/ 116 w 232"/>
              <a:gd name="T35" fmla="*/ 53 h 232"/>
              <a:gd name="T36" fmla="*/ 128 w 232"/>
              <a:gd name="T37" fmla="*/ 41 h 232"/>
              <a:gd name="T38" fmla="*/ 128 w 232"/>
              <a:gd name="T39" fmla="*/ 25 h 232"/>
              <a:gd name="T40" fmla="*/ 208 w 232"/>
              <a:gd name="T41" fmla="*/ 104 h 232"/>
              <a:gd name="T42" fmla="*/ 190 w 232"/>
              <a:gd name="T43" fmla="*/ 104 h 232"/>
              <a:gd name="T44" fmla="*/ 179 w 232"/>
              <a:gd name="T45" fmla="*/ 116 h 232"/>
              <a:gd name="T46" fmla="*/ 190 w 232"/>
              <a:gd name="T47" fmla="*/ 128 h 232"/>
              <a:gd name="T48" fmla="*/ 208 w 232"/>
              <a:gd name="T49" fmla="*/ 128 h 232"/>
              <a:gd name="T50" fmla="*/ 129 w 232"/>
              <a:gd name="T51" fmla="*/ 208 h 232"/>
              <a:gd name="T52" fmla="*/ 124 w 232"/>
              <a:gd name="T53" fmla="*/ 94 h 232"/>
              <a:gd name="T54" fmla="*/ 70 w 232"/>
              <a:gd name="T55" fmla="*/ 69 h 232"/>
              <a:gd name="T56" fmla="*/ 94 w 232"/>
              <a:gd name="T57" fmla="*/ 124 h 232"/>
              <a:gd name="T58" fmla="*/ 109 w 232"/>
              <a:gd name="T59" fmla="*/ 138 h 232"/>
              <a:gd name="T60" fmla="*/ 163 w 232"/>
              <a:gd name="T61" fmla="*/ 163 h 232"/>
              <a:gd name="T62" fmla="*/ 138 w 232"/>
              <a:gd name="T63" fmla="*/ 108 h 232"/>
              <a:gd name="T64" fmla="*/ 124 w 232"/>
              <a:gd name="T65" fmla="*/ 94 h 232"/>
              <a:gd name="T66" fmla="*/ 123 w 232"/>
              <a:gd name="T67" fmla="*/ 123 h 232"/>
              <a:gd name="T68" fmla="*/ 110 w 232"/>
              <a:gd name="T69" fmla="*/ 123 h 232"/>
              <a:gd name="T70" fmla="*/ 110 w 232"/>
              <a:gd name="T71" fmla="*/ 109 h 232"/>
              <a:gd name="T72" fmla="*/ 123 w 232"/>
              <a:gd name="T73" fmla="*/ 109 h 232"/>
              <a:gd name="T74" fmla="*/ 123 w 232"/>
              <a:gd name="T75" fmla="*/ 12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2" h="232">
                <a:moveTo>
                  <a:pt x="116" y="0"/>
                </a:moveTo>
                <a:cubicBezTo>
                  <a:pt x="52" y="0"/>
                  <a:pt x="0" y="52"/>
                  <a:pt x="0" y="116"/>
                </a:cubicBezTo>
                <a:cubicBezTo>
                  <a:pt x="0" y="180"/>
                  <a:pt x="52" y="232"/>
                  <a:pt x="116" y="232"/>
                </a:cubicBezTo>
                <a:cubicBezTo>
                  <a:pt x="180" y="232"/>
                  <a:pt x="232" y="180"/>
                  <a:pt x="232" y="116"/>
                </a:cubicBezTo>
                <a:cubicBezTo>
                  <a:pt x="232" y="52"/>
                  <a:pt x="180" y="0"/>
                  <a:pt x="116" y="0"/>
                </a:cubicBezTo>
                <a:close/>
                <a:moveTo>
                  <a:pt x="129" y="208"/>
                </a:moveTo>
                <a:cubicBezTo>
                  <a:pt x="129" y="190"/>
                  <a:pt x="129" y="190"/>
                  <a:pt x="129" y="190"/>
                </a:cubicBezTo>
                <a:cubicBezTo>
                  <a:pt x="129" y="183"/>
                  <a:pt x="123" y="178"/>
                  <a:pt x="117" y="178"/>
                </a:cubicBezTo>
                <a:cubicBezTo>
                  <a:pt x="110" y="178"/>
                  <a:pt x="105" y="183"/>
                  <a:pt x="105" y="190"/>
                </a:cubicBezTo>
                <a:cubicBezTo>
                  <a:pt x="105" y="208"/>
                  <a:pt x="105" y="208"/>
                  <a:pt x="105" y="208"/>
                </a:cubicBezTo>
                <a:cubicBezTo>
                  <a:pt x="63" y="203"/>
                  <a:pt x="30" y="170"/>
                  <a:pt x="25" y="129"/>
                </a:cubicBezTo>
                <a:cubicBezTo>
                  <a:pt x="42" y="129"/>
                  <a:pt x="42" y="129"/>
                  <a:pt x="42" y="129"/>
                </a:cubicBezTo>
                <a:cubicBezTo>
                  <a:pt x="48" y="129"/>
                  <a:pt x="53" y="123"/>
                  <a:pt x="53" y="117"/>
                </a:cubicBezTo>
                <a:cubicBezTo>
                  <a:pt x="53" y="110"/>
                  <a:pt x="48" y="105"/>
                  <a:pt x="42" y="105"/>
                </a:cubicBezTo>
                <a:cubicBezTo>
                  <a:pt x="24" y="105"/>
                  <a:pt x="24" y="105"/>
                  <a:pt x="24" y="105"/>
                </a:cubicBezTo>
                <a:cubicBezTo>
                  <a:pt x="29" y="63"/>
                  <a:pt x="63" y="30"/>
                  <a:pt x="104" y="25"/>
                </a:cubicBezTo>
                <a:cubicBezTo>
                  <a:pt x="104" y="41"/>
                  <a:pt x="104" y="41"/>
                  <a:pt x="104" y="41"/>
                </a:cubicBezTo>
                <a:cubicBezTo>
                  <a:pt x="104" y="47"/>
                  <a:pt x="109" y="53"/>
                  <a:pt x="116" y="53"/>
                </a:cubicBezTo>
                <a:cubicBezTo>
                  <a:pt x="122" y="53"/>
                  <a:pt x="128" y="47"/>
                  <a:pt x="128" y="41"/>
                </a:cubicBezTo>
                <a:cubicBezTo>
                  <a:pt x="128" y="25"/>
                  <a:pt x="128" y="25"/>
                  <a:pt x="128" y="25"/>
                </a:cubicBezTo>
                <a:cubicBezTo>
                  <a:pt x="169" y="30"/>
                  <a:pt x="202" y="63"/>
                  <a:pt x="208" y="104"/>
                </a:cubicBezTo>
                <a:cubicBezTo>
                  <a:pt x="190" y="104"/>
                  <a:pt x="190" y="104"/>
                  <a:pt x="190" y="104"/>
                </a:cubicBezTo>
                <a:cubicBezTo>
                  <a:pt x="184" y="104"/>
                  <a:pt x="179" y="109"/>
                  <a:pt x="179" y="116"/>
                </a:cubicBezTo>
                <a:cubicBezTo>
                  <a:pt x="179" y="122"/>
                  <a:pt x="184" y="128"/>
                  <a:pt x="190" y="128"/>
                </a:cubicBezTo>
                <a:cubicBezTo>
                  <a:pt x="208" y="128"/>
                  <a:pt x="208" y="128"/>
                  <a:pt x="208" y="128"/>
                </a:cubicBezTo>
                <a:cubicBezTo>
                  <a:pt x="203" y="169"/>
                  <a:pt x="170" y="202"/>
                  <a:pt x="129" y="208"/>
                </a:cubicBezTo>
                <a:close/>
                <a:moveTo>
                  <a:pt x="124" y="94"/>
                </a:moveTo>
                <a:cubicBezTo>
                  <a:pt x="70" y="69"/>
                  <a:pt x="70" y="69"/>
                  <a:pt x="70" y="69"/>
                </a:cubicBezTo>
                <a:cubicBezTo>
                  <a:pt x="94" y="124"/>
                  <a:pt x="94" y="124"/>
                  <a:pt x="94" y="124"/>
                </a:cubicBezTo>
                <a:cubicBezTo>
                  <a:pt x="97" y="129"/>
                  <a:pt x="103" y="136"/>
                  <a:pt x="109" y="138"/>
                </a:cubicBezTo>
                <a:cubicBezTo>
                  <a:pt x="163" y="163"/>
                  <a:pt x="163" y="163"/>
                  <a:pt x="163" y="163"/>
                </a:cubicBezTo>
                <a:cubicBezTo>
                  <a:pt x="138" y="108"/>
                  <a:pt x="138" y="108"/>
                  <a:pt x="138" y="108"/>
                </a:cubicBezTo>
                <a:cubicBezTo>
                  <a:pt x="136" y="103"/>
                  <a:pt x="130" y="96"/>
                  <a:pt x="124" y="94"/>
                </a:cubicBezTo>
                <a:close/>
                <a:moveTo>
                  <a:pt x="123" y="123"/>
                </a:moveTo>
                <a:cubicBezTo>
                  <a:pt x="119" y="126"/>
                  <a:pt x="113" y="126"/>
                  <a:pt x="110" y="123"/>
                </a:cubicBezTo>
                <a:cubicBezTo>
                  <a:pt x="106" y="119"/>
                  <a:pt x="106" y="113"/>
                  <a:pt x="110" y="109"/>
                </a:cubicBezTo>
                <a:cubicBezTo>
                  <a:pt x="113" y="106"/>
                  <a:pt x="119" y="106"/>
                  <a:pt x="123" y="109"/>
                </a:cubicBezTo>
                <a:cubicBezTo>
                  <a:pt x="127" y="113"/>
                  <a:pt x="127" y="119"/>
                  <a:pt x="123" y="123"/>
                </a:cubicBezTo>
                <a:close/>
              </a:path>
            </a:pathLst>
          </a:custGeom>
          <a:solidFill>
            <a:schemeClr val="bg1"/>
          </a:solidFill>
          <a:ln>
            <a:noFill/>
          </a:ln>
        </p:spPr>
        <p:txBody>
          <a:bodyPr wrap="square" lIns="91440" tIns="45720" rIns="91440" bIns="45720" anchor="ctr">
            <a:noAutofit/>
          </a:bodyPr>
          <a:lstStyle/>
          <a:p>
            <a:pPr algn="ctr"/>
            <a:endParaRPr/>
          </a:p>
        </p:txBody>
      </p:sp>
      <p:sp>
        <p:nvSpPr>
          <p:cNvPr id="47" name="iśļîdê"/>
          <p:cNvSpPr/>
          <p:nvPr/>
        </p:nvSpPr>
        <p:spPr>
          <a:xfrm>
            <a:off x="7548900" y="1644569"/>
            <a:ext cx="711386" cy="322850"/>
          </a:xfrm>
          <a:prstGeom prst="rect">
            <a:avLst/>
          </a:prstGeom>
        </p:spPr>
        <p:txBody>
          <a:bodyPr wrap="none">
            <a:prstTxWarp prst="textPlain">
              <a:avLst>
                <a:gd name="adj" fmla="val 51652"/>
              </a:avLst>
            </a:prstTxWarp>
            <a:normAutofit fontScale="92500" lnSpcReduction="20000"/>
          </a:bodyPr>
          <a:lstStyle/>
          <a:p>
            <a:pPr algn="ctr"/>
            <a:r>
              <a:rPr lang="en-US" altLang="zh-CN" b="1" dirty="0">
                <a:solidFill>
                  <a:srgbClr val="0070C0"/>
                </a:solidFill>
              </a:rPr>
              <a:t>PhD</a:t>
            </a:r>
          </a:p>
        </p:txBody>
      </p:sp>
      <p:cxnSp>
        <p:nvCxnSpPr>
          <p:cNvPr id="48" name="直接连接符 47"/>
          <p:cNvCxnSpPr/>
          <p:nvPr/>
        </p:nvCxnSpPr>
        <p:spPr>
          <a:xfrm>
            <a:off x="1320795" y="3425186"/>
            <a:ext cx="10802938"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1320795" y="3955487"/>
            <a:ext cx="10802938"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1320795" y="4485788"/>
            <a:ext cx="10802938"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81" name="îṡḷíḍe"/>
          <p:cNvSpPr/>
          <p:nvPr/>
        </p:nvSpPr>
        <p:spPr bwMode="auto">
          <a:xfrm>
            <a:off x="2871596" y="1308477"/>
            <a:ext cx="1490274" cy="1490274"/>
          </a:xfrm>
          <a:prstGeom prst="ellipse">
            <a:avLst/>
          </a:prstGeom>
          <a:noFill/>
          <a:ln w="254000">
            <a:solidFill>
              <a:srgbClr val="97D0DD"/>
            </a:solidFill>
          </a:ln>
          <a:effectLst/>
        </p:spPr>
        <p:txBody>
          <a:bodyPr wrap="square" lIns="91440" tIns="45720" rIns="91440" bIns="45720" anchor="ctr">
            <a:noAutofit/>
          </a:bodyPr>
          <a:lstStyle/>
          <a:p>
            <a:pPr algn="ctr"/>
            <a:endParaRPr dirty="0"/>
          </a:p>
        </p:txBody>
      </p:sp>
      <p:sp>
        <p:nvSpPr>
          <p:cNvPr id="82" name="ïṡlíďê"/>
          <p:cNvSpPr/>
          <p:nvPr/>
        </p:nvSpPr>
        <p:spPr bwMode="auto">
          <a:xfrm>
            <a:off x="2871596" y="1318950"/>
            <a:ext cx="1490274" cy="1490274"/>
          </a:xfrm>
          <a:prstGeom prst="ellipse">
            <a:avLst/>
          </a:prstGeom>
          <a:noFill/>
          <a:ln w="19050">
            <a:solidFill>
              <a:schemeClr val="bg1"/>
            </a:solidFill>
            <a:prstDash val="dash"/>
          </a:ln>
          <a:effectLst/>
        </p:spPr>
        <p:txBody>
          <a:bodyPr wrap="square" lIns="91440" tIns="45720" rIns="91440" bIns="45720" anchor="ctr">
            <a:noAutofit/>
          </a:bodyPr>
          <a:lstStyle/>
          <a:p>
            <a:pPr algn="ctr"/>
            <a:endParaRPr/>
          </a:p>
        </p:txBody>
      </p:sp>
      <p:cxnSp>
        <p:nvCxnSpPr>
          <p:cNvPr id="83" name="直接连接符 82"/>
          <p:cNvCxnSpPr>
            <a:stCxn id="81" idx="4"/>
          </p:cNvCxnSpPr>
          <p:nvPr/>
        </p:nvCxnSpPr>
        <p:spPr>
          <a:xfrm flipH="1" flipV="1">
            <a:off x="1134067" y="2795688"/>
            <a:ext cx="2482666" cy="3063"/>
          </a:xfrm>
          <a:prstGeom prst="line">
            <a:avLst/>
          </a:prstGeom>
          <a:noFill/>
          <a:ln w="254000">
            <a:solidFill>
              <a:srgbClr val="97D0DD"/>
            </a:solidFill>
          </a:ln>
          <a:effectLst/>
        </p:spPr>
      </p:cxnSp>
      <p:cxnSp>
        <p:nvCxnSpPr>
          <p:cNvPr id="84" name="直接连接符 83"/>
          <p:cNvCxnSpPr/>
          <p:nvPr/>
        </p:nvCxnSpPr>
        <p:spPr>
          <a:xfrm flipH="1" flipV="1">
            <a:off x="1134067" y="2795688"/>
            <a:ext cx="2482667" cy="13536"/>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5" name="ïṡľíďé"/>
          <p:cNvSpPr/>
          <p:nvPr/>
        </p:nvSpPr>
        <p:spPr>
          <a:xfrm rot="8100000">
            <a:off x="9809314" y="2096124"/>
            <a:ext cx="484838" cy="484838"/>
          </a:xfrm>
          <a:prstGeom prst="teardrop">
            <a:avLst/>
          </a:prstGeom>
          <a:solidFill>
            <a:schemeClr val="accent4"/>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a:p>
        </p:txBody>
      </p:sp>
      <p:sp>
        <p:nvSpPr>
          <p:cNvPr id="86" name="ï$1íďé"/>
          <p:cNvSpPr/>
          <p:nvPr/>
        </p:nvSpPr>
        <p:spPr bwMode="auto">
          <a:xfrm>
            <a:off x="9910216" y="2192917"/>
            <a:ext cx="300920" cy="300920"/>
          </a:xfrm>
          <a:custGeom>
            <a:avLst/>
            <a:gdLst>
              <a:gd name="T0" fmla="*/ 116 w 232"/>
              <a:gd name="T1" fmla="*/ 0 h 232"/>
              <a:gd name="T2" fmla="*/ 0 w 232"/>
              <a:gd name="T3" fmla="*/ 116 h 232"/>
              <a:gd name="T4" fmla="*/ 116 w 232"/>
              <a:gd name="T5" fmla="*/ 232 h 232"/>
              <a:gd name="T6" fmla="*/ 232 w 232"/>
              <a:gd name="T7" fmla="*/ 116 h 232"/>
              <a:gd name="T8" fmla="*/ 116 w 232"/>
              <a:gd name="T9" fmla="*/ 0 h 232"/>
              <a:gd name="T10" fmla="*/ 129 w 232"/>
              <a:gd name="T11" fmla="*/ 208 h 232"/>
              <a:gd name="T12" fmla="*/ 129 w 232"/>
              <a:gd name="T13" fmla="*/ 190 h 232"/>
              <a:gd name="T14" fmla="*/ 117 w 232"/>
              <a:gd name="T15" fmla="*/ 178 h 232"/>
              <a:gd name="T16" fmla="*/ 105 w 232"/>
              <a:gd name="T17" fmla="*/ 190 h 232"/>
              <a:gd name="T18" fmla="*/ 105 w 232"/>
              <a:gd name="T19" fmla="*/ 208 h 232"/>
              <a:gd name="T20" fmla="*/ 25 w 232"/>
              <a:gd name="T21" fmla="*/ 129 h 232"/>
              <a:gd name="T22" fmla="*/ 42 w 232"/>
              <a:gd name="T23" fmla="*/ 129 h 232"/>
              <a:gd name="T24" fmla="*/ 53 w 232"/>
              <a:gd name="T25" fmla="*/ 117 h 232"/>
              <a:gd name="T26" fmla="*/ 42 w 232"/>
              <a:gd name="T27" fmla="*/ 105 h 232"/>
              <a:gd name="T28" fmla="*/ 24 w 232"/>
              <a:gd name="T29" fmla="*/ 105 h 232"/>
              <a:gd name="T30" fmla="*/ 104 w 232"/>
              <a:gd name="T31" fmla="*/ 25 h 232"/>
              <a:gd name="T32" fmla="*/ 104 w 232"/>
              <a:gd name="T33" fmla="*/ 41 h 232"/>
              <a:gd name="T34" fmla="*/ 116 w 232"/>
              <a:gd name="T35" fmla="*/ 53 h 232"/>
              <a:gd name="T36" fmla="*/ 128 w 232"/>
              <a:gd name="T37" fmla="*/ 41 h 232"/>
              <a:gd name="T38" fmla="*/ 128 w 232"/>
              <a:gd name="T39" fmla="*/ 25 h 232"/>
              <a:gd name="T40" fmla="*/ 208 w 232"/>
              <a:gd name="T41" fmla="*/ 104 h 232"/>
              <a:gd name="T42" fmla="*/ 190 w 232"/>
              <a:gd name="T43" fmla="*/ 104 h 232"/>
              <a:gd name="T44" fmla="*/ 179 w 232"/>
              <a:gd name="T45" fmla="*/ 116 h 232"/>
              <a:gd name="T46" fmla="*/ 190 w 232"/>
              <a:gd name="T47" fmla="*/ 128 h 232"/>
              <a:gd name="T48" fmla="*/ 208 w 232"/>
              <a:gd name="T49" fmla="*/ 128 h 232"/>
              <a:gd name="T50" fmla="*/ 129 w 232"/>
              <a:gd name="T51" fmla="*/ 208 h 232"/>
              <a:gd name="T52" fmla="*/ 124 w 232"/>
              <a:gd name="T53" fmla="*/ 94 h 232"/>
              <a:gd name="T54" fmla="*/ 70 w 232"/>
              <a:gd name="T55" fmla="*/ 69 h 232"/>
              <a:gd name="T56" fmla="*/ 94 w 232"/>
              <a:gd name="T57" fmla="*/ 124 h 232"/>
              <a:gd name="T58" fmla="*/ 109 w 232"/>
              <a:gd name="T59" fmla="*/ 138 h 232"/>
              <a:gd name="T60" fmla="*/ 163 w 232"/>
              <a:gd name="T61" fmla="*/ 163 h 232"/>
              <a:gd name="T62" fmla="*/ 138 w 232"/>
              <a:gd name="T63" fmla="*/ 108 h 232"/>
              <a:gd name="T64" fmla="*/ 124 w 232"/>
              <a:gd name="T65" fmla="*/ 94 h 232"/>
              <a:gd name="T66" fmla="*/ 123 w 232"/>
              <a:gd name="T67" fmla="*/ 123 h 232"/>
              <a:gd name="T68" fmla="*/ 110 w 232"/>
              <a:gd name="T69" fmla="*/ 123 h 232"/>
              <a:gd name="T70" fmla="*/ 110 w 232"/>
              <a:gd name="T71" fmla="*/ 109 h 232"/>
              <a:gd name="T72" fmla="*/ 123 w 232"/>
              <a:gd name="T73" fmla="*/ 109 h 232"/>
              <a:gd name="T74" fmla="*/ 123 w 232"/>
              <a:gd name="T75" fmla="*/ 12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2" h="232">
                <a:moveTo>
                  <a:pt x="116" y="0"/>
                </a:moveTo>
                <a:cubicBezTo>
                  <a:pt x="52" y="0"/>
                  <a:pt x="0" y="52"/>
                  <a:pt x="0" y="116"/>
                </a:cubicBezTo>
                <a:cubicBezTo>
                  <a:pt x="0" y="180"/>
                  <a:pt x="52" y="232"/>
                  <a:pt x="116" y="232"/>
                </a:cubicBezTo>
                <a:cubicBezTo>
                  <a:pt x="180" y="232"/>
                  <a:pt x="232" y="180"/>
                  <a:pt x="232" y="116"/>
                </a:cubicBezTo>
                <a:cubicBezTo>
                  <a:pt x="232" y="52"/>
                  <a:pt x="180" y="0"/>
                  <a:pt x="116" y="0"/>
                </a:cubicBezTo>
                <a:close/>
                <a:moveTo>
                  <a:pt x="129" y="208"/>
                </a:moveTo>
                <a:cubicBezTo>
                  <a:pt x="129" y="190"/>
                  <a:pt x="129" y="190"/>
                  <a:pt x="129" y="190"/>
                </a:cubicBezTo>
                <a:cubicBezTo>
                  <a:pt x="129" y="183"/>
                  <a:pt x="123" y="178"/>
                  <a:pt x="117" y="178"/>
                </a:cubicBezTo>
                <a:cubicBezTo>
                  <a:pt x="110" y="178"/>
                  <a:pt x="105" y="183"/>
                  <a:pt x="105" y="190"/>
                </a:cubicBezTo>
                <a:cubicBezTo>
                  <a:pt x="105" y="208"/>
                  <a:pt x="105" y="208"/>
                  <a:pt x="105" y="208"/>
                </a:cubicBezTo>
                <a:cubicBezTo>
                  <a:pt x="63" y="203"/>
                  <a:pt x="30" y="170"/>
                  <a:pt x="25" y="129"/>
                </a:cubicBezTo>
                <a:cubicBezTo>
                  <a:pt x="42" y="129"/>
                  <a:pt x="42" y="129"/>
                  <a:pt x="42" y="129"/>
                </a:cubicBezTo>
                <a:cubicBezTo>
                  <a:pt x="48" y="129"/>
                  <a:pt x="53" y="123"/>
                  <a:pt x="53" y="117"/>
                </a:cubicBezTo>
                <a:cubicBezTo>
                  <a:pt x="53" y="110"/>
                  <a:pt x="48" y="105"/>
                  <a:pt x="42" y="105"/>
                </a:cubicBezTo>
                <a:cubicBezTo>
                  <a:pt x="24" y="105"/>
                  <a:pt x="24" y="105"/>
                  <a:pt x="24" y="105"/>
                </a:cubicBezTo>
                <a:cubicBezTo>
                  <a:pt x="29" y="63"/>
                  <a:pt x="63" y="30"/>
                  <a:pt x="104" y="25"/>
                </a:cubicBezTo>
                <a:cubicBezTo>
                  <a:pt x="104" y="41"/>
                  <a:pt x="104" y="41"/>
                  <a:pt x="104" y="41"/>
                </a:cubicBezTo>
                <a:cubicBezTo>
                  <a:pt x="104" y="47"/>
                  <a:pt x="109" y="53"/>
                  <a:pt x="116" y="53"/>
                </a:cubicBezTo>
                <a:cubicBezTo>
                  <a:pt x="122" y="53"/>
                  <a:pt x="128" y="47"/>
                  <a:pt x="128" y="41"/>
                </a:cubicBezTo>
                <a:cubicBezTo>
                  <a:pt x="128" y="25"/>
                  <a:pt x="128" y="25"/>
                  <a:pt x="128" y="25"/>
                </a:cubicBezTo>
                <a:cubicBezTo>
                  <a:pt x="169" y="30"/>
                  <a:pt x="202" y="63"/>
                  <a:pt x="208" y="104"/>
                </a:cubicBezTo>
                <a:cubicBezTo>
                  <a:pt x="190" y="104"/>
                  <a:pt x="190" y="104"/>
                  <a:pt x="190" y="104"/>
                </a:cubicBezTo>
                <a:cubicBezTo>
                  <a:pt x="184" y="104"/>
                  <a:pt x="179" y="109"/>
                  <a:pt x="179" y="116"/>
                </a:cubicBezTo>
                <a:cubicBezTo>
                  <a:pt x="179" y="122"/>
                  <a:pt x="184" y="128"/>
                  <a:pt x="190" y="128"/>
                </a:cubicBezTo>
                <a:cubicBezTo>
                  <a:pt x="208" y="128"/>
                  <a:pt x="208" y="128"/>
                  <a:pt x="208" y="128"/>
                </a:cubicBezTo>
                <a:cubicBezTo>
                  <a:pt x="203" y="169"/>
                  <a:pt x="170" y="202"/>
                  <a:pt x="129" y="208"/>
                </a:cubicBezTo>
                <a:close/>
                <a:moveTo>
                  <a:pt x="124" y="94"/>
                </a:moveTo>
                <a:cubicBezTo>
                  <a:pt x="70" y="69"/>
                  <a:pt x="70" y="69"/>
                  <a:pt x="70" y="69"/>
                </a:cubicBezTo>
                <a:cubicBezTo>
                  <a:pt x="94" y="124"/>
                  <a:pt x="94" y="124"/>
                  <a:pt x="94" y="124"/>
                </a:cubicBezTo>
                <a:cubicBezTo>
                  <a:pt x="97" y="129"/>
                  <a:pt x="103" y="136"/>
                  <a:pt x="109" y="138"/>
                </a:cubicBezTo>
                <a:cubicBezTo>
                  <a:pt x="163" y="163"/>
                  <a:pt x="163" y="163"/>
                  <a:pt x="163" y="163"/>
                </a:cubicBezTo>
                <a:cubicBezTo>
                  <a:pt x="138" y="108"/>
                  <a:pt x="138" y="108"/>
                  <a:pt x="138" y="108"/>
                </a:cubicBezTo>
                <a:cubicBezTo>
                  <a:pt x="136" y="103"/>
                  <a:pt x="130" y="96"/>
                  <a:pt x="124" y="94"/>
                </a:cubicBezTo>
                <a:close/>
                <a:moveTo>
                  <a:pt x="123" y="123"/>
                </a:moveTo>
                <a:cubicBezTo>
                  <a:pt x="119" y="126"/>
                  <a:pt x="113" y="126"/>
                  <a:pt x="110" y="123"/>
                </a:cubicBezTo>
                <a:cubicBezTo>
                  <a:pt x="106" y="119"/>
                  <a:pt x="106" y="113"/>
                  <a:pt x="110" y="109"/>
                </a:cubicBezTo>
                <a:cubicBezTo>
                  <a:pt x="113" y="106"/>
                  <a:pt x="119" y="106"/>
                  <a:pt x="123" y="109"/>
                </a:cubicBezTo>
                <a:cubicBezTo>
                  <a:pt x="127" y="113"/>
                  <a:pt x="127" y="119"/>
                  <a:pt x="123" y="123"/>
                </a:cubicBezTo>
                <a:close/>
              </a:path>
            </a:pathLst>
          </a:custGeom>
          <a:solidFill>
            <a:schemeClr val="bg1"/>
          </a:solidFill>
          <a:ln>
            <a:noFill/>
          </a:ln>
        </p:spPr>
        <p:txBody>
          <a:bodyPr wrap="square" lIns="91440" tIns="45720" rIns="91440" bIns="45720" anchor="ctr">
            <a:noAutofit/>
          </a:bodyPr>
          <a:lstStyle/>
          <a:p>
            <a:pPr algn="ctr"/>
            <a:endParaRPr/>
          </a:p>
        </p:txBody>
      </p:sp>
      <p:sp>
        <p:nvSpPr>
          <p:cNvPr id="87" name="iṩḷiḑê"/>
          <p:cNvSpPr/>
          <p:nvPr/>
        </p:nvSpPr>
        <p:spPr>
          <a:xfrm>
            <a:off x="9573997" y="1594727"/>
            <a:ext cx="973358" cy="469360"/>
          </a:xfrm>
          <a:prstGeom prst="rect">
            <a:avLst/>
          </a:prstGeom>
        </p:spPr>
        <p:txBody>
          <a:bodyPr wrap="none">
            <a:prstTxWarp prst="textPlain">
              <a:avLst/>
            </a:prstTxWarp>
            <a:normAutofit fontScale="85000" lnSpcReduction="20000"/>
          </a:bodyPr>
          <a:lstStyle/>
          <a:p>
            <a:pPr algn="ctr"/>
            <a:r>
              <a:rPr lang="en-US" altLang="zh-CN" b="1" dirty="0">
                <a:solidFill>
                  <a:schemeClr val="accent4"/>
                </a:solidFill>
              </a:rPr>
              <a:t>General </a:t>
            </a:r>
          </a:p>
          <a:p>
            <a:pPr algn="ctr"/>
            <a:r>
              <a:rPr lang="en-US" altLang="zh-CN" b="1" dirty="0">
                <a:solidFill>
                  <a:schemeClr val="accent4"/>
                </a:solidFill>
              </a:rPr>
              <a:t>Scholar</a:t>
            </a:r>
          </a:p>
        </p:txBody>
      </p:sp>
      <p:sp>
        <p:nvSpPr>
          <p:cNvPr id="94" name="îṥḷíḋè"/>
          <p:cNvSpPr/>
          <p:nvPr/>
        </p:nvSpPr>
        <p:spPr bwMode="auto">
          <a:xfrm>
            <a:off x="1134067" y="5043428"/>
            <a:ext cx="1329733" cy="496464"/>
          </a:xfrm>
          <a:prstGeom prst="rect">
            <a:avLst/>
          </a:prstGeom>
          <a:solidFill>
            <a:srgbClr val="5BA6CE"/>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600" b="1" dirty="0">
                <a:solidFill>
                  <a:schemeClr val="bg1"/>
                </a:solidFill>
              </a:rPr>
              <a:t>SHS Type A</a:t>
            </a:r>
          </a:p>
        </p:txBody>
      </p:sp>
      <p:cxnSp>
        <p:nvCxnSpPr>
          <p:cNvPr id="95" name="直接连接符 94"/>
          <p:cNvCxnSpPr/>
          <p:nvPr/>
        </p:nvCxnSpPr>
        <p:spPr>
          <a:xfrm>
            <a:off x="1320795" y="5016482"/>
            <a:ext cx="10802938"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00" name="îṥḷíḋè"/>
          <p:cNvSpPr/>
          <p:nvPr/>
        </p:nvSpPr>
        <p:spPr bwMode="auto">
          <a:xfrm>
            <a:off x="1134067" y="5599522"/>
            <a:ext cx="1329733" cy="461850"/>
          </a:xfrm>
          <a:prstGeom prst="rect">
            <a:avLst/>
          </a:prstGeom>
          <a:solidFill>
            <a:srgbClr val="5BA6CE"/>
          </a:solidFill>
          <a:ln w="38100">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CN" sz="1600" b="1" dirty="0">
                <a:solidFill>
                  <a:schemeClr val="bg1"/>
                </a:solidFill>
              </a:rPr>
              <a:t>SHS Type B</a:t>
            </a:r>
          </a:p>
        </p:txBody>
      </p:sp>
      <p:cxnSp>
        <p:nvCxnSpPr>
          <p:cNvPr id="101" name="直接连接符 100"/>
          <p:cNvCxnSpPr/>
          <p:nvPr/>
        </p:nvCxnSpPr>
        <p:spPr>
          <a:xfrm>
            <a:off x="1320795" y="5547176"/>
            <a:ext cx="10802938"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pic>
        <p:nvPicPr>
          <p:cNvPr id="107" name="图形 106" descr="复选标记"/>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3371697" y="2987293"/>
            <a:ext cx="412898" cy="360641"/>
          </a:xfrm>
          <a:prstGeom prst="rect">
            <a:avLst/>
          </a:prstGeom>
        </p:spPr>
      </p:pic>
      <p:pic>
        <p:nvPicPr>
          <p:cNvPr id="108" name="图形 107" descr="复选标记"/>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3347418" y="4599713"/>
            <a:ext cx="412898" cy="360641"/>
          </a:xfrm>
          <a:prstGeom prst="rect">
            <a:avLst/>
          </a:prstGeom>
        </p:spPr>
      </p:pic>
      <p:sp>
        <p:nvSpPr>
          <p:cNvPr id="109" name="文本框 108"/>
          <p:cNvSpPr txBox="1"/>
          <p:nvPr/>
        </p:nvSpPr>
        <p:spPr>
          <a:xfrm>
            <a:off x="1004847" y="202506"/>
            <a:ext cx="8892064" cy="583565"/>
          </a:xfrm>
          <a:prstGeom prst="rect">
            <a:avLst/>
          </a:prstGeom>
          <a:noFill/>
        </p:spPr>
        <p:txBody>
          <a:bodyPr wrap="square" rtlCol="0">
            <a:spAutoFit/>
          </a:bodyPr>
          <a:lstStyle/>
          <a:p>
            <a:pPr lvl="0">
              <a:defRPr/>
            </a:pPr>
            <a:r>
              <a:rPr lang="en-US" sz="3200" b="1" kern="0" spc="400" dirty="0">
                <a:solidFill>
                  <a:srgbClr val="002060"/>
                </a:solidFill>
                <a:latin typeface="Arial" panose="020B0604020202020204" pitchFamily="34" charset="0"/>
                <a:ea typeface="微软雅黑" panose="020B0503020204020204" pitchFamily="34" charset="-122"/>
                <a:cs typeface="Arial" panose="020B0604020202020204" pitchFamily="34" charset="0"/>
              </a:rPr>
              <a:t> SUPPORTING CATEGORIES</a:t>
            </a:r>
            <a:endParaRPr lang="en-US" altLang="zh-CN" sz="2400" kern="0" spc="400" dirty="0">
              <a:solidFill>
                <a:srgbClr val="0A7BB6"/>
              </a:solidFill>
              <a:latin typeface="微软雅黑" panose="020B0503020204020204" pitchFamily="34" charset="-122"/>
              <a:ea typeface="微软雅黑" panose="020B0503020204020204" pitchFamily="34" charset="-122"/>
            </a:endParaRPr>
          </a:p>
        </p:txBody>
      </p:sp>
      <p:pic>
        <p:nvPicPr>
          <p:cNvPr id="110" name="图形 109"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5514487" y="2987292"/>
            <a:ext cx="412898" cy="360641"/>
          </a:xfrm>
          <a:prstGeom prst="rect">
            <a:avLst/>
          </a:prstGeom>
        </p:spPr>
      </p:pic>
      <p:pic>
        <p:nvPicPr>
          <p:cNvPr id="116" name="图形 115"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5502540" y="3547170"/>
            <a:ext cx="412898" cy="360641"/>
          </a:xfrm>
          <a:prstGeom prst="rect">
            <a:avLst/>
          </a:prstGeom>
        </p:spPr>
      </p:pic>
      <p:pic>
        <p:nvPicPr>
          <p:cNvPr id="117" name="图形 116"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5490593" y="4107048"/>
            <a:ext cx="412898" cy="360641"/>
          </a:xfrm>
          <a:prstGeom prst="rect">
            <a:avLst/>
          </a:prstGeom>
        </p:spPr>
      </p:pic>
      <p:pic>
        <p:nvPicPr>
          <p:cNvPr id="118" name="图形 117"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5478646" y="4666926"/>
            <a:ext cx="412898" cy="360641"/>
          </a:xfrm>
          <a:prstGeom prst="rect">
            <a:avLst/>
          </a:prstGeom>
        </p:spPr>
      </p:pic>
      <p:pic>
        <p:nvPicPr>
          <p:cNvPr id="119" name="图形 118"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5487965" y="5201404"/>
            <a:ext cx="412898" cy="360641"/>
          </a:xfrm>
          <a:prstGeom prst="rect">
            <a:avLst/>
          </a:prstGeom>
        </p:spPr>
      </p:pic>
      <p:pic>
        <p:nvPicPr>
          <p:cNvPr id="120" name="图形 119" descr="复选标记"/>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5486651" y="5761282"/>
            <a:ext cx="412898" cy="360641"/>
          </a:xfrm>
          <a:prstGeom prst="rect">
            <a:avLst/>
          </a:prstGeom>
        </p:spPr>
      </p:pic>
      <p:pic>
        <p:nvPicPr>
          <p:cNvPr id="121" name="图形 120" descr="复选标记"/>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7710119" y="2953323"/>
            <a:ext cx="412898" cy="360641"/>
          </a:xfrm>
          <a:prstGeom prst="rect">
            <a:avLst/>
          </a:prstGeom>
        </p:spPr>
      </p:pic>
      <p:pic>
        <p:nvPicPr>
          <p:cNvPr id="122" name="图形 121" descr="复选标记"/>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7698172" y="3513201"/>
            <a:ext cx="412898" cy="360641"/>
          </a:xfrm>
          <a:prstGeom prst="rect">
            <a:avLst/>
          </a:prstGeom>
        </p:spPr>
      </p:pic>
      <p:pic>
        <p:nvPicPr>
          <p:cNvPr id="123" name="图形 122" descr="复选标记"/>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7686225" y="4073079"/>
            <a:ext cx="412898" cy="360641"/>
          </a:xfrm>
          <a:prstGeom prst="rect">
            <a:avLst/>
          </a:prstGeom>
        </p:spPr>
      </p:pic>
      <p:pic>
        <p:nvPicPr>
          <p:cNvPr id="124" name="图形 123" descr="复选标记"/>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7674278" y="4632957"/>
            <a:ext cx="412898" cy="360641"/>
          </a:xfrm>
          <a:prstGeom prst="rect">
            <a:avLst/>
          </a:prstGeom>
        </p:spPr>
      </p:pic>
      <p:pic>
        <p:nvPicPr>
          <p:cNvPr id="125" name="图形 124" descr="复选标记"/>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7672964" y="5167435"/>
            <a:ext cx="412898" cy="360641"/>
          </a:xfrm>
          <a:prstGeom prst="rect">
            <a:avLst/>
          </a:prstGeom>
        </p:spPr>
      </p:pic>
      <p:pic>
        <p:nvPicPr>
          <p:cNvPr id="126" name="图形 125" descr="复选标记"/>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7682283" y="5727313"/>
            <a:ext cx="412898" cy="360641"/>
          </a:xfrm>
          <a:prstGeom prst="rect">
            <a:avLst/>
          </a:prstGeom>
        </p:spPr>
      </p:pic>
      <p:pic>
        <p:nvPicPr>
          <p:cNvPr id="127" name="图形 126" descr="复选标记"/>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9892945" y="2939788"/>
            <a:ext cx="412898" cy="360641"/>
          </a:xfrm>
          <a:prstGeom prst="rect">
            <a:avLst/>
          </a:prstGeom>
        </p:spPr>
      </p:pic>
    </p:spTree>
    <p:custDataLst>
      <p:tags r:id="rId1"/>
    </p:custDataLst>
  </p:cSld>
  <p:clrMapOvr>
    <a:masterClrMapping/>
  </p:clrMapOvr>
  <p:transition spd="slow">
    <p:push/>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íŝļïḓê"/>
          <p:cNvSpPr/>
          <p:nvPr/>
        </p:nvSpPr>
        <p:spPr>
          <a:xfrm>
            <a:off x="3463788" y="3634933"/>
            <a:ext cx="1032919" cy="1094400"/>
          </a:xfrm>
          <a:prstGeom prst="ellipse">
            <a:avLst/>
          </a:prstGeom>
          <a:noFill/>
          <a:ln w="34925">
            <a:solidFill>
              <a:srgbClr val="9DC3E6"/>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dirty="0"/>
          </a:p>
        </p:txBody>
      </p:sp>
      <p:sp>
        <p:nvSpPr>
          <p:cNvPr id="56" name="矩形 55"/>
          <p:cNvSpPr/>
          <p:nvPr/>
        </p:nvSpPr>
        <p:spPr>
          <a:xfrm>
            <a:off x="5390117" y="1834851"/>
            <a:ext cx="1903818" cy="749174"/>
          </a:xfrm>
          <a:prstGeom prst="rect">
            <a:avLst/>
          </a:prstGeom>
          <a:solidFill>
            <a:srgbClr val="5BA6CE">
              <a:alpha val="1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1402C8"/>
              </a:solidFill>
              <a:latin typeface="Arial Black" panose="020B0A04020102020204" pitchFamily="34" charset="0"/>
              <a:cs typeface="Arial" panose="020B0604020202020204" pitchFamily="34" charset="0"/>
            </a:endParaRPr>
          </a:p>
        </p:txBody>
      </p:sp>
      <p:sp>
        <p:nvSpPr>
          <p:cNvPr id="5" name="íS1ïdê"/>
          <p:cNvSpPr/>
          <p:nvPr/>
        </p:nvSpPr>
        <p:spPr bwMode="auto">
          <a:xfrm>
            <a:off x="0" y="2784222"/>
            <a:ext cx="12192000" cy="3529060"/>
          </a:xfrm>
          <a:custGeom>
            <a:avLst/>
            <a:gdLst>
              <a:gd name="T0" fmla="*/ 6336 w 6336"/>
              <a:gd name="T1" fmla="*/ 0 h 1834"/>
              <a:gd name="T2" fmla="*/ 3168 w 6336"/>
              <a:gd name="T3" fmla="*/ 1763 h 1834"/>
              <a:gd name="T4" fmla="*/ 0 w 6336"/>
              <a:gd name="T5" fmla="*/ 0 h 1834"/>
              <a:gd name="T6" fmla="*/ 0 w 6336"/>
              <a:gd name="T7" fmla="*/ 70 h 1834"/>
              <a:gd name="T8" fmla="*/ 3168 w 6336"/>
              <a:gd name="T9" fmla="*/ 1834 h 1834"/>
              <a:gd name="T10" fmla="*/ 6336 w 6336"/>
              <a:gd name="T11" fmla="*/ 70 h 1834"/>
              <a:gd name="T12" fmla="*/ 6336 w 6336"/>
              <a:gd name="T13" fmla="*/ 0 h 1834"/>
            </a:gdLst>
            <a:ahLst/>
            <a:cxnLst>
              <a:cxn ang="0">
                <a:pos x="T0" y="T1"/>
              </a:cxn>
              <a:cxn ang="0">
                <a:pos x="T2" y="T3"/>
              </a:cxn>
              <a:cxn ang="0">
                <a:pos x="T4" y="T5"/>
              </a:cxn>
              <a:cxn ang="0">
                <a:pos x="T6" y="T7"/>
              </a:cxn>
              <a:cxn ang="0">
                <a:pos x="T8" y="T9"/>
              </a:cxn>
              <a:cxn ang="0">
                <a:pos x="T10" y="T11"/>
              </a:cxn>
              <a:cxn ang="0">
                <a:pos x="T12" y="T13"/>
              </a:cxn>
            </a:cxnLst>
            <a:rect l="0" t="0" r="r" b="b"/>
            <a:pathLst>
              <a:path w="6336" h="1834">
                <a:moveTo>
                  <a:pt x="6336" y="0"/>
                </a:moveTo>
                <a:lnTo>
                  <a:pt x="3168" y="1763"/>
                </a:lnTo>
                <a:lnTo>
                  <a:pt x="0" y="0"/>
                </a:lnTo>
                <a:lnTo>
                  <a:pt x="0" y="70"/>
                </a:lnTo>
                <a:lnTo>
                  <a:pt x="3168" y="1834"/>
                </a:lnTo>
                <a:lnTo>
                  <a:pt x="6336" y="70"/>
                </a:lnTo>
                <a:lnTo>
                  <a:pt x="63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endParaRPr/>
          </a:p>
        </p:txBody>
      </p:sp>
      <p:sp>
        <p:nvSpPr>
          <p:cNvPr id="6" name="íṧḷiďe"/>
          <p:cNvSpPr/>
          <p:nvPr/>
        </p:nvSpPr>
        <p:spPr bwMode="auto">
          <a:xfrm>
            <a:off x="0" y="2320479"/>
            <a:ext cx="12192000" cy="3530984"/>
          </a:xfrm>
          <a:custGeom>
            <a:avLst/>
            <a:gdLst>
              <a:gd name="T0" fmla="*/ 6336 w 6336"/>
              <a:gd name="T1" fmla="*/ 0 h 1835"/>
              <a:gd name="T2" fmla="*/ 3168 w 6336"/>
              <a:gd name="T3" fmla="*/ 1764 h 1835"/>
              <a:gd name="T4" fmla="*/ 0 w 6336"/>
              <a:gd name="T5" fmla="*/ 0 h 1835"/>
              <a:gd name="T6" fmla="*/ 0 w 6336"/>
              <a:gd name="T7" fmla="*/ 71 h 1835"/>
              <a:gd name="T8" fmla="*/ 3168 w 6336"/>
              <a:gd name="T9" fmla="*/ 1835 h 1835"/>
              <a:gd name="T10" fmla="*/ 6336 w 6336"/>
              <a:gd name="T11" fmla="*/ 71 h 1835"/>
              <a:gd name="T12" fmla="*/ 6336 w 6336"/>
              <a:gd name="T13" fmla="*/ 0 h 1835"/>
            </a:gdLst>
            <a:ahLst/>
            <a:cxnLst>
              <a:cxn ang="0">
                <a:pos x="T0" y="T1"/>
              </a:cxn>
              <a:cxn ang="0">
                <a:pos x="T2" y="T3"/>
              </a:cxn>
              <a:cxn ang="0">
                <a:pos x="T4" y="T5"/>
              </a:cxn>
              <a:cxn ang="0">
                <a:pos x="T6" y="T7"/>
              </a:cxn>
              <a:cxn ang="0">
                <a:pos x="T8" y="T9"/>
              </a:cxn>
              <a:cxn ang="0">
                <a:pos x="T10" y="T11"/>
              </a:cxn>
              <a:cxn ang="0">
                <a:pos x="T12" y="T13"/>
              </a:cxn>
            </a:cxnLst>
            <a:rect l="0" t="0" r="r" b="b"/>
            <a:pathLst>
              <a:path w="6336" h="1835">
                <a:moveTo>
                  <a:pt x="6336" y="0"/>
                </a:moveTo>
                <a:lnTo>
                  <a:pt x="3168" y="1764"/>
                </a:lnTo>
                <a:lnTo>
                  <a:pt x="0" y="0"/>
                </a:lnTo>
                <a:lnTo>
                  <a:pt x="0" y="71"/>
                </a:lnTo>
                <a:lnTo>
                  <a:pt x="3168" y="1835"/>
                </a:lnTo>
                <a:lnTo>
                  <a:pt x="6336" y="71"/>
                </a:lnTo>
                <a:lnTo>
                  <a:pt x="63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endParaRPr/>
          </a:p>
        </p:txBody>
      </p:sp>
      <p:grpSp>
        <p:nvGrpSpPr>
          <p:cNvPr id="7" name="íṧľîḓé"/>
          <p:cNvGrpSpPr/>
          <p:nvPr/>
        </p:nvGrpSpPr>
        <p:grpSpPr>
          <a:xfrm>
            <a:off x="0" y="2320479"/>
            <a:ext cx="12192000" cy="3992802"/>
            <a:chOff x="-106344" y="1859097"/>
            <a:chExt cx="12416212" cy="4066231"/>
          </a:xfrm>
        </p:grpSpPr>
        <p:sp>
          <p:nvSpPr>
            <p:cNvPr id="49" name="ïŝḷiḋè"/>
            <p:cNvSpPr/>
            <p:nvPr/>
          </p:nvSpPr>
          <p:spPr bwMode="auto">
            <a:xfrm>
              <a:off x="-106344" y="2331368"/>
              <a:ext cx="12416212" cy="3593960"/>
            </a:xfrm>
            <a:custGeom>
              <a:avLst/>
              <a:gdLst>
                <a:gd name="T0" fmla="*/ 6336 w 6336"/>
                <a:gd name="T1" fmla="*/ 0 h 1834"/>
                <a:gd name="T2" fmla="*/ 3168 w 6336"/>
                <a:gd name="T3" fmla="*/ 1763 h 1834"/>
                <a:gd name="T4" fmla="*/ 0 w 6336"/>
                <a:gd name="T5" fmla="*/ 0 h 1834"/>
                <a:gd name="T6" fmla="*/ 0 w 6336"/>
                <a:gd name="T7" fmla="*/ 70 h 1834"/>
                <a:gd name="T8" fmla="*/ 3168 w 6336"/>
                <a:gd name="T9" fmla="*/ 1834 h 1834"/>
                <a:gd name="T10" fmla="*/ 6336 w 6336"/>
                <a:gd name="T11" fmla="*/ 70 h 1834"/>
                <a:gd name="T12" fmla="*/ 6336 w 6336"/>
                <a:gd name="T13" fmla="*/ 0 h 1834"/>
              </a:gdLst>
              <a:ahLst/>
              <a:cxnLst>
                <a:cxn ang="0">
                  <a:pos x="T0" y="T1"/>
                </a:cxn>
                <a:cxn ang="0">
                  <a:pos x="T2" y="T3"/>
                </a:cxn>
                <a:cxn ang="0">
                  <a:pos x="T4" y="T5"/>
                </a:cxn>
                <a:cxn ang="0">
                  <a:pos x="T6" y="T7"/>
                </a:cxn>
                <a:cxn ang="0">
                  <a:pos x="T8" y="T9"/>
                </a:cxn>
                <a:cxn ang="0">
                  <a:pos x="T10" y="T11"/>
                </a:cxn>
                <a:cxn ang="0">
                  <a:pos x="T12" y="T13"/>
                </a:cxn>
              </a:cxnLst>
              <a:rect l="0" t="0" r="r" b="b"/>
              <a:pathLst>
                <a:path w="6336" h="1834">
                  <a:moveTo>
                    <a:pt x="6336" y="0"/>
                  </a:moveTo>
                  <a:lnTo>
                    <a:pt x="3168" y="1763"/>
                  </a:lnTo>
                  <a:lnTo>
                    <a:pt x="0" y="0"/>
                  </a:lnTo>
                  <a:lnTo>
                    <a:pt x="0" y="70"/>
                  </a:lnTo>
                  <a:lnTo>
                    <a:pt x="3168" y="1834"/>
                  </a:lnTo>
                  <a:lnTo>
                    <a:pt x="6336" y="70"/>
                  </a:lnTo>
                  <a:lnTo>
                    <a:pt x="6336" y="0"/>
                  </a:lnTo>
                  <a:close/>
                </a:path>
              </a:pathLst>
            </a:custGeom>
            <a:solidFill>
              <a:srgbClr val="ECECEC"/>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endParaRPr/>
            </a:p>
          </p:txBody>
        </p:sp>
        <p:sp>
          <p:nvSpPr>
            <p:cNvPr id="50" name="ïS1íḑe"/>
            <p:cNvSpPr/>
            <p:nvPr/>
          </p:nvSpPr>
          <p:spPr bwMode="auto">
            <a:xfrm>
              <a:off x="-106344" y="1859097"/>
              <a:ext cx="12416212" cy="3595920"/>
            </a:xfrm>
            <a:custGeom>
              <a:avLst/>
              <a:gdLst>
                <a:gd name="T0" fmla="*/ 6336 w 6336"/>
                <a:gd name="T1" fmla="*/ 0 h 1835"/>
                <a:gd name="T2" fmla="*/ 3168 w 6336"/>
                <a:gd name="T3" fmla="*/ 1764 h 1835"/>
                <a:gd name="T4" fmla="*/ 0 w 6336"/>
                <a:gd name="T5" fmla="*/ 0 h 1835"/>
                <a:gd name="T6" fmla="*/ 0 w 6336"/>
                <a:gd name="T7" fmla="*/ 71 h 1835"/>
                <a:gd name="T8" fmla="*/ 3168 w 6336"/>
                <a:gd name="T9" fmla="*/ 1835 h 1835"/>
                <a:gd name="T10" fmla="*/ 6336 w 6336"/>
                <a:gd name="T11" fmla="*/ 71 h 1835"/>
                <a:gd name="T12" fmla="*/ 6336 w 6336"/>
                <a:gd name="T13" fmla="*/ 0 h 1835"/>
              </a:gdLst>
              <a:ahLst/>
              <a:cxnLst>
                <a:cxn ang="0">
                  <a:pos x="T0" y="T1"/>
                </a:cxn>
                <a:cxn ang="0">
                  <a:pos x="T2" y="T3"/>
                </a:cxn>
                <a:cxn ang="0">
                  <a:pos x="T4" y="T5"/>
                </a:cxn>
                <a:cxn ang="0">
                  <a:pos x="T6" y="T7"/>
                </a:cxn>
                <a:cxn ang="0">
                  <a:pos x="T8" y="T9"/>
                </a:cxn>
                <a:cxn ang="0">
                  <a:pos x="T10" y="T11"/>
                </a:cxn>
                <a:cxn ang="0">
                  <a:pos x="T12" y="T13"/>
                </a:cxn>
              </a:cxnLst>
              <a:rect l="0" t="0" r="r" b="b"/>
              <a:pathLst>
                <a:path w="6336" h="1835">
                  <a:moveTo>
                    <a:pt x="6336" y="0"/>
                  </a:moveTo>
                  <a:lnTo>
                    <a:pt x="3168" y="1764"/>
                  </a:lnTo>
                  <a:lnTo>
                    <a:pt x="0" y="0"/>
                  </a:lnTo>
                  <a:lnTo>
                    <a:pt x="0" y="71"/>
                  </a:lnTo>
                  <a:lnTo>
                    <a:pt x="3168" y="1835"/>
                  </a:lnTo>
                  <a:lnTo>
                    <a:pt x="6336" y="71"/>
                  </a:lnTo>
                  <a:lnTo>
                    <a:pt x="6336" y="0"/>
                  </a:lnTo>
                  <a:close/>
                </a:path>
              </a:pathLst>
            </a:custGeom>
            <a:solidFill>
              <a:srgbClr val="F4F4F7"/>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endParaRPr/>
            </a:p>
          </p:txBody>
        </p:sp>
        <p:sp>
          <p:nvSpPr>
            <p:cNvPr id="51" name="išḷiḑe"/>
            <p:cNvSpPr/>
            <p:nvPr/>
          </p:nvSpPr>
          <p:spPr bwMode="auto">
            <a:xfrm>
              <a:off x="-106344" y="2098172"/>
              <a:ext cx="12416212" cy="3590041"/>
            </a:xfrm>
            <a:custGeom>
              <a:avLst/>
              <a:gdLst>
                <a:gd name="T0" fmla="*/ 6336 w 6336"/>
                <a:gd name="T1" fmla="*/ 0 h 1832"/>
                <a:gd name="T2" fmla="*/ 3168 w 6336"/>
                <a:gd name="T3" fmla="*/ 1761 h 1832"/>
                <a:gd name="T4" fmla="*/ 0 w 6336"/>
                <a:gd name="T5" fmla="*/ 0 h 1832"/>
                <a:gd name="T6" fmla="*/ 0 w 6336"/>
                <a:gd name="T7" fmla="*/ 70 h 1832"/>
                <a:gd name="T8" fmla="*/ 3168 w 6336"/>
                <a:gd name="T9" fmla="*/ 1832 h 1832"/>
                <a:gd name="T10" fmla="*/ 6336 w 6336"/>
                <a:gd name="T11" fmla="*/ 70 h 1832"/>
                <a:gd name="T12" fmla="*/ 6336 w 6336"/>
                <a:gd name="T13" fmla="*/ 0 h 1832"/>
              </a:gdLst>
              <a:ahLst/>
              <a:cxnLst>
                <a:cxn ang="0">
                  <a:pos x="T0" y="T1"/>
                </a:cxn>
                <a:cxn ang="0">
                  <a:pos x="T2" y="T3"/>
                </a:cxn>
                <a:cxn ang="0">
                  <a:pos x="T4" y="T5"/>
                </a:cxn>
                <a:cxn ang="0">
                  <a:pos x="T6" y="T7"/>
                </a:cxn>
                <a:cxn ang="0">
                  <a:pos x="T8" y="T9"/>
                </a:cxn>
                <a:cxn ang="0">
                  <a:pos x="T10" y="T11"/>
                </a:cxn>
                <a:cxn ang="0">
                  <a:pos x="T12" y="T13"/>
                </a:cxn>
              </a:cxnLst>
              <a:rect l="0" t="0" r="r" b="b"/>
              <a:pathLst>
                <a:path w="6336" h="1832">
                  <a:moveTo>
                    <a:pt x="6336" y="0"/>
                  </a:moveTo>
                  <a:lnTo>
                    <a:pt x="3168" y="1761"/>
                  </a:lnTo>
                  <a:lnTo>
                    <a:pt x="0" y="0"/>
                  </a:lnTo>
                  <a:lnTo>
                    <a:pt x="0" y="70"/>
                  </a:lnTo>
                  <a:lnTo>
                    <a:pt x="3168" y="1832"/>
                  </a:lnTo>
                  <a:lnTo>
                    <a:pt x="6336" y="70"/>
                  </a:lnTo>
                  <a:lnTo>
                    <a:pt x="6336" y="0"/>
                  </a:lnTo>
                  <a:close/>
                </a:path>
              </a:pathLst>
            </a:custGeom>
            <a:solidFill>
              <a:srgbClr val="C5C5C5"/>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endParaRPr/>
            </a:p>
          </p:txBody>
        </p:sp>
      </p:grpSp>
      <p:sp>
        <p:nvSpPr>
          <p:cNvPr id="8" name="ïṥļîḍè"/>
          <p:cNvSpPr/>
          <p:nvPr/>
        </p:nvSpPr>
        <p:spPr bwMode="auto">
          <a:xfrm>
            <a:off x="0" y="2555237"/>
            <a:ext cx="12192000" cy="3525212"/>
          </a:xfrm>
          <a:custGeom>
            <a:avLst/>
            <a:gdLst>
              <a:gd name="T0" fmla="*/ 6336 w 6336"/>
              <a:gd name="T1" fmla="*/ 0 h 1832"/>
              <a:gd name="T2" fmla="*/ 3168 w 6336"/>
              <a:gd name="T3" fmla="*/ 1761 h 1832"/>
              <a:gd name="T4" fmla="*/ 0 w 6336"/>
              <a:gd name="T5" fmla="*/ 0 h 1832"/>
              <a:gd name="T6" fmla="*/ 0 w 6336"/>
              <a:gd name="T7" fmla="*/ 70 h 1832"/>
              <a:gd name="T8" fmla="*/ 3168 w 6336"/>
              <a:gd name="T9" fmla="*/ 1832 h 1832"/>
              <a:gd name="T10" fmla="*/ 6336 w 6336"/>
              <a:gd name="T11" fmla="*/ 70 h 1832"/>
              <a:gd name="T12" fmla="*/ 6336 w 6336"/>
              <a:gd name="T13" fmla="*/ 0 h 1832"/>
            </a:gdLst>
            <a:ahLst/>
            <a:cxnLst>
              <a:cxn ang="0">
                <a:pos x="T0" y="T1"/>
              </a:cxn>
              <a:cxn ang="0">
                <a:pos x="T2" y="T3"/>
              </a:cxn>
              <a:cxn ang="0">
                <a:pos x="T4" y="T5"/>
              </a:cxn>
              <a:cxn ang="0">
                <a:pos x="T6" y="T7"/>
              </a:cxn>
              <a:cxn ang="0">
                <a:pos x="T8" y="T9"/>
              </a:cxn>
              <a:cxn ang="0">
                <a:pos x="T10" y="T11"/>
              </a:cxn>
              <a:cxn ang="0">
                <a:pos x="T12" y="T13"/>
              </a:cxn>
            </a:cxnLst>
            <a:rect l="0" t="0" r="r" b="b"/>
            <a:pathLst>
              <a:path w="6336" h="1832">
                <a:moveTo>
                  <a:pt x="6336" y="0"/>
                </a:moveTo>
                <a:lnTo>
                  <a:pt x="3168" y="1761"/>
                </a:lnTo>
                <a:lnTo>
                  <a:pt x="0" y="0"/>
                </a:lnTo>
                <a:lnTo>
                  <a:pt x="0" y="70"/>
                </a:lnTo>
                <a:lnTo>
                  <a:pt x="3168" y="1832"/>
                </a:lnTo>
                <a:lnTo>
                  <a:pt x="6336" y="70"/>
                </a:lnTo>
                <a:lnTo>
                  <a:pt x="63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endParaRPr/>
          </a:p>
        </p:txBody>
      </p:sp>
      <p:grpSp>
        <p:nvGrpSpPr>
          <p:cNvPr id="9" name="íṣ1ïḍe"/>
          <p:cNvGrpSpPr/>
          <p:nvPr/>
        </p:nvGrpSpPr>
        <p:grpSpPr>
          <a:xfrm>
            <a:off x="778357" y="2907373"/>
            <a:ext cx="2053167" cy="1285393"/>
            <a:chOff x="687306" y="2456784"/>
            <a:chExt cx="2090925" cy="1309032"/>
          </a:xfrm>
        </p:grpSpPr>
        <p:sp>
          <p:nvSpPr>
            <p:cNvPr id="47" name="iṡľïḑe"/>
            <p:cNvSpPr/>
            <p:nvPr/>
          </p:nvSpPr>
          <p:spPr bwMode="auto">
            <a:xfrm>
              <a:off x="687306" y="2456784"/>
              <a:ext cx="2090925" cy="1162060"/>
            </a:xfrm>
            <a:custGeom>
              <a:avLst/>
              <a:gdLst>
                <a:gd name="T0" fmla="*/ 468 w 485"/>
                <a:gd name="T1" fmla="*/ 118 h 269"/>
                <a:gd name="T2" fmla="*/ 468 w 485"/>
                <a:gd name="T3" fmla="*/ 151 h 269"/>
                <a:gd name="T4" fmla="*/ 272 w 485"/>
                <a:gd name="T5" fmla="*/ 260 h 269"/>
                <a:gd name="T6" fmla="*/ 213 w 485"/>
                <a:gd name="T7" fmla="*/ 260 h 269"/>
                <a:gd name="T8" fmla="*/ 17 w 485"/>
                <a:gd name="T9" fmla="*/ 151 h 269"/>
                <a:gd name="T10" fmla="*/ 17 w 485"/>
                <a:gd name="T11" fmla="*/ 118 h 269"/>
                <a:gd name="T12" fmla="*/ 213 w 485"/>
                <a:gd name="T13" fmla="*/ 9 h 269"/>
                <a:gd name="T14" fmla="*/ 272 w 485"/>
                <a:gd name="T15" fmla="*/ 9 h 269"/>
                <a:gd name="T16" fmla="*/ 468 w 485"/>
                <a:gd name="T17" fmla="*/ 11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5" h="269">
                  <a:moveTo>
                    <a:pt x="468" y="118"/>
                  </a:moveTo>
                  <a:cubicBezTo>
                    <a:pt x="485" y="127"/>
                    <a:pt x="485" y="142"/>
                    <a:pt x="468" y="151"/>
                  </a:cubicBezTo>
                  <a:cubicBezTo>
                    <a:pt x="272" y="260"/>
                    <a:pt x="272" y="260"/>
                    <a:pt x="272" y="260"/>
                  </a:cubicBezTo>
                  <a:cubicBezTo>
                    <a:pt x="256" y="269"/>
                    <a:pt x="229" y="269"/>
                    <a:pt x="213" y="260"/>
                  </a:cubicBezTo>
                  <a:cubicBezTo>
                    <a:pt x="17" y="151"/>
                    <a:pt x="17" y="151"/>
                    <a:pt x="17" y="151"/>
                  </a:cubicBezTo>
                  <a:cubicBezTo>
                    <a:pt x="0" y="142"/>
                    <a:pt x="0" y="127"/>
                    <a:pt x="17" y="118"/>
                  </a:cubicBezTo>
                  <a:cubicBezTo>
                    <a:pt x="213" y="9"/>
                    <a:pt x="213" y="9"/>
                    <a:pt x="213" y="9"/>
                  </a:cubicBezTo>
                  <a:cubicBezTo>
                    <a:pt x="229" y="0"/>
                    <a:pt x="256" y="0"/>
                    <a:pt x="272" y="9"/>
                  </a:cubicBezTo>
                  <a:lnTo>
                    <a:pt x="468" y="11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endParaRPr/>
            </a:p>
          </p:txBody>
        </p:sp>
        <p:sp>
          <p:nvSpPr>
            <p:cNvPr id="48" name="iŝḷiḑé"/>
            <p:cNvSpPr/>
            <p:nvPr/>
          </p:nvSpPr>
          <p:spPr bwMode="auto">
            <a:xfrm>
              <a:off x="704943" y="3038794"/>
              <a:ext cx="2055651" cy="727022"/>
            </a:xfrm>
            <a:custGeom>
              <a:avLst/>
              <a:gdLst>
                <a:gd name="T0" fmla="*/ 477 w 477"/>
                <a:gd name="T1" fmla="*/ 0 h 168"/>
                <a:gd name="T2" fmla="*/ 464 w 477"/>
                <a:gd name="T3" fmla="*/ 16 h 168"/>
                <a:gd name="T4" fmla="*/ 268 w 477"/>
                <a:gd name="T5" fmla="*/ 125 h 168"/>
                <a:gd name="T6" fmla="*/ 209 w 477"/>
                <a:gd name="T7" fmla="*/ 125 h 168"/>
                <a:gd name="T8" fmla="*/ 13 w 477"/>
                <a:gd name="T9" fmla="*/ 16 h 168"/>
                <a:gd name="T10" fmla="*/ 0 w 477"/>
                <a:gd name="T11" fmla="*/ 0 h 168"/>
                <a:gd name="T12" fmla="*/ 0 w 477"/>
                <a:gd name="T13" fmla="*/ 34 h 168"/>
                <a:gd name="T14" fmla="*/ 13 w 477"/>
                <a:gd name="T15" fmla="*/ 50 h 168"/>
                <a:gd name="T16" fmla="*/ 209 w 477"/>
                <a:gd name="T17" fmla="*/ 159 h 168"/>
                <a:gd name="T18" fmla="*/ 268 w 477"/>
                <a:gd name="T19" fmla="*/ 159 h 168"/>
                <a:gd name="T20" fmla="*/ 464 w 477"/>
                <a:gd name="T21" fmla="*/ 50 h 168"/>
                <a:gd name="T22" fmla="*/ 477 w 477"/>
                <a:gd name="T23" fmla="*/ 34 h 168"/>
                <a:gd name="T24" fmla="*/ 477 w 477"/>
                <a:gd name="T2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7" h="168">
                  <a:moveTo>
                    <a:pt x="477" y="0"/>
                  </a:moveTo>
                  <a:cubicBezTo>
                    <a:pt x="477" y="6"/>
                    <a:pt x="473" y="12"/>
                    <a:pt x="464" y="16"/>
                  </a:cubicBezTo>
                  <a:cubicBezTo>
                    <a:pt x="268" y="125"/>
                    <a:pt x="268" y="125"/>
                    <a:pt x="268" y="125"/>
                  </a:cubicBezTo>
                  <a:cubicBezTo>
                    <a:pt x="252" y="134"/>
                    <a:pt x="225" y="134"/>
                    <a:pt x="209" y="125"/>
                  </a:cubicBezTo>
                  <a:cubicBezTo>
                    <a:pt x="13" y="16"/>
                    <a:pt x="13" y="16"/>
                    <a:pt x="13" y="16"/>
                  </a:cubicBezTo>
                  <a:cubicBezTo>
                    <a:pt x="5" y="12"/>
                    <a:pt x="0" y="6"/>
                    <a:pt x="0" y="0"/>
                  </a:cubicBezTo>
                  <a:cubicBezTo>
                    <a:pt x="0" y="34"/>
                    <a:pt x="0" y="34"/>
                    <a:pt x="0" y="34"/>
                  </a:cubicBezTo>
                  <a:cubicBezTo>
                    <a:pt x="0" y="40"/>
                    <a:pt x="5" y="46"/>
                    <a:pt x="13" y="50"/>
                  </a:cubicBezTo>
                  <a:cubicBezTo>
                    <a:pt x="209" y="159"/>
                    <a:pt x="209" y="159"/>
                    <a:pt x="209" y="159"/>
                  </a:cubicBezTo>
                  <a:cubicBezTo>
                    <a:pt x="225" y="168"/>
                    <a:pt x="252" y="168"/>
                    <a:pt x="268" y="159"/>
                  </a:cubicBezTo>
                  <a:cubicBezTo>
                    <a:pt x="464" y="50"/>
                    <a:pt x="464" y="50"/>
                    <a:pt x="464" y="50"/>
                  </a:cubicBezTo>
                  <a:cubicBezTo>
                    <a:pt x="473" y="46"/>
                    <a:pt x="477" y="40"/>
                    <a:pt x="477" y="34"/>
                  </a:cubicBezTo>
                  <a:lnTo>
                    <a:pt x="477" y="0"/>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endParaRPr/>
            </a:p>
          </p:txBody>
        </p:sp>
      </p:grpSp>
      <p:grpSp>
        <p:nvGrpSpPr>
          <p:cNvPr id="10" name="îşḷíḍè"/>
          <p:cNvGrpSpPr/>
          <p:nvPr/>
        </p:nvGrpSpPr>
        <p:grpSpPr>
          <a:xfrm>
            <a:off x="2924849" y="4090782"/>
            <a:ext cx="2049318" cy="1285394"/>
            <a:chOff x="2872293" y="3661956"/>
            <a:chExt cx="2087005" cy="1309033"/>
          </a:xfrm>
        </p:grpSpPr>
        <p:sp>
          <p:nvSpPr>
            <p:cNvPr id="45" name="ïš1íḍè"/>
            <p:cNvSpPr/>
            <p:nvPr/>
          </p:nvSpPr>
          <p:spPr bwMode="auto">
            <a:xfrm>
              <a:off x="2872293" y="3661956"/>
              <a:ext cx="2087005" cy="1162060"/>
            </a:xfrm>
            <a:custGeom>
              <a:avLst/>
              <a:gdLst>
                <a:gd name="T0" fmla="*/ 468 w 484"/>
                <a:gd name="T1" fmla="*/ 118 h 269"/>
                <a:gd name="T2" fmla="*/ 468 w 484"/>
                <a:gd name="T3" fmla="*/ 151 h 269"/>
                <a:gd name="T4" fmla="*/ 272 w 484"/>
                <a:gd name="T5" fmla="*/ 260 h 269"/>
                <a:gd name="T6" fmla="*/ 212 w 484"/>
                <a:gd name="T7" fmla="*/ 260 h 269"/>
                <a:gd name="T8" fmla="*/ 16 w 484"/>
                <a:gd name="T9" fmla="*/ 151 h 269"/>
                <a:gd name="T10" fmla="*/ 16 w 484"/>
                <a:gd name="T11" fmla="*/ 118 h 269"/>
                <a:gd name="T12" fmla="*/ 212 w 484"/>
                <a:gd name="T13" fmla="*/ 9 h 269"/>
                <a:gd name="T14" fmla="*/ 272 w 484"/>
                <a:gd name="T15" fmla="*/ 9 h 269"/>
                <a:gd name="T16" fmla="*/ 468 w 484"/>
                <a:gd name="T17" fmla="*/ 11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4" h="269">
                  <a:moveTo>
                    <a:pt x="468" y="118"/>
                  </a:moveTo>
                  <a:cubicBezTo>
                    <a:pt x="484" y="127"/>
                    <a:pt x="484" y="142"/>
                    <a:pt x="468" y="151"/>
                  </a:cubicBezTo>
                  <a:cubicBezTo>
                    <a:pt x="272" y="260"/>
                    <a:pt x="272" y="260"/>
                    <a:pt x="272" y="260"/>
                  </a:cubicBezTo>
                  <a:cubicBezTo>
                    <a:pt x="256" y="269"/>
                    <a:pt x="229" y="269"/>
                    <a:pt x="212" y="260"/>
                  </a:cubicBezTo>
                  <a:cubicBezTo>
                    <a:pt x="16" y="151"/>
                    <a:pt x="16" y="151"/>
                    <a:pt x="16" y="151"/>
                  </a:cubicBezTo>
                  <a:cubicBezTo>
                    <a:pt x="0" y="142"/>
                    <a:pt x="0" y="127"/>
                    <a:pt x="16" y="118"/>
                  </a:cubicBezTo>
                  <a:cubicBezTo>
                    <a:pt x="212" y="9"/>
                    <a:pt x="212" y="9"/>
                    <a:pt x="212" y="9"/>
                  </a:cubicBezTo>
                  <a:cubicBezTo>
                    <a:pt x="229" y="0"/>
                    <a:pt x="256" y="0"/>
                    <a:pt x="272" y="9"/>
                  </a:cubicBezTo>
                  <a:lnTo>
                    <a:pt x="468" y="118"/>
                  </a:lnTo>
                  <a:close/>
                </a:path>
              </a:pathLst>
            </a:custGeom>
            <a:solidFill>
              <a:schemeClr val="accent5">
                <a:lumMod val="60000"/>
                <a:lumOff val="40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endParaRPr/>
            </a:p>
          </p:txBody>
        </p:sp>
        <p:sp>
          <p:nvSpPr>
            <p:cNvPr id="46" name="ïSļïḑe"/>
            <p:cNvSpPr/>
            <p:nvPr/>
          </p:nvSpPr>
          <p:spPr bwMode="auto">
            <a:xfrm>
              <a:off x="2889929" y="4240047"/>
              <a:ext cx="2051732" cy="730942"/>
            </a:xfrm>
            <a:custGeom>
              <a:avLst/>
              <a:gdLst>
                <a:gd name="T0" fmla="*/ 476 w 476"/>
                <a:gd name="T1" fmla="*/ 0 h 169"/>
                <a:gd name="T2" fmla="*/ 464 w 476"/>
                <a:gd name="T3" fmla="*/ 17 h 169"/>
                <a:gd name="T4" fmla="*/ 268 w 476"/>
                <a:gd name="T5" fmla="*/ 126 h 169"/>
                <a:gd name="T6" fmla="*/ 208 w 476"/>
                <a:gd name="T7" fmla="*/ 126 h 169"/>
                <a:gd name="T8" fmla="*/ 12 w 476"/>
                <a:gd name="T9" fmla="*/ 17 h 169"/>
                <a:gd name="T10" fmla="*/ 0 w 476"/>
                <a:gd name="T11" fmla="*/ 0 h 169"/>
                <a:gd name="T12" fmla="*/ 0 w 476"/>
                <a:gd name="T13" fmla="*/ 34 h 169"/>
                <a:gd name="T14" fmla="*/ 12 w 476"/>
                <a:gd name="T15" fmla="*/ 51 h 169"/>
                <a:gd name="T16" fmla="*/ 208 w 476"/>
                <a:gd name="T17" fmla="*/ 160 h 169"/>
                <a:gd name="T18" fmla="*/ 268 w 476"/>
                <a:gd name="T19" fmla="*/ 160 h 169"/>
                <a:gd name="T20" fmla="*/ 464 w 476"/>
                <a:gd name="T21" fmla="*/ 51 h 169"/>
                <a:gd name="T22" fmla="*/ 476 w 476"/>
                <a:gd name="T23" fmla="*/ 34 h 169"/>
                <a:gd name="T24" fmla="*/ 476 w 476"/>
                <a:gd name="T25"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6" h="169">
                  <a:moveTo>
                    <a:pt x="476" y="0"/>
                  </a:moveTo>
                  <a:cubicBezTo>
                    <a:pt x="476" y="6"/>
                    <a:pt x="472" y="12"/>
                    <a:pt x="464" y="17"/>
                  </a:cubicBezTo>
                  <a:cubicBezTo>
                    <a:pt x="268" y="126"/>
                    <a:pt x="268" y="126"/>
                    <a:pt x="268" y="126"/>
                  </a:cubicBezTo>
                  <a:cubicBezTo>
                    <a:pt x="252" y="135"/>
                    <a:pt x="225" y="135"/>
                    <a:pt x="208" y="126"/>
                  </a:cubicBezTo>
                  <a:cubicBezTo>
                    <a:pt x="12" y="17"/>
                    <a:pt x="12" y="17"/>
                    <a:pt x="12" y="17"/>
                  </a:cubicBezTo>
                  <a:cubicBezTo>
                    <a:pt x="4" y="12"/>
                    <a:pt x="0" y="6"/>
                    <a:pt x="0" y="0"/>
                  </a:cubicBezTo>
                  <a:cubicBezTo>
                    <a:pt x="0" y="34"/>
                    <a:pt x="0" y="34"/>
                    <a:pt x="0" y="34"/>
                  </a:cubicBezTo>
                  <a:cubicBezTo>
                    <a:pt x="0" y="40"/>
                    <a:pt x="4" y="46"/>
                    <a:pt x="12" y="51"/>
                  </a:cubicBezTo>
                  <a:cubicBezTo>
                    <a:pt x="208" y="160"/>
                    <a:pt x="208" y="160"/>
                    <a:pt x="208" y="160"/>
                  </a:cubicBezTo>
                  <a:cubicBezTo>
                    <a:pt x="225" y="169"/>
                    <a:pt x="252" y="169"/>
                    <a:pt x="268" y="160"/>
                  </a:cubicBezTo>
                  <a:cubicBezTo>
                    <a:pt x="464" y="51"/>
                    <a:pt x="464" y="51"/>
                    <a:pt x="464" y="51"/>
                  </a:cubicBezTo>
                  <a:cubicBezTo>
                    <a:pt x="472" y="46"/>
                    <a:pt x="476" y="40"/>
                    <a:pt x="476" y="34"/>
                  </a:cubicBezTo>
                  <a:lnTo>
                    <a:pt x="476" y="0"/>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endParaRPr/>
            </a:p>
          </p:txBody>
        </p:sp>
      </p:grpSp>
      <p:grpSp>
        <p:nvGrpSpPr>
          <p:cNvPr id="11" name="íṡliḍê"/>
          <p:cNvGrpSpPr/>
          <p:nvPr/>
        </p:nvGrpSpPr>
        <p:grpSpPr>
          <a:xfrm>
            <a:off x="5084810" y="5219490"/>
            <a:ext cx="2047394" cy="1285393"/>
            <a:chOff x="5059239" y="4863209"/>
            <a:chExt cx="2085046" cy="1309032"/>
          </a:xfrm>
        </p:grpSpPr>
        <p:sp>
          <p:nvSpPr>
            <p:cNvPr id="43" name="iślîḍè"/>
            <p:cNvSpPr/>
            <p:nvPr/>
          </p:nvSpPr>
          <p:spPr bwMode="auto">
            <a:xfrm>
              <a:off x="5059239" y="4863209"/>
              <a:ext cx="2085046" cy="1162060"/>
            </a:xfrm>
            <a:custGeom>
              <a:avLst/>
              <a:gdLst>
                <a:gd name="T0" fmla="*/ 468 w 484"/>
                <a:gd name="T1" fmla="*/ 118 h 269"/>
                <a:gd name="T2" fmla="*/ 468 w 484"/>
                <a:gd name="T3" fmla="*/ 151 h 269"/>
                <a:gd name="T4" fmla="*/ 272 w 484"/>
                <a:gd name="T5" fmla="*/ 260 h 269"/>
                <a:gd name="T6" fmla="*/ 212 w 484"/>
                <a:gd name="T7" fmla="*/ 260 h 269"/>
                <a:gd name="T8" fmla="*/ 16 w 484"/>
                <a:gd name="T9" fmla="*/ 151 h 269"/>
                <a:gd name="T10" fmla="*/ 16 w 484"/>
                <a:gd name="T11" fmla="*/ 118 h 269"/>
                <a:gd name="T12" fmla="*/ 212 w 484"/>
                <a:gd name="T13" fmla="*/ 9 h 269"/>
                <a:gd name="T14" fmla="*/ 272 w 484"/>
                <a:gd name="T15" fmla="*/ 9 h 269"/>
                <a:gd name="T16" fmla="*/ 468 w 484"/>
                <a:gd name="T17" fmla="*/ 11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4" h="269">
                  <a:moveTo>
                    <a:pt x="468" y="118"/>
                  </a:moveTo>
                  <a:cubicBezTo>
                    <a:pt x="484" y="127"/>
                    <a:pt x="484" y="142"/>
                    <a:pt x="468" y="151"/>
                  </a:cubicBezTo>
                  <a:cubicBezTo>
                    <a:pt x="272" y="260"/>
                    <a:pt x="272" y="260"/>
                    <a:pt x="272" y="260"/>
                  </a:cubicBezTo>
                  <a:cubicBezTo>
                    <a:pt x="255" y="269"/>
                    <a:pt x="229" y="269"/>
                    <a:pt x="212" y="260"/>
                  </a:cubicBezTo>
                  <a:cubicBezTo>
                    <a:pt x="16" y="151"/>
                    <a:pt x="16" y="151"/>
                    <a:pt x="16" y="151"/>
                  </a:cubicBezTo>
                  <a:cubicBezTo>
                    <a:pt x="0" y="142"/>
                    <a:pt x="0" y="127"/>
                    <a:pt x="16" y="118"/>
                  </a:cubicBezTo>
                  <a:cubicBezTo>
                    <a:pt x="212" y="9"/>
                    <a:pt x="212" y="9"/>
                    <a:pt x="212" y="9"/>
                  </a:cubicBezTo>
                  <a:cubicBezTo>
                    <a:pt x="229" y="0"/>
                    <a:pt x="255" y="0"/>
                    <a:pt x="272" y="9"/>
                  </a:cubicBezTo>
                  <a:lnTo>
                    <a:pt x="468" y="118"/>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endParaRPr/>
            </a:p>
          </p:txBody>
        </p:sp>
        <p:sp>
          <p:nvSpPr>
            <p:cNvPr id="44" name="íslíďê"/>
            <p:cNvSpPr/>
            <p:nvPr/>
          </p:nvSpPr>
          <p:spPr bwMode="auto">
            <a:xfrm>
              <a:off x="5074916" y="5445219"/>
              <a:ext cx="2053692" cy="727022"/>
            </a:xfrm>
            <a:custGeom>
              <a:avLst/>
              <a:gdLst>
                <a:gd name="T0" fmla="*/ 476 w 476"/>
                <a:gd name="T1" fmla="*/ 0 h 168"/>
                <a:gd name="T2" fmla="*/ 464 w 476"/>
                <a:gd name="T3" fmla="*/ 16 h 168"/>
                <a:gd name="T4" fmla="*/ 268 w 476"/>
                <a:gd name="T5" fmla="*/ 125 h 168"/>
                <a:gd name="T6" fmla="*/ 208 w 476"/>
                <a:gd name="T7" fmla="*/ 125 h 168"/>
                <a:gd name="T8" fmla="*/ 12 w 476"/>
                <a:gd name="T9" fmla="*/ 16 h 168"/>
                <a:gd name="T10" fmla="*/ 0 w 476"/>
                <a:gd name="T11" fmla="*/ 0 h 168"/>
                <a:gd name="T12" fmla="*/ 0 w 476"/>
                <a:gd name="T13" fmla="*/ 34 h 168"/>
                <a:gd name="T14" fmla="*/ 12 w 476"/>
                <a:gd name="T15" fmla="*/ 50 h 168"/>
                <a:gd name="T16" fmla="*/ 208 w 476"/>
                <a:gd name="T17" fmla="*/ 159 h 168"/>
                <a:gd name="T18" fmla="*/ 268 w 476"/>
                <a:gd name="T19" fmla="*/ 159 h 168"/>
                <a:gd name="T20" fmla="*/ 464 w 476"/>
                <a:gd name="T21" fmla="*/ 50 h 168"/>
                <a:gd name="T22" fmla="*/ 476 w 476"/>
                <a:gd name="T23" fmla="*/ 34 h 168"/>
                <a:gd name="T24" fmla="*/ 476 w 476"/>
                <a:gd name="T2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6" h="168">
                  <a:moveTo>
                    <a:pt x="476" y="0"/>
                  </a:moveTo>
                  <a:cubicBezTo>
                    <a:pt x="476" y="6"/>
                    <a:pt x="472" y="12"/>
                    <a:pt x="464" y="16"/>
                  </a:cubicBezTo>
                  <a:cubicBezTo>
                    <a:pt x="268" y="125"/>
                    <a:pt x="268" y="125"/>
                    <a:pt x="268" y="125"/>
                  </a:cubicBezTo>
                  <a:cubicBezTo>
                    <a:pt x="251" y="134"/>
                    <a:pt x="225" y="134"/>
                    <a:pt x="208" y="125"/>
                  </a:cubicBezTo>
                  <a:cubicBezTo>
                    <a:pt x="12" y="16"/>
                    <a:pt x="12" y="16"/>
                    <a:pt x="12" y="16"/>
                  </a:cubicBezTo>
                  <a:cubicBezTo>
                    <a:pt x="4" y="12"/>
                    <a:pt x="0" y="6"/>
                    <a:pt x="0" y="0"/>
                  </a:cubicBezTo>
                  <a:cubicBezTo>
                    <a:pt x="0" y="34"/>
                    <a:pt x="0" y="34"/>
                    <a:pt x="0" y="34"/>
                  </a:cubicBezTo>
                  <a:cubicBezTo>
                    <a:pt x="0" y="40"/>
                    <a:pt x="4" y="46"/>
                    <a:pt x="12" y="50"/>
                  </a:cubicBezTo>
                  <a:cubicBezTo>
                    <a:pt x="208" y="159"/>
                    <a:pt x="208" y="159"/>
                    <a:pt x="208" y="159"/>
                  </a:cubicBezTo>
                  <a:cubicBezTo>
                    <a:pt x="225" y="168"/>
                    <a:pt x="251" y="168"/>
                    <a:pt x="268" y="159"/>
                  </a:cubicBezTo>
                  <a:cubicBezTo>
                    <a:pt x="464" y="50"/>
                    <a:pt x="464" y="50"/>
                    <a:pt x="464" y="50"/>
                  </a:cubicBezTo>
                  <a:cubicBezTo>
                    <a:pt x="472" y="46"/>
                    <a:pt x="476" y="40"/>
                    <a:pt x="476" y="34"/>
                  </a:cubicBezTo>
                  <a:lnTo>
                    <a:pt x="476" y="0"/>
                  </a:lnTo>
                  <a:close/>
                </a:path>
              </a:pathLst>
            </a:custGeom>
            <a:solidFill>
              <a:schemeClr val="accent5">
                <a:lumMod val="50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endParaRPr/>
            </a:p>
          </p:txBody>
        </p:sp>
      </p:grpSp>
      <p:grpSp>
        <p:nvGrpSpPr>
          <p:cNvPr id="12" name="îŝ1îďé"/>
          <p:cNvGrpSpPr/>
          <p:nvPr/>
        </p:nvGrpSpPr>
        <p:grpSpPr>
          <a:xfrm>
            <a:off x="9594912" y="2824443"/>
            <a:ext cx="2053167" cy="1285394"/>
            <a:chOff x="7240307" y="3661956"/>
            <a:chExt cx="2090925" cy="1309033"/>
          </a:xfrm>
        </p:grpSpPr>
        <p:sp>
          <p:nvSpPr>
            <p:cNvPr id="41" name="ïsľïdê"/>
            <p:cNvSpPr/>
            <p:nvPr/>
          </p:nvSpPr>
          <p:spPr bwMode="auto">
            <a:xfrm>
              <a:off x="7240307" y="3661956"/>
              <a:ext cx="2090925" cy="1162060"/>
            </a:xfrm>
            <a:custGeom>
              <a:avLst/>
              <a:gdLst>
                <a:gd name="T0" fmla="*/ 469 w 485"/>
                <a:gd name="T1" fmla="*/ 118 h 269"/>
                <a:gd name="T2" fmla="*/ 469 w 485"/>
                <a:gd name="T3" fmla="*/ 151 h 269"/>
                <a:gd name="T4" fmla="*/ 272 w 485"/>
                <a:gd name="T5" fmla="*/ 260 h 269"/>
                <a:gd name="T6" fmla="*/ 213 w 485"/>
                <a:gd name="T7" fmla="*/ 260 h 269"/>
                <a:gd name="T8" fmla="*/ 17 w 485"/>
                <a:gd name="T9" fmla="*/ 151 h 269"/>
                <a:gd name="T10" fmla="*/ 17 w 485"/>
                <a:gd name="T11" fmla="*/ 118 h 269"/>
                <a:gd name="T12" fmla="*/ 213 w 485"/>
                <a:gd name="T13" fmla="*/ 9 h 269"/>
                <a:gd name="T14" fmla="*/ 272 w 485"/>
                <a:gd name="T15" fmla="*/ 9 h 269"/>
                <a:gd name="T16" fmla="*/ 469 w 485"/>
                <a:gd name="T17" fmla="*/ 11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5" h="269">
                  <a:moveTo>
                    <a:pt x="469" y="118"/>
                  </a:moveTo>
                  <a:cubicBezTo>
                    <a:pt x="485" y="127"/>
                    <a:pt x="485" y="142"/>
                    <a:pt x="469" y="151"/>
                  </a:cubicBezTo>
                  <a:cubicBezTo>
                    <a:pt x="272" y="260"/>
                    <a:pt x="272" y="260"/>
                    <a:pt x="272" y="260"/>
                  </a:cubicBezTo>
                  <a:cubicBezTo>
                    <a:pt x="256" y="269"/>
                    <a:pt x="229" y="269"/>
                    <a:pt x="213" y="260"/>
                  </a:cubicBezTo>
                  <a:cubicBezTo>
                    <a:pt x="17" y="151"/>
                    <a:pt x="17" y="151"/>
                    <a:pt x="17" y="151"/>
                  </a:cubicBezTo>
                  <a:cubicBezTo>
                    <a:pt x="1" y="142"/>
                    <a:pt x="0" y="127"/>
                    <a:pt x="17" y="118"/>
                  </a:cubicBezTo>
                  <a:cubicBezTo>
                    <a:pt x="213" y="9"/>
                    <a:pt x="213" y="9"/>
                    <a:pt x="213" y="9"/>
                  </a:cubicBezTo>
                  <a:cubicBezTo>
                    <a:pt x="229" y="0"/>
                    <a:pt x="256" y="0"/>
                    <a:pt x="272" y="9"/>
                  </a:cubicBezTo>
                  <a:lnTo>
                    <a:pt x="469" y="118"/>
                  </a:lnTo>
                  <a:close/>
                </a:path>
              </a:pathLst>
            </a:custGeom>
            <a:solidFill>
              <a:srgbClr val="97D0DD"/>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endParaRPr/>
            </a:p>
          </p:txBody>
        </p:sp>
        <p:sp>
          <p:nvSpPr>
            <p:cNvPr id="42" name="ísľiḋé"/>
            <p:cNvSpPr/>
            <p:nvPr/>
          </p:nvSpPr>
          <p:spPr bwMode="auto">
            <a:xfrm>
              <a:off x="7261863" y="4240047"/>
              <a:ext cx="2051732" cy="730942"/>
            </a:xfrm>
            <a:custGeom>
              <a:avLst/>
              <a:gdLst>
                <a:gd name="T0" fmla="*/ 476 w 476"/>
                <a:gd name="T1" fmla="*/ 0 h 169"/>
                <a:gd name="T2" fmla="*/ 464 w 476"/>
                <a:gd name="T3" fmla="*/ 17 h 169"/>
                <a:gd name="T4" fmla="*/ 267 w 476"/>
                <a:gd name="T5" fmla="*/ 126 h 169"/>
                <a:gd name="T6" fmla="*/ 208 w 476"/>
                <a:gd name="T7" fmla="*/ 126 h 169"/>
                <a:gd name="T8" fmla="*/ 12 w 476"/>
                <a:gd name="T9" fmla="*/ 17 h 169"/>
                <a:gd name="T10" fmla="*/ 0 w 476"/>
                <a:gd name="T11" fmla="*/ 0 h 169"/>
                <a:gd name="T12" fmla="*/ 0 w 476"/>
                <a:gd name="T13" fmla="*/ 34 h 169"/>
                <a:gd name="T14" fmla="*/ 12 w 476"/>
                <a:gd name="T15" fmla="*/ 51 h 169"/>
                <a:gd name="T16" fmla="*/ 208 w 476"/>
                <a:gd name="T17" fmla="*/ 160 h 169"/>
                <a:gd name="T18" fmla="*/ 267 w 476"/>
                <a:gd name="T19" fmla="*/ 160 h 169"/>
                <a:gd name="T20" fmla="*/ 464 w 476"/>
                <a:gd name="T21" fmla="*/ 51 h 169"/>
                <a:gd name="T22" fmla="*/ 476 w 476"/>
                <a:gd name="T23" fmla="*/ 34 h 169"/>
                <a:gd name="T24" fmla="*/ 476 w 476"/>
                <a:gd name="T25"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6" h="169">
                  <a:moveTo>
                    <a:pt x="476" y="0"/>
                  </a:moveTo>
                  <a:cubicBezTo>
                    <a:pt x="476" y="6"/>
                    <a:pt x="472" y="12"/>
                    <a:pt x="464" y="17"/>
                  </a:cubicBezTo>
                  <a:cubicBezTo>
                    <a:pt x="267" y="126"/>
                    <a:pt x="267" y="126"/>
                    <a:pt x="267" y="126"/>
                  </a:cubicBezTo>
                  <a:cubicBezTo>
                    <a:pt x="251" y="135"/>
                    <a:pt x="224" y="135"/>
                    <a:pt x="208" y="126"/>
                  </a:cubicBezTo>
                  <a:cubicBezTo>
                    <a:pt x="12" y="17"/>
                    <a:pt x="12" y="17"/>
                    <a:pt x="12" y="17"/>
                  </a:cubicBezTo>
                  <a:cubicBezTo>
                    <a:pt x="4" y="12"/>
                    <a:pt x="0" y="6"/>
                    <a:pt x="0" y="0"/>
                  </a:cubicBezTo>
                  <a:cubicBezTo>
                    <a:pt x="0" y="34"/>
                    <a:pt x="0" y="34"/>
                    <a:pt x="0" y="34"/>
                  </a:cubicBezTo>
                  <a:cubicBezTo>
                    <a:pt x="0" y="40"/>
                    <a:pt x="4" y="46"/>
                    <a:pt x="12" y="51"/>
                  </a:cubicBezTo>
                  <a:cubicBezTo>
                    <a:pt x="208" y="160"/>
                    <a:pt x="208" y="160"/>
                    <a:pt x="208" y="160"/>
                  </a:cubicBezTo>
                  <a:cubicBezTo>
                    <a:pt x="224" y="169"/>
                    <a:pt x="251" y="169"/>
                    <a:pt x="267" y="160"/>
                  </a:cubicBezTo>
                  <a:cubicBezTo>
                    <a:pt x="464" y="51"/>
                    <a:pt x="464" y="51"/>
                    <a:pt x="464" y="51"/>
                  </a:cubicBezTo>
                  <a:cubicBezTo>
                    <a:pt x="472" y="46"/>
                    <a:pt x="476" y="40"/>
                    <a:pt x="476" y="34"/>
                  </a:cubicBezTo>
                  <a:lnTo>
                    <a:pt x="476" y="0"/>
                  </a:lnTo>
                  <a:close/>
                </a:path>
              </a:pathLst>
            </a:custGeom>
            <a:solidFill>
              <a:srgbClr val="5BA6CE"/>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endParaRPr/>
            </a:p>
          </p:txBody>
        </p:sp>
      </p:grpSp>
      <p:grpSp>
        <p:nvGrpSpPr>
          <p:cNvPr id="13" name="ís1íḑè"/>
          <p:cNvGrpSpPr/>
          <p:nvPr/>
        </p:nvGrpSpPr>
        <p:grpSpPr>
          <a:xfrm>
            <a:off x="7509364" y="4024814"/>
            <a:ext cx="2053167" cy="1285393"/>
            <a:chOff x="9425293" y="2456784"/>
            <a:chExt cx="2090925" cy="1309032"/>
          </a:xfrm>
        </p:grpSpPr>
        <p:sp>
          <p:nvSpPr>
            <p:cNvPr id="39" name="ïṣ1íḓè"/>
            <p:cNvSpPr/>
            <p:nvPr/>
          </p:nvSpPr>
          <p:spPr bwMode="auto">
            <a:xfrm>
              <a:off x="9425293" y="2456784"/>
              <a:ext cx="2090925" cy="1162060"/>
            </a:xfrm>
            <a:custGeom>
              <a:avLst/>
              <a:gdLst>
                <a:gd name="T0" fmla="*/ 468 w 485"/>
                <a:gd name="T1" fmla="*/ 118 h 269"/>
                <a:gd name="T2" fmla="*/ 468 w 485"/>
                <a:gd name="T3" fmla="*/ 151 h 269"/>
                <a:gd name="T4" fmla="*/ 272 w 485"/>
                <a:gd name="T5" fmla="*/ 260 h 269"/>
                <a:gd name="T6" fmla="*/ 213 w 485"/>
                <a:gd name="T7" fmla="*/ 260 h 269"/>
                <a:gd name="T8" fmla="*/ 17 w 485"/>
                <a:gd name="T9" fmla="*/ 151 h 269"/>
                <a:gd name="T10" fmla="*/ 17 w 485"/>
                <a:gd name="T11" fmla="*/ 118 h 269"/>
                <a:gd name="T12" fmla="*/ 213 w 485"/>
                <a:gd name="T13" fmla="*/ 9 h 269"/>
                <a:gd name="T14" fmla="*/ 272 w 485"/>
                <a:gd name="T15" fmla="*/ 9 h 269"/>
                <a:gd name="T16" fmla="*/ 468 w 485"/>
                <a:gd name="T17" fmla="*/ 11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5" h="269">
                  <a:moveTo>
                    <a:pt x="468" y="118"/>
                  </a:moveTo>
                  <a:cubicBezTo>
                    <a:pt x="485" y="127"/>
                    <a:pt x="485" y="142"/>
                    <a:pt x="468" y="151"/>
                  </a:cubicBezTo>
                  <a:cubicBezTo>
                    <a:pt x="272" y="260"/>
                    <a:pt x="272" y="260"/>
                    <a:pt x="272" y="260"/>
                  </a:cubicBezTo>
                  <a:cubicBezTo>
                    <a:pt x="256" y="269"/>
                    <a:pt x="229" y="269"/>
                    <a:pt x="213" y="260"/>
                  </a:cubicBezTo>
                  <a:cubicBezTo>
                    <a:pt x="17" y="151"/>
                    <a:pt x="17" y="151"/>
                    <a:pt x="17" y="151"/>
                  </a:cubicBezTo>
                  <a:cubicBezTo>
                    <a:pt x="0" y="142"/>
                    <a:pt x="0" y="127"/>
                    <a:pt x="17" y="118"/>
                  </a:cubicBezTo>
                  <a:cubicBezTo>
                    <a:pt x="213" y="9"/>
                    <a:pt x="213" y="9"/>
                    <a:pt x="213" y="9"/>
                  </a:cubicBezTo>
                  <a:cubicBezTo>
                    <a:pt x="229" y="0"/>
                    <a:pt x="256" y="0"/>
                    <a:pt x="272" y="9"/>
                  </a:cubicBezTo>
                  <a:lnTo>
                    <a:pt x="468" y="118"/>
                  </a:lnTo>
                  <a:close/>
                </a:path>
              </a:pathLst>
            </a:custGeom>
            <a:solidFill>
              <a:schemeClr val="accent5">
                <a:lumMod val="50000"/>
              </a:schemeClr>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endParaRPr/>
            </a:p>
          </p:txBody>
        </p:sp>
        <p:sp>
          <p:nvSpPr>
            <p:cNvPr id="40" name="ï$ḻiḑè"/>
            <p:cNvSpPr/>
            <p:nvPr/>
          </p:nvSpPr>
          <p:spPr bwMode="auto">
            <a:xfrm>
              <a:off x="9442930" y="3038794"/>
              <a:ext cx="2055651" cy="727022"/>
            </a:xfrm>
            <a:custGeom>
              <a:avLst/>
              <a:gdLst>
                <a:gd name="T0" fmla="*/ 477 w 477"/>
                <a:gd name="T1" fmla="*/ 0 h 168"/>
                <a:gd name="T2" fmla="*/ 464 w 477"/>
                <a:gd name="T3" fmla="*/ 16 h 168"/>
                <a:gd name="T4" fmla="*/ 268 w 477"/>
                <a:gd name="T5" fmla="*/ 125 h 168"/>
                <a:gd name="T6" fmla="*/ 209 w 477"/>
                <a:gd name="T7" fmla="*/ 125 h 168"/>
                <a:gd name="T8" fmla="*/ 13 w 477"/>
                <a:gd name="T9" fmla="*/ 16 h 168"/>
                <a:gd name="T10" fmla="*/ 0 w 477"/>
                <a:gd name="T11" fmla="*/ 0 h 168"/>
                <a:gd name="T12" fmla="*/ 0 w 477"/>
                <a:gd name="T13" fmla="*/ 34 h 168"/>
                <a:gd name="T14" fmla="*/ 13 w 477"/>
                <a:gd name="T15" fmla="*/ 50 h 168"/>
                <a:gd name="T16" fmla="*/ 209 w 477"/>
                <a:gd name="T17" fmla="*/ 159 h 168"/>
                <a:gd name="T18" fmla="*/ 268 w 477"/>
                <a:gd name="T19" fmla="*/ 159 h 168"/>
                <a:gd name="T20" fmla="*/ 464 w 477"/>
                <a:gd name="T21" fmla="*/ 50 h 168"/>
                <a:gd name="T22" fmla="*/ 477 w 477"/>
                <a:gd name="T23" fmla="*/ 34 h 168"/>
                <a:gd name="T24" fmla="*/ 477 w 477"/>
                <a:gd name="T2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7" h="168">
                  <a:moveTo>
                    <a:pt x="477" y="0"/>
                  </a:moveTo>
                  <a:cubicBezTo>
                    <a:pt x="477" y="6"/>
                    <a:pt x="472" y="12"/>
                    <a:pt x="464" y="16"/>
                  </a:cubicBezTo>
                  <a:cubicBezTo>
                    <a:pt x="268" y="125"/>
                    <a:pt x="268" y="125"/>
                    <a:pt x="268" y="125"/>
                  </a:cubicBezTo>
                  <a:cubicBezTo>
                    <a:pt x="252" y="134"/>
                    <a:pt x="225" y="134"/>
                    <a:pt x="209" y="125"/>
                  </a:cubicBezTo>
                  <a:cubicBezTo>
                    <a:pt x="13" y="16"/>
                    <a:pt x="13" y="16"/>
                    <a:pt x="13" y="16"/>
                  </a:cubicBezTo>
                  <a:cubicBezTo>
                    <a:pt x="4" y="12"/>
                    <a:pt x="0" y="6"/>
                    <a:pt x="0" y="0"/>
                  </a:cubicBezTo>
                  <a:cubicBezTo>
                    <a:pt x="0" y="34"/>
                    <a:pt x="0" y="34"/>
                    <a:pt x="0" y="34"/>
                  </a:cubicBezTo>
                  <a:cubicBezTo>
                    <a:pt x="0" y="40"/>
                    <a:pt x="4" y="46"/>
                    <a:pt x="13" y="50"/>
                  </a:cubicBezTo>
                  <a:cubicBezTo>
                    <a:pt x="209" y="159"/>
                    <a:pt x="209" y="159"/>
                    <a:pt x="209" y="159"/>
                  </a:cubicBezTo>
                  <a:cubicBezTo>
                    <a:pt x="225" y="168"/>
                    <a:pt x="252" y="168"/>
                    <a:pt x="268" y="159"/>
                  </a:cubicBezTo>
                  <a:cubicBezTo>
                    <a:pt x="464" y="50"/>
                    <a:pt x="464" y="50"/>
                    <a:pt x="464" y="50"/>
                  </a:cubicBezTo>
                  <a:cubicBezTo>
                    <a:pt x="472" y="46"/>
                    <a:pt x="477" y="40"/>
                    <a:pt x="477" y="34"/>
                  </a:cubicBezTo>
                  <a:lnTo>
                    <a:pt x="477" y="0"/>
                  </a:lnTo>
                  <a:close/>
                </a:path>
              </a:pathLst>
            </a:custGeom>
            <a:solidFill>
              <a:srgbClr val="002060"/>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endParaRPr/>
            </a:p>
          </p:txBody>
        </p:sp>
      </p:grpSp>
      <p:sp>
        <p:nvSpPr>
          <p:cNvPr id="37" name="ïṥľîḑè"/>
          <p:cNvSpPr/>
          <p:nvPr/>
        </p:nvSpPr>
        <p:spPr>
          <a:xfrm>
            <a:off x="1258701" y="2372928"/>
            <a:ext cx="1094400" cy="1094400"/>
          </a:xfrm>
          <a:prstGeom prst="ellipse">
            <a:avLst/>
          </a:prstGeom>
          <a:blipFill dpi="0" rotWithShape="1">
            <a:blip r:embed="rId6">
              <a:extLst>
                <a:ext uri="{BEBA8EAE-BF5A-486C-A8C5-ECC9F3942E4B}">
                  <a14:imgProps xmlns:a14="http://schemas.microsoft.com/office/drawing/2010/main">
                    <a14:imgLayer r:embed="rId7">
                      <a14:imgEffect>
                        <a14:brightnessContrast bright="40000"/>
                      </a14:imgEffect>
                    </a14:imgLayer>
                  </a14:imgProps>
                </a:ext>
              </a:extLst>
            </a:blip>
            <a:srcRect/>
            <a:stretch>
              <a:fillRect/>
            </a:stretch>
          </a:blipFill>
          <a:ln w="349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5" name="işḻîḓè"/>
          <p:cNvSpPr/>
          <p:nvPr/>
        </p:nvSpPr>
        <p:spPr>
          <a:xfrm>
            <a:off x="7846249" y="3490369"/>
            <a:ext cx="1094400" cy="1094400"/>
          </a:xfrm>
          <a:prstGeom prst="ellipse">
            <a:avLst/>
          </a:prstGeom>
          <a:solidFill>
            <a:schemeClr val="bg1"/>
          </a:solidFill>
          <a:ln w="349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5" name="i$ľïḑé"/>
          <p:cNvSpPr/>
          <p:nvPr/>
        </p:nvSpPr>
        <p:spPr>
          <a:xfrm>
            <a:off x="10018813" y="2269351"/>
            <a:ext cx="1094400" cy="1094400"/>
          </a:xfrm>
          <a:prstGeom prst="ellipse">
            <a:avLst/>
          </a:prstGeom>
          <a:solidFill>
            <a:schemeClr val="bg1"/>
          </a:solidFill>
          <a:ln w="349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dirty="0"/>
          </a:p>
        </p:txBody>
      </p:sp>
      <p:sp>
        <p:nvSpPr>
          <p:cNvPr id="19" name="î$ļíḍé"/>
          <p:cNvSpPr/>
          <p:nvPr/>
        </p:nvSpPr>
        <p:spPr>
          <a:xfrm>
            <a:off x="5422900" y="4494680"/>
            <a:ext cx="1346200" cy="1346200"/>
          </a:xfrm>
          <a:prstGeom prst="ellipse">
            <a:avLst/>
          </a:prstGeom>
          <a:blipFill>
            <a:blip r:embed="rId8"/>
            <a:stretch>
              <a:fillRect/>
            </a:stretch>
          </a:blipFill>
          <a:ln w="34925">
            <a:solidFill>
              <a:schemeClr val="accent1"/>
            </a:solid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rmAutofit/>
          </a:bodyPr>
          <a:lstStyle/>
          <a:p>
            <a:pPr algn="ctr"/>
            <a:endParaRPr/>
          </a:p>
        </p:txBody>
      </p:sp>
      <p:sp>
        <p:nvSpPr>
          <p:cNvPr id="21" name="iŝḻídé"/>
          <p:cNvSpPr/>
          <p:nvPr/>
        </p:nvSpPr>
        <p:spPr bwMode="auto">
          <a:xfrm>
            <a:off x="8705752" y="5395902"/>
            <a:ext cx="3123144" cy="128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en-US" altLang="zh-CN" sz="1400" dirty="0"/>
              <a:t>Publish the list of scholarship candidates online in late June (</a:t>
            </a:r>
            <a:r>
              <a:rPr lang="en-US" altLang="zh-CN" sz="1400" dirty="0">
                <a:sym typeface="+mn-ea"/>
                <a:hlinkClick r:id="rId9"/>
              </a:rPr>
              <a:t>https.//apply.shu.edu.cn</a:t>
            </a:r>
            <a:r>
              <a:rPr lang="en-US" altLang="zh-CN" sz="1400" dirty="0"/>
              <a:t> ).</a:t>
            </a:r>
          </a:p>
        </p:txBody>
      </p:sp>
      <p:sp>
        <p:nvSpPr>
          <p:cNvPr id="23" name="ïşlidê"/>
          <p:cNvSpPr/>
          <p:nvPr/>
        </p:nvSpPr>
        <p:spPr bwMode="auto">
          <a:xfrm>
            <a:off x="363104" y="5354288"/>
            <a:ext cx="4787125" cy="1549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en-US" altLang="zh-CN" sz="1400" dirty="0"/>
              <a:t>Complete the SHU online application procedure (</a:t>
            </a:r>
            <a:r>
              <a:rPr lang="en-US" altLang="zh-CN" sz="1400" dirty="0">
                <a:hlinkClick r:id="rId9"/>
              </a:rPr>
              <a:t>https.//apply.shu.edu.cn</a:t>
            </a:r>
            <a:r>
              <a:rPr lang="en-US" altLang="zh-CN" sz="1400" dirty="0"/>
              <a:t>  ), receive Pre-admission Notice.</a:t>
            </a:r>
          </a:p>
          <a:p>
            <a:pPr marL="171450" indent="-171450">
              <a:lnSpc>
                <a:spcPct val="150000"/>
              </a:lnSpc>
              <a:spcBef>
                <a:spcPct val="0"/>
              </a:spcBef>
              <a:buFont typeface="Arial" panose="020B0604020202020204" pitchFamily="34" charset="0"/>
              <a:buChar char="•"/>
            </a:pPr>
            <a:r>
              <a:rPr lang="en-US" altLang="zh-CN" sz="1400" dirty="0"/>
              <a:t>Pay the </a:t>
            </a:r>
            <a:r>
              <a:rPr lang="en-US" altLang="zh-CN" sz="1400" dirty="0">
                <a:solidFill>
                  <a:srgbClr val="C00000"/>
                </a:solidFill>
              </a:rPr>
              <a:t>application fee </a:t>
            </a:r>
            <a:r>
              <a:rPr lang="en-US" altLang="zh-CN" sz="1400" b="1" dirty="0">
                <a:solidFill>
                  <a:srgbClr val="C00000"/>
                </a:solidFill>
              </a:rPr>
              <a:t>RMB 500 </a:t>
            </a:r>
            <a:r>
              <a:rPr lang="en-US" altLang="zh-CN" sz="1400" dirty="0"/>
              <a:t>(Non-refundable).</a:t>
            </a:r>
          </a:p>
        </p:txBody>
      </p:sp>
      <p:sp>
        <p:nvSpPr>
          <p:cNvPr id="25" name="iṣlïḑê"/>
          <p:cNvSpPr/>
          <p:nvPr/>
        </p:nvSpPr>
        <p:spPr bwMode="auto">
          <a:xfrm>
            <a:off x="288459" y="1238348"/>
            <a:ext cx="4208248" cy="1296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285750" indent="-285750">
              <a:lnSpc>
                <a:spcPct val="120000"/>
              </a:lnSpc>
              <a:buFont typeface="Arial" panose="020B0604020202020204" pitchFamily="34" charset="0"/>
              <a:buChar char="•"/>
            </a:pPr>
            <a:r>
              <a:rPr lang="en-US" altLang="zh-CN" sz="1400" dirty="0"/>
              <a:t>Login the website (</a:t>
            </a:r>
            <a:r>
              <a:rPr lang="en-US" altLang="zh-CN" sz="1400" dirty="0">
                <a:hlinkClick r:id="rId10"/>
              </a:rPr>
              <a:t>http://study.edu.sh.gov.cn</a:t>
            </a:r>
            <a:r>
              <a:rPr lang="en-US" altLang="zh-CN" sz="1400" dirty="0"/>
              <a:t> )</a:t>
            </a:r>
            <a:r>
              <a:rPr lang="zh-CN" altLang="en-US" sz="1400" dirty="0"/>
              <a:t>， </a:t>
            </a:r>
            <a:r>
              <a:rPr lang="en-US" altLang="zh-CN" sz="1400" dirty="0"/>
              <a:t>choosing Shanghai Government Scholarships (SGS) and finishing online application.</a:t>
            </a:r>
          </a:p>
        </p:txBody>
      </p:sp>
      <p:sp>
        <p:nvSpPr>
          <p:cNvPr id="27" name="ïṡļîďe"/>
          <p:cNvSpPr/>
          <p:nvPr/>
        </p:nvSpPr>
        <p:spPr bwMode="auto">
          <a:xfrm>
            <a:off x="8971915" y="1322070"/>
            <a:ext cx="3220085" cy="572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indent="0">
              <a:lnSpc>
                <a:spcPct val="120000"/>
              </a:lnSpc>
              <a:buFont typeface="Arial" panose="020B0604020202020204" pitchFamily="34" charset="0"/>
              <a:buNone/>
            </a:pPr>
            <a:r>
              <a:rPr lang="en-US" altLang="zh-CN" sz="1400" dirty="0"/>
              <a:t>Confirm Offer online and receive official admission documents.</a:t>
            </a:r>
          </a:p>
        </p:txBody>
      </p:sp>
      <p:sp>
        <p:nvSpPr>
          <p:cNvPr id="29" name="íślïḋe"/>
          <p:cNvSpPr/>
          <p:nvPr/>
        </p:nvSpPr>
        <p:spPr bwMode="auto">
          <a:xfrm>
            <a:off x="4810590" y="2974620"/>
            <a:ext cx="2698940" cy="2401556"/>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en-US" altLang="zh-CN" sz="1400" dirty="0"/>
              <a:t>SHU Scholarship Committee will review the application materials and confirm the list of scholarship candidates.</a:t>
            </a:r>
          </a:p>
        </p:txBody>
      </p:sp>
      <p:sp>
        <p:nvSpPr>
          <p:cNvPr id="52" name="矩形 51"/>
          <p:cNvSpPr/>
          <p:nvPr/>
        </p:nvSpPr>
        <p:spPr>
          <a:xfrm>
            <a:off x="0" y="0"/>
            <a:ext cx="1000906" cy="830997"/>
          </a:xfrm>
          <a:prstGeom prst="rect">
            <a:avLst/>
          </a:prstGeom>
          <a:solidFill>
            <a:srgbClr val="0A7BB6">
              <a:alpha val="67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80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53" name="文本框 52"/>
          <p:cNvSpPr txBox="1"/>
          <p:nvPr/>
        </p:nvSpPr>
        <p:spPr>
          <a:xfrm>
            <a:off x="1143872" y="150727"/>
            <a:ext cx="5073525" cy="583565"/>
          </a:xfrm>
          <a:prstGeom prst="rect">
            <a:avLst/>
          </a:prstGeom>
          <a:noFill/>
        </p:spPr>
        <p:txBody>
          <a:bodyPr wrap="square" rtlCol="0">
            <a:spAutoFit/>
          </a:bodyPr>
          <a:lstStyle/>
          <a:p>
            <a:pPr lvl="0">
              <a:defRPr/>
            </a:pPr>
            <a:r>
              <a:rPr lang="en-US" sz="3200" b="1" kern="0" spc="400" dirty="0">
                <a:solidFill>
                  <a:srgbClr val="002060"/>
                </a:solidFill>
                <a:latin typeface="Arial" panose="020B0604020202020204" pitchFamily="34" charset="0"/>
                <a:ea typeface="微软雅黑" panose="020B0503020204020204" pitchFamily="34" charset="-122"/>
                <a:cs typeface="Arial" panose="020B0604020202020204" pitchFamily="34" charset="0"/>
              </a:rPr>
              <a:t>HOW TO APPLY</a:t>
            </a:r>
            <a:endParaRPr lang="en-US" altLang="zh-CN" sz="3200" b="1" kern="0" spc="400" dirty="0">
              <a:solidFill>
                <a:srgbClr val="C00000"/>
              </a:solidFill>
              <a:latin typeface="微软雅黑" panose="020B0503020204020204" pitchFamily="34" charset="-122"/>
              <a:ea typeface="微软雅黑" panose="020B0503020204020204" pitchFamily="34" charset="-122"/>
            </a:endParaRPr>
          </a:p>
        </p:txBody>
      </p:sp>
      <p:pic>
        <p:nvPicPr>
          <p:cNvPr id="54" name="图片 53"/>
          <p:cNvPicPr>
            <a:picLocks noChangeAspect="1"/>
          </p:cNvPicPr>
          <p:nvPr/>
        </p:nvPicPr>
        <p:blipFill>
          <a:blip r:embed="rId11" cstate="screen">
            <a:duotone>
              <a:schemeClr val="accent1">
                <a:shade val="45000"/>
                <a:satMod val="135000"/>
              </a:schemeClr>
              <a:prstClr val="white"/>
            </a:duotone>
          </a:blip>
          <a:stretch>
            <a:fillRect/>
          </a:stretch>
        </p:blipFill>
        <p:spPr>
          <a:xfrm>
            <a:off x="9709106" y="150291"/>
            <a:ext cx="2176034" cy="628723"/>
          </a:xfrm>
          <a:prstGeom prst="rect">
            <a:avLst/>
          </a:prstGeom>
        </p:spPr>
      </p:pic>
      <p:sp>
        <p:nvSpPr>
          <p:cNvPr id="55" name="文本框 54"/>
          <p:cNvSpPr txBox="1"/>
          <p:nvPr/>
        </p:nvSpPr>
        <p:spPr>
          <a:xfrm>
            <a:off x="5643527" y="1925087"/>
            <a:ext cx="1748925" cy="646331"/>
          </a:xfrm>
          <a:prstGeom prst="rect">
            <a:avLst/>
          </a:prstGeom>
          <a:noFill/>
        </p:spPr>
        <p:txBody>
          <a:bodyPr wrap="square" rtlCol="0">
            <a:spAutoFit/>
          </a:bodyPr>
          <a:lstStyle/>
          <a:p>
            <a:r>
              <a:rPr lang="en-US" altLang="zh-CN" sz="3600" dirty="0">
                <a:solidFill>
                  <a:schemeClr val="bg1">
                    <a:lumMod val="50000"/>
                  </a:schemeClr>
                </a:solidFill>
                <a:latin typeface="Arial Black" panose="020B0A04020102020204" pitchFamily="34" charset="0"/>
                <a:cs typeface="Arial" panose="020B0604020202020204" pitchFamily="34" charset="0"/>
              </a:rPr>
              <a:t>S G S</a:t>
            </a:r>
            <a:endParaRPr lang="zh-CN" altLang="en-US" sz="3600" dirty="0">
              <a:solidFill>
                <a:schemeClr val="bg1">
                  <a:lumMod val="50000"/>
                </a:schemeClr>
              </a:solidFill>
              <a:latin typeface="Arial Black" panose="020B0A04020102020204" pitchFamily="34" charset="0"/>
              <a:cs typeface="Arial" panose="020B0604020202020204" pitchFamily="34" charset="0"/>
            </a:endParaRPr>
          </a:p>
        </p:txBody>
      </p:sp>
      <p:pic>
        <p:nvPicPr>
          <p:cNvPr id="57" name="图片 56"/>
          <p:cNvPicPr>
            <a:picLocks noChangeAspect="1"/>
          </p:cNvPicPr>
          <p:nvPr/>
        </p:nvPicPr>
        <p:blipFill rotWithShape="1">
          <a:blip r:embed="rId12">
            <a:extLst>
              <a:ext uri="{28A0092B-C50C-407E-A947-70E740481C1C}">
                <a14:useLocalDpi xmlns:a14="http://schemas.microsoft.com/office/drawing/2010/main" val="0"/>
              </a:ext>
            </a:extLst>
          </a:blip>
          <a:srcRect/>
          <a:stretch>
            <a:fillRect/>
          </a:stretch>
        </p:blipFill>
        <p:spPr>
          <a:xfrm>
            <a:off x="4755050" y="1778304"/>
            <a:ext cx="838145" cy="857945"/>
          </a:xfrm>
          <a:prstGeom prst="ellipse">
            <a:avLst/>
          </a:prstGeom>
        </p:spPr>
      </p:pic>
      <p:grpSp>
        <p:nvGrpSpPr>
          <p:cNvPr id="313" name="2deabf3b-0b0f-455d-8d65-d20d28d3e9b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2"/>
            </p:custDataLst>
          </p:nvPr>
        </p:nvGrpSpPr>
        <p:grpSpPr>
          <a:xfrm>
            <a:off x="7806586" y="3634933"/>
            <a:ext cx="1199273" cy="883599"/>
            <a:chOff x="2794000" y="1270001"/>
            <a:chExt cx="6604000" cy="4865687"/>
          </a:xfrm>
        </p:grpSpPr>
        <p:sp>
          <p:nvSpPr>
            <p:cNvPr id="314" name="ï$ļïḑé"/>
            <p:cNvSpPr/>
            <p:nvPr/>
          </p:nvSpPr>
          <p:spPr bwMode="auto">
            <a:xfrm>
              <a:off x="5372100" y="4144963"/>
              <a:ext cx="1677988" cy="738187"/>
            </a:xfrm>
            <a:custGeom>
              <a:avLst/>
              <a:gdLst>
                <a:gd name="T0" fmla="*/ 253 w 1057"/>
                <a:gd name="T1" fmla="*/ 0 h 465"/>
                <a:gd name="T2" fmla="*/ 799 w 1057"/>
                <a:gd name="T3" fmla="*/ 0 h 465"/>
                <a:gd name="T4" fmla="*/ 1057 w 1057"/>
                <a:gd name="T5" fmla="*/ 465 h 465"/>
                <a:gd name="T6" fmla="*/ 0 w 1057"/>
                <a:gd name="T7" fmla="*/ 465 h 465"/>
                <a:gd name="T8" fmla="*/ 253 w 1057"/>
                <a:gd name="T9" fmla="*/ 0 h 465"/>
              </a:gdLst>
              <a:ahLst/>
              <a:cxnLst>
                <a:cxn ang="0">
                  <a:pos x="T0" y="T1"/>
                </a:cxn>
                <a:cxn ang="0">
                  <a:pos x="T2" y="T3"/>
                </a:cxn>
                <a:cxn ang="0">
                  <a:pos x="T4" y="T5"/>
                </a:cxn>
                <a:cxn ang="0">
                  <a:pos x="T6" y="T7"/>
                </a:cxn>
                <a:cxn ang="0">
                  <a:pos x="T8" y="T9"/>
                </a:cxn>
              </a:cxnLst>
              <a:rect l="0" t="0" r="r" b="b"/>
              <a:pathLst>
                <a:path w="1057" h="465">
                  <a:moveTo>
                    <a:pt x="253" y="0"/>
                  </a:moveTo>
                  <a:lnTo>
                    <a:pt x="799" y="0"/>
                  </a:lnTo>
                  <a:lnTo>
                    <a:pt x="1057" y="465"/>
                  </a:lnTo>
                  <a:lnTo>
                    <a:pt x="0" y="465"/>
                  </a:lnTo>
                  <a:lnTo>
                    <a:pt x="253" y="0"/>
                  </a:lnTo>
                  <a:close/>
                </a:path>
              </a:pathLst>
            </a:custGeom>
            <a:solidFill>
              <a:srgbClr val="4D4D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15" name="iśḻiḓè"/>
            <p:cNvSpPr/>
            <p:nvPr/>
          </p:nvSpPr>
          <p:spPr bwMode="auto">
            <a:xfrm>
              <a:off x="3956050" y="1270001"/>
              <a:ext cx="4510088" cy="3063875"/>
            </a:xfrm>
            <a:custGeom>
              <a:avLst/>
              <a:gdLst>
                <a:gd name="T0" fmla="*/ 26 w 551"/>
                <a:gd name="T1" fmla="*/ 0 h 374"/>
                <a:gd name="T2" fmla="*/ 525 w 551"/>
                <a:gd name="T3" fmla="*/ 0 h 374"/>
                <a:gd name="T4" fmla="*/ 551 w 551"/>
                <a:gd name="T5" fmla="*/ 25 h 374"/>
                <a:gd name="T6" fmla="*/ 551 w 551"/>
                <a:gd name="T7" fmla="*/ 348 h 374"/>
                <a:gd name="T8" fmla="*/ 525 w 551"/>
                <a:gd name="T9" fmla="*/ 374 h 374"/>
                <a:gd name="T10" fmla="*/ 26 w 551"/>
                <a:gd name="T11" fmla="*/ 374 h 374"/>
                <a:gd name="T12" fmla="*/ 0 w 551"/>
                <a:gd name="T13" fmla="*/ 348 h 374"/>
                <a:gd name="T14" fmla="*/ 0 w 551"/>
                <a:gd name="T15" fmla="*/ 25 h 374"/>
                <a:gd name="T16" fmla="*/ 26 w 551"/>
                <a:gd name="T17"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374">
                  <a:moveTo>
                    <a:pt x="26" y="0"/>
                  </a:moveTo>
                  <a:cubicBezTo>
                    <a:pt x="525" y="0"/>
                    <a:pt x="525" y="0"/>
                    <a:pt x="525" y="0"/>
                  </a:cubicBezTo>
                  <a:cubicBezTo>
                    <a:pt x="539" y="0"/>
                    <a:pt x="551" y="11"/>
                    <a:pt x="551" y="25"/>
                  </a:cubicBezTo>
                  <a:cubicBezTo>
                    <a:pt x="551" y="348"/>
                    <a:pt x="551" y="348"/>
                    <a:pt x="551" y="348"/>
                  </a:cubicBezTo>
                  <a:cubicBezTo>
                    <a:pt x="551" y="362"/>
                    <a:pt x="539" y="374"/>
                    <a:pt x="525" y="374"/>
                  </a:cubicBezTo>
                  <a:cubicBezTo>
                    <a:pt x="26" y="374"/>
                    <a:pt x="26" y="374"/>
                    <a:pt x="26" y="374"/>
                  </a:cubicBezTo>
                  <a:cubicBezTo>
                    <a:pt x="11" y="374"/>
                    <a:pt x="0" y="362"/>
                    <a:pt x="0" y="348"/>
                  </a:cubicBezTo>
                  <a:cubicBezTo>
                    <a:pt x="0" y="25"/>
                    <a:pt x="0" y="25"/>
                    <a:pt x="0" y="25"/>
                  </a:cubicBezTo>
                  <a:cubicBezTo>
                    <a:pt x="0" y="11"/>
                    <a:pt x="11" y="0"/>
                    <a:pt x="26" y="0"/>
                  </a:cubicBezTo>
                  <a:close/>
                </a:path>
              </a:pathLst>
            </a:custGeom>
            <a:solidFill>
              <a:srgbClr val="46749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16" name="ïṥ1ïḍê"/>
            <p:cNvSpPr/>
            <p:nvPr/>
          </p:nvSpPr>
          <p:spPr bwMode="auto">
            <a:xfrm>
              <a:off x="8178800" y="4121151"/>
              <a:ext cx="57150" cy="49212"/>
            </a:xfrm>
            <a:prstGeom prst="ellipse">
              <a:avLst/>
            </a:prstGeom>
            <a:solidFill>
              <a:srgbClr val="F5F5F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17" name="íSḷïḑe"/>
            <p:cNvSpPr/>
            <p:nvPr/>
          </p:nvSpPr>
          <p:spPr bwMode="auto">
            <a:xfrm>
              <a:off x="8072438" y="4121151"/>
              <a:ext cx="57150" cy="49212"/>
            </a:xfrm>
            <a:prstGeom prst="ellipse">
              <a:avLst/>
            </a:prstGeom>
            <a:solidFill>
              <a:srgbClr val="F5F5F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18" name="ïṧļïďé"/>
            <p:cNvSpPr/>
            <p:nvPr/>
          </p:nvSpPr>
          <p:spPr bwMode="auto">
            <a:xfrm>
              <a:off x="7966075" y="4121151"/>
              <a:ext cx="57150" cy="49212"/>
            </a:xfrm>
            <a:prstGeom prst="ellipse">
              <a:avLst/>
            </a:prstGeom>
            <a:solidFill>
              <a:srgbClr val="F5F5F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19" name="îṧļíḓe"/>
            <p:cNvSpPr/>
            <p:nvPr/>
          </p:nvSpPr>
          <p:spPr bwMode="auto">
            <a:xfrm>
              <a:off x="3603625" y="4660901"/>
              <a:ext cx="5213350" cy="222250"/>
            </a:xfrm>
            <a:custGeom>
              <a:avLst/>
              <a:gdLst>
                <a:gd name="T0" fmla="*/ 13 w 637"/>
                <a:gd name="T1" fmla="*/ 0 h 27"/>
                <a:gd name="T2" fmla="*/ 623 w 637"/>
                <a:gd name="T3" fmla="*/ 0 h 27"/>
                <a:gd name="T4" fmla="*/ 637 w 637"/>
                <a:gd name="T5" fmla="*/ 13 h 27"/>
                <a:gd name="T6" fmla="*/ 637 w 637"/>
                <a:gd name="T7" fmla="*/ 13 h 27"/>
                <a:gd name="T8" fmla="*/ 623 w 637"/>
                <a:gd name="T9" fmla="*/ 27 h 27"/>
                <a:gd name="T10" fmla="*/ 13 w 637"/>
                <a:gd name="T11" fmla="*/ 27 h 27"/>
                <a:gd name="T12" fmla="*/ 0 w 637"/>
                <a:gd name="T13" fmla="*/ 13 h 27"/>
                <a:gd name="T14" fmla="*/ 0 w 637"/>
                <a:gd name="T15" fmla="*/ 13 h 27"/>
                <a:gd name="T16" fmla="*/ 13 w 637"/>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7" h="27">
                  <a:moveTo>
                    <a:pt x="13" y="0"/>
                  </a:moveTo>
                  <a:cubicBezTo>
                    <a:pt x="623" y="0"/>
                    <a:pt x="623" y="0"/>
                    <a:pt x="623" y="0"/>
                  </a:cubicBezTo>
                  <a:cubicBezTo>
                    <a:pt x="631" y="0"/>
                    <a:pt x="637" y="6"/>
                    <a:pt x="637" y="13"/>
                  </a:cubicBezTo>
                  <a:cubicBezTo>
                    <a:pt x="637" y="13"/>
                    <a:pt x="637" y="13"/>
                    <a:pt x="637" y="13"/>
                  </a:cubicBezTo>
                  <a:cubicBezTo>
                    <a:pt x="637" y="21"/>
                    <a:pt x="631" y="27"/>
                    <a:pt x="623" y="27"/>
                  </a:cubicBezTo>
                  <a:cubicBezTo>
                    <a:pt x="13" y="27"/>
                    <a:pt x="13" y="27"/>
                    <a:pt x="13" y="27"/>
                  </a:cubicBezTo>
                  <a:cubicBezTo>
                    <a:pt x="6" y="27"/>
                    <a:pt x="0" y="21"/>
                    <a:pt x="0" y="13"/>
                  </a:cubicBezTo>
                  <a:cubicBezTo>
                    <a:pt x="0" y="13"/>
                    <a:pt x="0" y="13"/>
                    <a:pt x="0" y="13"/>
                  </a:cubicBezTo>
                  <a:cubicBezTo>
                    <a:pt x="0" y="6"/>
                    <a:pt x="6" y="0"/>
                    <a:pt x="13" y="0"/>
                  </a:cubicBezTo>
                  <a:close/>
                </a:path>
              </a:pathLst>
            </a:custGeom>
            <a:solidFill>
              <a:srgbClr val="46749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20" name="íŝļîḓê"/>
            <p:cNvSpPr/>
            <p:nvPr/>
          </p:nvSpPr>
          <p:spPr bwMode="auto">
            <a:xfrm>
              <a:off x="3603625" y="4767263"/>
              <a:ext cx="5213350" cy="115887"/>
            </a:xfrm>
            <a:custGeom>
              <a:avLst/>
              <a:gdLst>
                <a:gd name="T0" fmla="*/ 637 w 637"/>
                <a:gd name="T1" fmla="*/ 0 h 14"/>
                <a:gd name="T2" fmla="*/ 623 w 637"/>
                <a:gd name="T3" fmla="*/ 14 h 14"/>
                <a:gd name="T4" fmla="*/ 13 w 637"/>
                <a:gd name="T5" fmla="*/ 14 h 14"/>
                <a:gd name="T6" fmla="*/ 0 w 637"/>
                <a:gd name="T7" fmla="*/ 0 h 14"/>
                <a:gd name="T8" fmla="*/ 637 w 637"/>
                <a:gd name="T9" fmla="*/ 0 h 14"/>
              </a:gdLst>
              <a:ahLst/>
              <a:cxnLst>
                <a:cxn ang="0">
                  <a:pos x="T0" y="T1"/>
                </a:cxn>
                <a:cxn ang="0">
                  <a:pos x="T2" y="T3"/>
                </a:cxn>
                <a:cxn ang="0">
                  <a:pos x="T4" y="T5"/>
                </a:cxn>
                <a:cxn ang="0">
                  <a:pos x="T6" y="T7"/>
                </a:cxn>
                <a:cxn ang="0">
                  <a:pos x="T8" y="T9"/>
                </a:cxn>
              </a:cxnLst>
              <a:rect l="0" t="0" r="r" b="b"/>
              <a:pathLst>
                <a:path w="637" h="14">
                  <a:moveTo>
                    <a:pt x="637" y="0"/>
                  </a:moveTo>
                  <a:cubicBezTo>
                    <a:pt x="637" y="8"/>
                    <a:pt x="631" y="14"/>
                    <a:pt x="623" y="14"/>
                  </a:cubicBezTo>
                  <a:cubicBezTo>
                    <a:pt x="13" y="14"/>
                    <a:pt x="13" y="14"/>
                    <a:pt x="13" y="14"/>
                  </a:cubicBezTo>
                  <a:cubicBezTo>
                    <a:pt x="6" y="14"/>
                    <a:pt x="0" y="8"/>
                    <a:pt x="0" y="0"/>
                  </a:cubicBezTo>
                  <a:lnTo>
                    <a:pt x="637" y="0"/>
                  </a:lnTo>
                  <a:close/>
                </a:path>
              </a:pathLst>
            </a:custGeom>
            <a:solidFill>
              <a:srgbClr val="4D4D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21" name="ïṣ1idé"/>
            <p:cNvSpPr/>
            <p:nvPr/>
          </p:nvSpPr>
          <p:spPr bwMode="auto">
            <a:xfrm>
              <a:off x="4095750" y="1384301"/>
              <a:ext cx="4230688" cy="2571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2" name="ïs1îdè"/>
            <p:cNvSpPr/>
            <p:nvPr/>
          </p:nvSpPr>
          <p:spPr bwMode="auto">
            <a:xfrm>
              <a:off x="4373563" y="1384301"/>
              <a:ext cx="3667125" cy="230187"/>
            </a:xfrm>
            <a:prstGeom prst="rect">
              <a:avLst/>
            </a:prstGeom>
            <a:solidFill>
              <a:srgbClr val="A2C9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3" name="iSļîďê"/>
            <p:cNvSpPr/>
            <p:nvPr/>
          </p:nvSpPr>
          <p:spPr bwMode="auto">
            <a:xfrm>
              <a:off x="5356225" y="1744663"/>
              <a:ext cx="1709738" cy="336550"/>
            </a:xfrm>
            <a:prstGeom prst="rect">
              <a:avLst/>
            </a:prstGeom>
            <a:solidFill>
              <a:srgbClr val="ED7B5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4" name="iṡľíḍe"/>
            <p:cNvSpPr/>
            <p:nvPr/>
          </p:nvSpPr>
          <p:spPr bwMode="auto">
            <a:xfrm>
              <a:off x="4373563" y="2482851"/>
              <a:ext cx="3667125" cy="933450"/>
            </a:xfrm>
            <a:prstGeom prst="rect">
              <a:avLst/>
            </a:prstGeom>
            <a:solidFill>
              <a:srgbClr val="5896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5" name="îśḷïḍé"/>
            <p:cNvSpPr/>
            <p:nvPr/>
          </p:nvSpPr>
          <p:spPr bwMode="auto">
            <a:xfrm>
              <a:off x="5076825" y="2219326"/>
              <a:ext cx="2259013" cy="139700"/>
            </a:xfrm>
            <a:prstGeom prst="rect">
              <a:avLst/>
            </a:prstGeom>
            <a:solidFill>
              <a:srgbClr val="91BDE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6" name="işľïďê"/>
            <p:cNvSpPr/>
            <p:nvPr/>
          </p:nvSpPr>
          <p:spPr bwMode="auto">
            <a:xfrm>
              <a:off x="4594225" y="3605213"/>
              <a:ext cx="925513" cy="350837"/>
            </a:xfrm>
            <a:prstGeom prst="rect">
              <a:avLst/>
            </a:prstGeom>
            <a:solidFill>
              <a:srgbClr val="FFAE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7" name="ïŝḷïďé"/>
            <p:cNvSpPr/>
            <p:nvPr/>
          </p:nvSpPr>
          <p:spPr bwMode="auto">
            <a:xfrm>
              <a:off x="5748338" y="3605213"/>
              <a:ext cx="925513" cy="350837"/>
            </a:xfrm>
            <a:prstGeom prst="rect">
              <a:avLst/>
            </a:prstGeom>
            <a:solidFill>
              <a:srgbClr val="FA98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8" name="íSļíḋé"/>
            <p:cNvSpPr/>
            <p:nvPr/>
          </p:nvSpPr>
          <p:spPr bwMode="auto">
            <a:xfrm>
              <a:off x="6902450" y="3605213"/>
              <a:ext cx="915988" cy="350837"/>
            </a:xfrm>
            <a:prstGeom prst="rect">
              <a:avLst/>
            </a:prstGeom>
            <a:solidFill>
              <a:srgbClr val="A2C9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29" name="íṧḻïḍè"/>
            <p:cNvSpPr/>
            <p:nvPr/>
          </p:nvSpPr>
          <p:spPr bwMode="auto">
            <a:xfrm>
              <a:off x="7835900" y="2859088"/>
              <a:ext cx="80963" cy="147637"/>
            </a:xfrm>
            <a:custGeom>
              <a:avLst/>
              <a:gdLst>
                <a:gd name="T0" fmla="*/ 1 w 10"/>
                <a:gd name="T1" fmla="*/ 4 h 18"/>
                <a:gd name="T2" fmla="*/ 1 w 10"/>
                <a:gd name="T3" fmla="*/ 1 h 18"/>
                <a:gd name="T4" fmla="*/ 4 w 10"/>
                <a:gd name="T5" fmla="*/ 1 h 18"/>
                <a:gd name="T6" fmla="*/ 9 w 10"/>
                <a:gd name="T7" fmla="*/ 8 h 18"/>
                <a:gd name="T8" fmla="*/ 10 w 10"/>
                <a:gd name="T9" fmla="*/ 8 h 18"/>
                <a:gd name="T10" fmla="*/ 10 w 10"/>
                <a:gd name="T11" fmla="*/ 8 h 18"/>
                <a:gd name="T12" fmla="*/ 10 w 10"/>
                <a:gd name="T13" fmla="*/ 8 h 18"/>
                <a:gd name="T14" fmla="*/ 10 w 10"/>
                <a:gd name="T15" fmla="*/ 8 h 18"/>
                <a:gd name="T16" fmla="*/ 10 w 10"/>
                <a:gd name="T17" fmla="*/ 8 h 18"/>
                <a:gd name="T18" fmla="*/ 10 w 10"/>
                <a:gd name="T19" fmla="*/ 8 h 18"/>
                <a:gd name="T20" fmla="*/ 10 w 10"/>
                <a:gd name="T21" fmla="*/ 8 h 18"/>
                <a:gd name="T22" fmla="*/ 10 w 10"/>
                <a:gd name="T23" fmla="*/ 8 h 18"/>
                <a:gd name="T24" fmla="*/ 10 w 10"/>
                <a:gd name="T25" fmla="*/ 8 h 18"/>
                <a:gd name="T26" fmla="*/ 10 w 10"/>
                <a:gd name="T27" fmla="*/ 9 h 18"/>
                <a:gd name="T28" fmla="*/ 10 w 10"/>
                <a:gd name="T29" fmla="*/ 9 h 18"/>
                <a:gd name="T30" fmla="*/ 10 w 10"/>
                <a:gd name="T31" fmla="*/ 9 h 18"/>
                <a:gd name="T32" fmla="*/ 10 w 10"/>
                <a:gd name="T33" fmla="*/ 9 h 18"/>
                <a:gd name="T34" fmla="*/ 10 w 10"/>
                <a:gd name="T35" fmla="*/ 9 h 18"/>
                <a:gd name="T36" fmla="*/ 10 w 10"/>
                <a:gd name="T37" fmla="*/ 9 h 18"/>
                <a:gd name="T38" fmla="*/ 10 w 10"/>
                <a:gd name="T39" fmla="*/ 9 h 18"/>
                <a:gd name="T40" fmla="*/ 10 w 10"/>
                <a:gd name="T41" fmla="*/ 9 h 18"/>
                <a:gd name="T42" fmla="*/ 10 w 10"/>
                <a:gd name="T43" fmla="*/ 10 h 18"/>
                <a:gd name="T44" fmla="*/ 10 w 10"/>
                <a:gd name="T45" fmla="*/ 10 h 18"/>
                <a:gd name="T46" fmla="*/ 10 w 10"/>
                <a:gd name="T47" fmla="*/ 10 h 18"/>
                <a:gd name="T48" fmla="*/ 10 w 10"/>
                <a:gd name="T49" fmla="*/ 10 h 18"/>
                <a:gd name="T50" fmla="*/ 10 w 10"/>
                <a:gd name="T51" fmla="*/ 10 h 18"/>
                <a:gd name="T52" fmla="*/ 10 w 10"/>
                <a:gd name="T53" fmla="*/ 10 h 18"/>
                <a:gd name="T54" fmla="*/ 10 w 10"/>
                <a:gd name="T55" fmla="*/ 10 h 18"/>
                <a:gd name="T56" fmla="*/ 10 w 10"/>
                <a:gd name="T57" fmla="*/ 10 h 18"/>
                <a:gd name="T58" fmla="*/ 10 w 10"/>
                <a:gd name="T59" fmla="*/ 10 h 18"/>
                <a:gd name="T60" fmla="*/ 9 w 10"/>
                <a:gd name="T61" fmla="*/ 10 h 18"/>
                <a:gd name="T62" fmla="*/ 4 w 10"/>
                <a:gd name="T63" fmla="*/ 17 h 18"/>
                <a:gd name="T64" fmla="*/ 1 w 10"/>
                <a:gd name="T65" fmla="*/ 17 h 18"/>
                <a:gd name="T66" fmla="*/ 1 w 10"/>
                <a:gd name="T67" fmla="*/ 14 h 18"/>
                <a:gd name="T68" fmla="*/ 5 w 10"/>
                <a:gd name="T69" fmla="*/ 9 h 18"/>
                <a:gd name="T70" fmla="*/ 1 w 10"/>
                <a:gd name="T71"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 h="18">
                  <a:moveTo>
                    <a:pt x="1" y="4"/>
                  </a:moveTo>
                  <a:cubicBezTo>
                    <a:pt x="0" y="3"/>
                    <a:pt x="0" y="1"/>
                    <a:pt x="1" y="1"/>
                  </a:cubicBezTo>
                  <a:cubicBezTo>
                    <a:pt x="2" y="0"/>
                    <a:pt x="3" y="0"/>
                    <a:pt x="4" y="1"/>
                  </a:cubicBezTo>
                  <a:cubicBezTo>
                    <a:pt x="9" y="8"/>
                    <a:pt x="9" y="8"/>
                    <a:pt x="9"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9"/>
                  </a:cubicBezTo>
                  <a:cubicBezTo>
                    <a:pt x="10" y="9"/>
                    <a:pt x="10" y="9"/>
                    <a:pt x="10" y="10"/>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10" y="10"/>
                    <a:pt x="10" y="10"/>
                  </a:cubicBezTo>
                  <a:cubicBezTo>
                    <a:pt x="10" y="10"/>
                    <a:pt x="10" y="10"/>
                    <a:pt x="9" y="10"/>
                  </a:cubicBezTo>
                  <a:cubicBezTo>
                    <a:pt x="4" y="17"/>
                    <a:pt x="4" y="17"/>
                    <a:pt x="4" y="17"/>
                  </a:cubicBezTo>
                  <a:cubicBezTo>
                    <a:pt x="3" y="18"/>
                    <a:pt x="2" y="18"/>
                    <a:pt x="1" y="17"/>
                  </a:cubicBezTo>
                  <a:cubicBezTo>
                    <a:pt x="0" y="17"/>
                    <a:pt x="0" y="15"/>
                    <a:pt x="1" y="14"/>
                  </a:cubicBezTo>
                  <a:cubicBezTo>
                    <a:pt x="5" y="9"/>
                    <a:pt x="5" y="9"/>
                    <a:pt x="5" y="9"/>
                  </a:cubicBezTo>
                  <a:lnTo>
                    <a:pt x="1" y="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30" name="íṥliḍê"/>
            <p:cNvSpPr/>
            <p:nvPr/>
          </p:nvSpPr>
          <p:spPr bwMode="auto">
            <a:xfrm>
              <a:off x="4505325" y="2859088"/>
              <a:ext cx="73025" cy="147637"/>
            </a:xfrm>
            <a:custGeom>
              <a:avLst/>
              <a:gdLst>
                <a:gd name="T0" fmla="*/ 5 w 9"/>
                <a:gd name="T1" fmla="*/ 1 h 18"/>
                <a:gd name="T2" fmla="*/ 8 w 9"/>
                <a:gd name="T3" fmla="*/ 1 h 18"/>
                <a:gd name="T4" fmla="*/ 9 w 9"/>
                <a:gd name="T5" fmla="*/ 4 h 18"/>
                <a:gd name="T6" fmla="*/ 4 w 9"/>
                <a:gd name="T7" fmla="*/ 9 h 18"/>
                <a:gd name="T8" fmla="*/ 9 w 9"/>
                <a:gd name="T9" fmla="*/ 14 h 18"/>
                <a:gd name="T10" fmla="*/ 8 w 9"/>
                <a:gd name="T11" fmla="*/ 17 h 18"/>
                <a:gd name="T12" fmla="*/ 5 w 9"/>
                <a:gd name="T13" fmla="*/ 17 h 18"/>
                <a:gd name="T14" fmla="*/ 0 w 9"/>
                <a:gd name="T15" fmla="*/ 10 h 18"/>
                <a:gd name="T16" fmla="*/ 0 w 9"/>
                <a:gd name="T17" fmla="*/ 10 h 18"/>
                <a:gd name="T18" fmla="*/ 0 w 9"/>
                <a:gd name="T19" fmla="*/ 10 h 18"/>
                <a:gd name="T20" fmla="*/ 0 w 9"/>
                <a:gd name="T21" fmla="*/ 10 h 18"/>
                <a:gd name="T22" fmla="*/ 0 w 9"/>
                <a:gd name="T23" fmla="*/ 10 h 18"/>
                <a:gd name="T24" fmla="*/ 0 w 9"/>
                <a:gd name="T25" fmla="*/ 10 h 18"/>
                <a:gd name="T26" fmla="*/ 0 w 9"/>
                <a:gd name="T27" fmla="*/ 10 h 18"/>
                <a:gd name="T28" fmla="*/ 0 w 9"/>
                <a:gd name="T29" fmla="*/ 10 h 18"/>
                <a:gd name="T30" fmla="*/ 0 w 9"/>
                <a:gd name="T31" fmla="*/ 10 h 18"/>
                <a:gd name="T32" fmla="*/ 0 w 9"/>
                <a:gd name="T33" fmla="*/ 10 h 18"/>
                <a:gd name="T34" fmla="*/ 0 w 9"/>
                <a:gd name="T35" fmla="*/ 9 h 18"/>
                <a:gd name="T36" fmla="*/ 0 w 9"/>
                <a:gd name="T37" fmla="*/ 9 h 18"/>
                <a:gd name="T38" fmla="*/ 0 w 9"/>
                <a:gd name="T39" fmla="*/ 9 h 18"/>
                <a:gd name="T40" fmla="*/ 0 w 9"/>
                <a:gd name="T41" fmla="*/ 9 h 18"/>
                <a:gd name="T42" fmla="*/ 0 w 9"/>
                <a:gd name="T43" fmla="*/ 9 h 18"/>
                <a:gd name="T44" fmla="*/ 0 w 9"/>
                <a:gd name="T45" fmla="*/ 9 h 18"/>
                <a:gd name="T46" fmla="*/ 0 w 9"/>
                <a:gd name="T47" fmla="*/ 9 h 18"/>
                <a:gd name="T48" fmla="*/ 0 w 9"/>
                <a:gd name="T49" fmla="*/ 9 h 18"/>
                <a:gd name="T50" fmla="*/ 0 w 9"/>
                <a:gd name="T51" fmla="*/ 8 h 18"/>
                <a:gd name="T52" fmla="*/ 0 w 9"/>
                <a:gd name="T53" fmla="*/ 8 h 18"/>
                <a:gd name="T54" fmla="*/ 0 w 9"/>
                <a:gd name="T55" fmla="*/ 8 h 18"/>
                <a:gd name="T56" fmla="*/ 0 w 9"/>
                <a:gd name="T57" fmla="*/ 8 h 18"/>
                <a:gd name="T58" fmla="*/ 0 w 9"/>
                <a:gd name="T59" fmla="*/ 8 h 18"/>
                <a:gd name="T60" fmla="*/ 0 w 9"/>
                <a:gd name="T61" fmla="*/ 8 h 18"/>
                <a:gd name="T62" fmla="*/ 0 w 9"/>
                <a:gd name="T63" fmla="*/ 8 h 18"/>
                <a:gd name="T64" fmla="*/ 0 w 9"/>
                <a:gd name="T65" fmla="*/ 8 h 18"/>
                <a:gd name="T66" fmla="*/ 0 w 9"/>
                <a:gd name="T67" fmla="*/ 8 h 18"/>
                <a:gd name="T68" fmla="*/ 0 w 9"/>
                <a:gd name="T69" fmla="*/ 8 h 18"/>
                <a:gd name="T70" fmla="*/ 5 w 9"/>
                <a:gd name="T7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 h="18">
                  <a:moveTo>
                    <a:pt x="5" y="1"/>
                  </a:moveTo>
                  <a:cubicBezTo>
                    <a:pt x="6" y="0"/>
                    <a:pt x="7" y="0"/>
                    <a:pt x="8" y="1"/>
                  </a:cubicBezTo>
                  <a:cubicBezTo>
                    <a:pt x="9" y="1"/>
                    <a:pt x="9" y="3"/>
                    <a:pt x="9" y="4"/>
                  </a:cubicBezTo>
                  <a:cubicBezTo>
                    <a:pt x="4" y="9"/>
                    <a:pt x="4" y="9"/>
                    <a:pt x="4" y="9"/>
                  </a:cubicBezTo>
                  <a:cubicBezTo>
                    <a:pt x="9" y="14"/>
                    <a:pt x="9" y="14"/>
                    <a:pt x="9" y="14"/>
                  </a:cubicBezTo>
                  <a:cubicBezTo>
                    <a:pt x="9" y="15"/>
                    <a:pt x="9" y="17"/>
                    <a:pt x="8" y="17"/>
                  </a:cubicBezTo>
                  <a:cubicBezTo>
                    <a:pt x="7" y="18"/>
                    <a:pt x="6" y="18"/>
                    <a:pt x="5" y="17"/>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lnTo>
                    <a:pt x="5" y="1"/>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31" name="ïşḷíḑe"/>
            <p:cNvSpPr/>
            <p:nvPr/>
          </p:nvSpPr>
          <p:spPr bwMode="auto">
            <a:xfrm>
              <a:off x="3284538" y="3595688"/>
              <a:ext cx="2808288" cy="1852612"/>
            </a:xfrm>
            <a:custGeom>
              <a:avLst/>
              <a:gdLst>
                <a:gd name="T0" fmla="*/ 12 w 343"/>
                <a:gd name="T1" fmla="*/ 0 h 226"/>
                <a:gd name="T2" fmla="*/ 331 w 343"/>
                <a:gd name="T3" fmla="*/ 0 h 226"/>
                <a:gd name="T4" fmla="*/ 343 w 343"/>
                <a:gd name="T5" fmla="*/ 12 h 226"/>
                <a:gd name="T6" fmla="*/ 343 w 343"/>
                <a:gd name="T7" fmla="*/ 214 h 226"/>
                <a:gd name="T8" fmla="*/ 331 w 343"/>
                <a:gd name="T9" fmla="*/ 226 h 226"/>
                <a:gd name="T10" fmla="*/ 12 w 343"/>
                <a:gd name="T11" fmla="*/ 226 h 226"/>
                <a:gd name="T12" fmla="*/ 0 w 343"/>
                <a:gd name="T13" fmla="*/ 214 h 226"/>
                <a:gd name="T14" fmla="*/ 0 w 343"/>
                <a:gd name="T15" fmla="*/ 12 h 226"/>
                <a:gd name="T16" fmla="*/ 12 w 343"/>
                <a:gd name="T17"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3" h="226">
                  <a:moveTo>
                    <a:pt x="12" y="0"/>
                  </a:moveTo>
                  <a:cubicBezTo>
                    <a:pt x="331" y="0"/>
                    <a:pt x="331" y="0"/>
                    <a:pt x="331" y="0"/>
                  </a:cubicBezTo>
                  <a:cubicBezTo>
                    <a:pt x="338" y="0"/>
                    <a:pt x="343" y="6"/>
                    <a:pt x="343" y="12"/>
                  </a:cubicBezTo>
                  <a:cubicBezTo>
                    <a:pt x="343" y="214"/>
                    <a:pt x="343" y="214"/>
                    <a:pt x="343" y="214"/>
                  </a:cubicBezTo>
                  <a:cubicBezTo>
                    <a:pt x="343" y="221"/>
                    <a:pt x="338" y="226"/>
                    <a:pt x="331" y="226"/>
                  </a:cubicBezTo>
                  <a:cubicBezTo>
                    <a:pt x="12" y="226"/>
                    <a:pt x="12" y="226"/>
                    <a:pt x="12" y="226"/>
                  </a:cubicBezTo>
                  <a:cubicBezTo>
                    <a:pt x="5" y="226"/>
                    <a:pt x="0" y="221"/>
                    <a:pt x="0" y="214"/>
                  </a:cubicBezTo>
                  <a:cubicBezTo>
                    <a:pt x="0" y="12"/>
                    <a:pt x="0" y="12"/>
                    <a:pt x="0" y="12"/>
                  </a:cubicBezTo>
                  <a:cubicBezTo>
                    <a:pt x="0" y="6"/>
                    <a:pt x="5" y="0"/>
                    <a:pt x="12" y="0"/>
                  </a:cubicBezTo>
                  <a:close/>
                </a:path>
              </a:pathLst>
            </a:custGeom>
            <a:solidFill>
              <a:srgbClr val="4D4D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32" name="ïṡ1îḓe"/>
            <p:cNvSpPr/>
            <p:nvPr/>
          </p:nvSpPr>
          <p:spPr bwMode="auto">
            <a:xfrm>
              <a:off x="3432175" y="3792538"/>
              <a:ext cx="2520950" cy="1352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3" name="iśľîḓè"/>
            <p:cNvSpPr/>
            <p:nvPr/>
          </p:nvSpPr>
          <p:spPr bwMode="auto">
            <a:xfrm>
              <a:off x="4651375" y="3662363"/>
              <a:ext cx="74613" cy="73025"/>
            </a:xfrm>
            <a:prstGeom prst="ellipse">
              <a:avLst/>
            </a:prstGeom>
            <a:solidFill>
              <a:srgbClr val="CCCCC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34" name="íṩ1iḍé"/>
            <p:cNvSpPr/>
            <p:nvPr/>
          </p:nvSpPr>
          <p:spPr bwMode="auto">
            <a:xfrm>
              <a:off x="4627563" y="5226051"/>
              <a:ext cx="122238" cy="123825"/>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5" name="ï$ļiḍè"/>
            <p:cNvSpPr/>
            <p:nvPr/>
          </p:nvSpPr>
          <p:spPr bwMode="auto">
            <a:xfrm>
              <a:off x="2794000" y="5448301"/>
              <a:ext cx="3789363" cy="319087"/>
            </a:xfrm>
            <a:custGeom>
              <a:avLst/>
              <a:gdLst>
                <a:gd name="T0" fmla="*/ 309 w 2387"/>
                <a:gd name="T1" fmla="*/ 0 h 201"/>
                <a:gd name="T2" fmla="*/ 2078 w 2387"/>
                <a:gd name="T3" fmla="*/ 0 h 201"/>
                <a:gd name="T4" fmla="*/ 2387 w 2387"/>
                <a:gd name="T5" fmla="*/ 201 h 201"/>
                <a:gd name="T6" fmla="*/ 0 w 2387"/>
                <a:gd name="T7" fmla="*/ 201 h 201"/>
                <a:gd name="T8" fmla="*/ 309 w 2387"/>
                <a:gd name="T9" fmla="*/ 0 h 201"/>
              </a:gdLst>
              <a:ahLst/>
              <a:cxnLst>
                <a:cxn ang="0">
                  <a:pos x="T0" y="T1"/>
                </a:cxn>
                <a:cxn ang="0">
                  <a:pos x="T2" y="T3"/>
                </a:cxn>
                <a:cxn ang="0">
                  <a:pos x="T4" y="T5"/>
                </a:cxn>
                <a:cxn ang="0">
                  <a:pos x="T6" y="T7"/>
                </a:cxn>
                <a:cxn ang="0">
                  <a:pos x="T8" y="T9"/>
                </a:cxn>
              </a:cxnLst>
              <a:rect l="0" t="0" r="r" b="b"/>
              <a:pathLst>
                <a:path w="2387" h="201">
                  <a:moveTo>
                    <a:pt x="309" y="0"/>
                  </a:moveTo>
                  <a:lnTo>
                    <a:pt x="2078" y="0"/>
                  </a:lnTo>
                  <a:lnTo>
                    <a:pt x="2387" y="201"/>
                  </a:lnTo>
                  <a:lnTo>
                    <a:pt x="0" y="201"/>
                  </a:lnTo>
                  <a:lnTo>
                    <a:pt x="309" y="0"/>
                  </a:lnTo>
                  <a:close/>
                </a:path>
              </a:pathLst>
            </a:custGeom>
            <a:solidFill>
              <a:srgbClr val="4D4D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36" name="îṧlïde"/>
            <p:cNvSpPr/>
            <p:nvPr/>
          </p:nvSpPr>
          <p:spPr bwMode="auto">
            <a:xfrm>
              <a:off x="2794000" y="5767388"/>
              <a:ext cx="3789363" cy="179387"/>
            </a:xfrm>
            <a:custGeom>
              <a:avLst/>
              <a:gdLst>
                <a:gd name="T0" fmla="*/ 0 w 463"/>
                <a:gd name="T1" fmla="*/ 0 h 22"/>
                <a:gd name="T2" fmla="*/ 463 w 463"/>
                <a:gd name="T3" fmla="*/ 0 h 22"/>
                <a:gd name="T4" fmla="*/ 463 w 463"/>
                <a:gd name="T5" fmla="*/ 14 h 22"/>
                <a:gd name="T6" fmla="*/ 454 w 463"/>
                <a:gd name="T7" fmla="*/ 22 h 22"/>
                <a:gd name="T8" fmla="*/ 9 w 463"/>
                <a:gd name="T9" fmla="*/ 22 h 22"/>
                <a:gd name="T10" fmla="*/ 0 w 463"/>
                <a:gd name="T11" fmla="*/ 14 h 22"/>
                <a:gd name="T12" fmla="*/ 0 w 463"/>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63" h="22">
                  <a:moveTo>
                    <a:pt x="0" y="0"/>
                  </a:moveTo>
                  <a:cubicBezTo>
                    <a:pt x="463" y="0"/>
                    <a:pt x="463" y="0"/>
                    <a:pt x="463" y="0"/>
                  </a:cubicBezTo>
                  <a:cubicBezTo>
                    <a:pt x="463" y="14"/>
                    <a:pt x="463" y="14"/>
                    <a:pt x="463" y="14"/>
                  </a:cubicBezTo>
                  <a:cubicBezTo>
                    <a:pt x="463" y="18"/>
                    <a:pt x="459" y="22"/>
                    <a:pt x="454" y="22"/>
                  </a:cubicBezTo>
                  <a:cubicBezTo>
                    <a:pt x="9" y="22"/>
                    <a:pt x="9" y="22"/>
                    <a:pt x="9" y="22"/>
                  </a:cubicBezTo>
                  <a:cubicBezTo>
                    <a:pt x="4" y="22"/>
                    <a:pt x="0" y="18"/>
                    <a:pt x="0" y="14"/>
                  </a:cubicBezTo>
                  <a:lnTo>
                    <a:pt x="0" y="0"/>
                  </a:lnTo>
                  <a:close/>
                </a:path>
              </a:pathLst>
            </a:custGeom>
            <a:solidFill>
              <a:srgbClr val="4D4D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37" name="ïşľíḍê"/>
            <p:cNvSpPr/>
            <p:nvPr/>
          </p:nvSpPr>
          <p:spPr bwMode="auto">
            <a:xfrm>
              <a:off x="4308475" y="5865813"/>
              <a:ext cx="760413" cy="49212"/>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8" name="îṧ1îḓe"/>
            <p:cNvSpPr/>
            <p:nvPr/>
          </p:nvSpPr>
          <p:spPr bwMode="auto">
            <a:xfrm>
              <a:off x="2794000" y="5767388"/>
              <a:ext cx="3789363" cy="57150"/>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39" name="ïŝḷïḓê"/>
            <p:cNvSpPr/>
            <p:nvPr/>
          </p:nvSpPr>
          <p:spPr bwMode="auto">
            <a:xfrm>
              <a:off x="2892425" y="5472113"/>
              <a:ext cx="3543300" cy="269875"/>
            </a:xfrm>
            <a:custGeom>
              <a:avLst/>
              <a:gdLst>
                <a:gd name="T0" fmla="*/ 427 w 433"/>
                <a:gd name="T1" fmla="*/ 27 h 33"/>
                <a:gd name="T2" fmla="*/ 361 w 433"/>
                <a:gd name="T3" fmla="*/ 12 h 33"/>
                <a:gd name="T4" fmla="*/ 361 w 433"/>
                <a:gd name="T5" fmla="*/ 20 h 33"/>
                <a:gd name="T6" fmla="*/ 361 w 433"/>
                <a:gd name="T7" fmla="*/ 8 h 33"/>
                <a:gd name="T8" fmla="*/ 399 w 433"/>
                <a:gd name="T9" fmla="*/ 8 h 33"/>
                <a:gd name="T10" fmla="*/ 361 w 433"/>
                <a:gd name="T11" fmla="*/ 0 h 33"/>
                <a:gd name="T12" fmla="*/ 416 w 433"/>
                <a:gd name="T13" fmla="*/ 20 h 33"/>
                <a:gd name="T14" fmla="*/ 78 w 433"/>
                <a:gd name="T15" fmla="*/ 24 h 33"/>
                <a:gd name="T16" fmla="*/ 211 w 433"/>
                <a:gd name="T17" fmla="*/ 32 h 33"/>
                <a:gd name="T18" fmla="*/ 361 w 433"/>
                <a:gd name="T19" fmla="*/ 0 h 33"/>
                <a:gd name="T20" fmla="*/ 361 w 433"/>
                <a:gd name="T21" fmla="*/ 8 h 33"/>
                <a:gd name="T22" fmla="*/ 331 w 433"/>
                <a:gd name="T23" fmla="*/ 4 h 33"/>
                <a:gd name="T24" fmla="*/ 361 w 433"/>
                <a:gd name="T25" fmla="*/ 12 h 33"/>
                <a:gd name="T26" fmla="*/ 337 w 433"/>
                <a:gd name="T27" fmla="*/ 12 h 33"/>
                <a:gd name="T28" fmla="*/ 350 w 433"/>
                <a:gd name="T29" fmla="*/ 32 h 33"/>
                <a:gd name="T30" fmla="*/ 343 w 433"/>
                <a:gd name="T31" fmla="*/ 23 h 33"/>
                <a:gd name="T32" fmla="*/ 101 w 433"/>
                <a:gd name="T33" fmla="*/ 12 h 33"/>
                <a:gd name="T34" fmla="*/ 78 w 433"/>
                <a:gd name="T35" fmla="*/ 8 h 33"/>
                <a:gd name="T36" fmla="*/ 113 w 433"/>
                <a:gd name="T37" fmla="*/ 0 h 33"/>
                <a:gd name="T38" fmla="*/ 78 w 433"/>
                <a:gd name="T39" fmla="*/ 1 h 33"/>
                <a:gd name="T40" fmla="*/ 223 w 433"/>
                <a:gd name="T41" fmla="*/ 23 h 33"/>
                <a:gd name="T42" fmla="*/ 223 w 433"/>
                <a:gd name="T43" fmla="*/ 32 h 33"/>
                <a:gd name="T44" fmla="*/ 138 w 433"/>
                <a:gd name="T45" fmla="*/ 12 h 33"/>
                <a:gd name="T46" fmla="*/ 106 w 433"/>
                <a:gd name="T47" fmla="*/ 16 h 33"/>
                <a:gd name="T48" fmla="*/ 174 w 433"/>
                <a:gd name="T49" fmla="*/ 16 h 33"/>
                <a:gd name="T50" fmla="*/ 148 w 433"/>
                <a:gd name="T51" fmla="*/ 12 h 33"/>
                <a:gd name="T52" fmla="*/ 213 w 433"/>
                <a:gd name="T53" fmla="*/ 20 h 33"/>
                <a:gd name="T54" fmla="*/ 224 w 433"/>
                <a:gd name="T55" fmla="*/ 12 h 33"/>
                <a:gd name="T56" fmla="*/ 223 w 433"/>
                <a:gd name="T57" fmla="*/ 20 h 33"/>
                <a:gd name="T58" fmla="*/ 290 w 433"/>
                <a:gd name="T59" fmla="*/ 12 h 33"/>
                <a:gd name="T60" fmla="*/ 263 w 433"/>
                <a:gd name="T61" fmla="*/ 16 h 33"/>
                <a:gd name="T62" fmla="*/ 331 w 433"/>
                <a:gd name="T63" fmla="*/ 16 h 33"/>
                <a:gd name="T64" fmla="*/ 300 w 433"/>
                <a:gd name="T65" fmla="*/ 12 h 33"/>
                <a:gd name="T66" fmla="*/ 141 w 433"/>
                <a:gd name="T67" fmla="*/ 8 h 33"/>
                <a:gd name="T68" fmla="*/ 156 w 433"/>
                <a:gd name="T69" fmla="*/ 0 h 33"/>
                <a:gd name="T70" fmla="*/ 150 w 433"/>
                <a:gd name="T71" fmla="*/ 8 h 33"/>
                <a:gd name="T72" fmla="*/ 216 w 433"/>
                <a:gd name="T73" fmla="*/ 0 h 33"/>
                <a:gd name="T74" fmla="*/ 189 w 433"/>
                <a:gd name="T75" fmla="*/ 4 h 33"/>
                <a:gd name="T76" fmla="*/ 251 w 433"/>
                <a:gd name="T77" fmla="*/ 4 h 33"/>
                <a:gd name="T78" fmla="*/ 225 w 433"/>
                <a:gd name="T79" fmla="*/ 0 h 33"/>
                <a:gd name="T80" fmla="*/ 288 w 433"/>
                <a:gd name="T81" fmla="*/ 8 h 33"/>
                <a:gd name="T82" fmla="*/ 293 w 433"/>
                <a:gd name="T83" fmla="*/ 0 h 33"/>
                <a:gd name="T84" fmla="*/ 298 w 433"/>
                <a:gd name="T85" fmla="*/ 8 h 33"/>
                <a:gd name="T86" fmla="*/ 78 w 433"/>
                <a:gd name="T87" fmla="*/ 24 h 33"/>
                <a:gd name="T88" fmla="*/ 78 w 433"/>
                <a:gd name="T89" fmla="*/ 0 h 33"/>
                <a:gd name="T90" fmla="*/ 62 w 433"/>
                <a:gd name="T91" fmla="*/ 8 h 33"/>
                <a:gd name="T92" fmla="*/ 77 w 433"/>
                <a:gd name="T93" fmla="*/ 8 h 33"/>
                <a:gd name="T94" fmla="*/ 78 w 433"/>
                <a:gd name="T95" fmla="*/ 20 h 33"/>
                <a:gd name="T96" fmla="*/ 72 w 433"/>
                <a:gd name="T97" fmla="*/ 12 h 33"/>
                <a:gd name="T98" fmla="*/ 62 w 433"/>
                <a:gd name="T99" fmla="*/ 12 h 33"/>
                <a:gd name="T100" fmla="*/ 0 w 433"/>
                <a:gd name="T101" fmla="*/ 33 h 33"/>
                <a:gd name="T102" fmla="*/ 62 w 433"/>
                <a:gd name="T103" fmla="*/ 8 h 33"/>
                <a:gd name="T104" fmla="*/ 62 w 433"/>
                <a:gd name="T105" fmla="*/ 0 h 33"/>
                <a:gd name="T106" fmla="*/ 51 w 433"/>
                <a:gd name="T107" fmla="*/ 20 h 33"/>
                <a:gd name="T108" fmla="*/ 62 w 433"/>
                <a:gd name="T10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3" h="33">
                  <a:moveTo>
                    <a:pt x="361" y="31"/>
                  </a:moveTo>
                  <a:cubicBezTo>
                    <a:pt x="361" y="23"/>
                    <a:pt x="361" y="23"/>
                    <a:pt x="361" y="23"/>
                  </a:cubicBezTo>
                  <a:cubicBezTo>
                    <a:pt x="421" y="23"/>
                    <a:pt x="421" y="23"/>
                    <a:pt x="421" y="23"/>
                  </a:cubicBezTo>
                  <a:cubicBezTo>
                    <a:pt x="423" y="24"/>
                    <a:pt x="425" y="26"/>
                    <a:pt x="427" y="27"/>
                  </a:cubicBezTo>
                  <a:cubicBezTo>
                    <a:pt x="429" y="29"/>
                    <a:pt x="431" y="30"/>
                    <a:pt x="433" y="31"/>
                  </a:cubicBezTo>
                  <a:cubicBezTo>
                    <a:pt x="361" y="31"/>
                    <a:pt x="361" y="31"/>
                    <a:pt x="361" y="31"/>
                  </a:cubicBezTo>
                  <a:close/>
                  <a:moveTo>
                    <a:pt x="361" y="20"/>
                  </a:moveTo>
                  <a:cubicBezTo>
                    <a:pt x="361" y="12"/>
                    <a:pt x="361" y="12"/>
                    <a:pt x="361" y="12"/>
                  </a:cubicBezTo>
                  <a:cubicBezTo>
                    <a:pt x="366" y="12"/>
                    <a:pt x="366" y="12"/>
                    <a:pt x="366" y="12"/>
                  </a:cubicBezTo>
                  <a:cubicBezTo>
                    <a:pt x="367" y="13"/>
                    <a:pt x="369" y="14"/>
                    <a:pt x="370" y="16"/>
                  </a:cubicBezTo>
                  <a:cubicBezTo>
                    <a:pt x="372" y="17"/>
                    <a:pt x="374" y="18"/>
                    <a:pt x="375" y="20"/>
                  </a:cubicBezTo>
                  <a:cubicBezTo>
                    <a:pt x="361" y="20"/>
                    <a:pt x="361" y="20"/>
                    <a:pt x="361" y="20"/>
                  </a:cubicBezTo>
                  <a:close/>
                  <a:moveTo>
                    <a:pt x="361" y="8"/>
                  </a:moveTo>
                  <a:cubicBezTo>
                    <a:pt x="361" y="8"/>
                    <a:pt x="361" y="8"/>
                    <a:pt x="361" y="8"/>
                  </a:cubicBezTo>
                  <a:cubicBezTo>
                    <a:pt x="362" y="8"/>
                    <a:pt x="362" y="8"/>
                    <a:pt x="362" y="8"/>
                  </a:cubicBezTo>
                  <a:cubicBezTo>
                    <a:pt x="361" y="8"/>
                    <a:pt x="361" y="8"/>
                    <a:pt x="361" y="8"/>
                  </a:cubicBezTo>
                  <a:close/>
                  <a:moveTo>
                    <a:pt x="361" y="0"/>
                  </a:moveTo>
                  <a:cubicBezTo>
                    <a:pt x="363" y="2"/>
                    <a:pt x="365" y="3"/>
                    <a:pt x="366" y="4"/>
                  </a:cubicBezTo>
                  <a:cubicBezTo>
                    <a:pt x="368" y="6"/>
                    <a:pt x="370" y="7"/>
                    <a:pt x="371" y="8"/>
                  </a:cubicBezTo>
                  <a:cubicBezTo>
                    <a:pt x="380" y="8"/>
                    <a:pt x="390" y="8"/>
                    <a:pt x="399" y="8"/>
                  </a:cubicBezTo>
                  <a:cubicBezTo>
                    <a:pt x="397" y="7"/>
                    <a:pt x="395" y="6"/>
                    <a:pt x="393" y="4"/>
                  </a:cubicBezTo>
                  <a:cubicBezTo>
                    <a:pt x="391" y="3"/>
                    <a:pt x="388" y="1"/>
                    <a:pt x="386" y="0"/>
                  </a:cubicBezTo>
                  <a:cubicBezTo>
                    <a:pt x="361" y="0"/>
                    <a:pt x="361" y="0"/>
                    <a:pt x="361" y="0"/>
                  </a:cubicBezTo>
                  <a:cubicBezTo>
                    <a:pt x="361" y="0"/>
                    <a:pt x="361" y="0"/>
                    <a:pt x="361" y="0"/>
                  </a:cubicBezTo>
                  <a:close/>
                  <a:moveTo>
                    <a:pt x="375" y="12"/>
                  </a:moveTo>
                  <a:cubicBezTo>
                    <a:pt x="385" y="12"/>
                    <a:pt x="394" y="12"/>
                    <a:pt x="404" y="11"/>
                  </a:cubicBezTo>
                  <a:cubicBezTo>
                    <a:pt x="406" y="13"/>
                    <a:pt x="408" y="14"/>
                    <a:pt x="410" y="16"/>
                  </a:cubicBezTo>
                  <a:cubicBezTo>
                    <a:pt x="412" y="17"/>
                    <a:pt x="414" y="18"/>
                    <a:pt x="416" y="20"/>
                  </a:cubicBezTo>
                  <a:cubicBezTo>
                    <a:pt x="406" y="20"/>
                    <a:pt x="396" y="20"/>
                    <a:pt x="386" y="20"/>
                  </a:cubicBezTo>
                  <a:cubicBezTo>
                    <a:pt x="384" y="18"/>
                    <a:pt x="382" y="17"/>
                    <a:pt x="381" y="16"/>
                  </a:cubicBezTo>
                  <a:cubicBezTo>
                    <a:pt x="379" y="14"/>
                    <a:pt x="377" y="13"/>
                    <a:pt x="375" y="12"/>
                  </a:cubicBezTo>
                  <a:close/>
                  <a:moveTo>
                    <a:pt x="78" y="24"/>
                  </a:moveTo>
                  <a:cubicBezTo>
                    <a:pt x="113" y="24"/>
                    <a:pt x="113" y="24"/>
                    <a:pt x="113" y="24"/>
                  </a:cubicBezTo>
                  <a:cubicBezTo>
                    <a:pt x="146" y="24"/>
                    <a:pt x="179" y="24"/>
                    <a:pt x="212" y="24"/>
                  </a:cubicBezTo>
                  <a:cubicBezTo>
                    <a:pt x="212" y="25"/>
                    <a:pt x="212" y="26"/>
                    <a:pt x="212" y="28"/>
                  </a:cubicBezTo>
                  <a:cubicBezTo>
                    <a:pt x="212" y="29"/>
                    <a:pt x="211" y="31"/>
                    <a:pt x="211" y="32"/>
                  </a:cubicBezTo>
                  <a:cubicBezTo>
                    <a:pt x="176" y="32"/>
                    <a:pt x="141" y="32"/>
                    <a:pt x="106" y="32"/>
                  </a:cubicBezTo>
                  <a:cubicBezTo>
                    <a:pt x="78" y="32"/>
                    <a:pt x="78" y="32"/>
                    <a:pt x="78" y="32"/>
                  </a:cubicBezTo>
                  <a:cubicBezTo>
                    <a:pt x="78" y="24"/>
                    <a:pt x="78" y="24"/>
                    <a:pt x="78" y="24"/>
                  </a:cubicBezTo>
                  <a:close/>
                  <a:moveTo>
                    <a:pt x="361" y="0"/>
                  </a:moveTo>
                  <a:cubicBezTo>
                    <a:pt x="361" y="0"/>
                    <a:pt x="361" y="0"/>
                    <a:pt x="361" y="0"/>
                  </a:cubicBezTo>
                  <a:cubicBezTo>
                    <a:pt x="361" y="0"/>
                    <a:pt x="361" y="0"/>
                    <a:pt x="361" y="0"/>
                  </a:cubicBezTo>
                  <a:cubicBezTo>
                    <a:pt x="361" y="0"/>
                    <a:pt x="361" y="0"/>
                    <a:pt x="361" y="0"/>
                  </a:cubicBezTo>
                  <a:close/>
                  <a:moveTo>
                    <a:pt x="361" y="8"/>
                  </a:moveTo>
                  <a:cubicBezTo>
                    <a:pt x="360" y="7"/>
                    <a:pt x="359" y="5"/>
                    <a:pt x="357" y="4"/>
                  </a:cubicBezTo>
                  <a:cubicBezTo>
                    <a:pt x="356" y="3"/>
                    <a:pt x="354" y="1"/>
                    <a:pt x="352" y="0"/>
                  </a:cubicBezTo>
                  <a:cubicBezTo>
                    <a:pt x="344" y="0"/>
                    <a:pt x="335" y="0"/>
                    <a:pt x="327" y="0"/>
                  </a:cubicBezTo>
                  <a:cubicBezTo>
                    <a:pt x="328" y="1"/>
                    <a:pt x="329" y="3"/>
                    <a:pt x="331" y="4"/>
                  </a:cubicBezTo>
                  <a:cubicBezTo>
                    <a:pt x="332" y="6"/>
                    <a:pt x="333" y="7"/>
                    <a:pt x="335" y="8"/>
                  </a:cubicBezTo>
                  <a:cubicBezTo>
                    <a:pt x="361" y="8"/>
                    <a:pt x="361" y="8"/>
                    <a:pt x="361" y="8"/>
                  </a:cubicBezTo>
                  <a:cubicBezTo>
                    <a:pt x="361" y="8"/>
                    <a:pt x="361" y="8"/>
                    <a:pt x="361" y="8"/>
                  </a:cubicBezTo>
                  <a:close/>
                  <a:moveTo>
                    <a:pt x="361" y="12"/>
                  </a:moveTo>
                  <a:cubicBezTo>
                    <a:pt x="361" y="20"/>
                    <a:pt x="361" y="20"/>
                    <a:pt x="361" y="20"/>
                  </a:cubicBezTo>
                  <a:cubicBezTo>
                    <a:pt x="345" y="20"/>
                    <a:pt x="345" y="20"/>
                    <a:pt x="345" y="20"/>
                  </a:cubicBezTo>
                  <a:cubicBezTo>
                    <a:pt x="344" y="18"/>
                    <a:pt x="343" y="17"/>
                    <a:pt x="341" y="16"/>
                  </a:cubicBezTo>
                  <a:cubicBezTo>
                    <a:pt x="340" y="14"/>
                    <a:pt x="339" y="13"/>
                    <a:pt x="337" y="12"/>
                  </a:cubicBezTo>
                  <a:cubicBezTo>
                    <a:pt x="361" y="12"/>
                    <a:pt x="361" y="12"/>
                    <a:pt x="361" y="12"/>
                  </a:cubicBezTo>
                  <a:close/>
                  <a:moveTo>
                    <a:pt x="361" y="23"/>
                  </a:moveTo>
                  <a:cubicBezTo>
                    <a:pt x="361" y="31"/>
                    <a:pt x="361" y="31"/>
                    <a:pt x="361" y="31"/>
                  </a:cubicBezTo>
                  <a:cubicBezTo>
                    <a:pt x="350" y="32"/>
                    <a:pt x="350" y="32"/>
                    <a:pt x="350" y="32"/>
                  </a:cubicBezTo>
                  <a:cubicBezTo>
                    <a:pt x="322" y="32"/>
                    <a:pt x="295" y="32"/>
                    <a:pt x="267" y="32"/>
                  </a:cubicBezTo>
                  <a:cubicBezTo>
                    <a:pt x="267" y="30"/>
                    <a:pt x="266" y="29"/>
                    <a:pt x="266" y="28"/>
                  </a:cubicBezTo>
                  <a:cubicBezTo>
                    <a:pt x="266" y="26"/>
                    <a:pt x="265" y="25"/>
                    <a:pt x="265" y="23"/>
                  </a:cubicBezTo>
                  <a:cubicBezTo>
                    <a:pt x="291" y="23"/>
                    <a:pt x="317" y="23"/>
                    <a:pt x="343" y="23"/>
                  </a:cubicBezTo>
                  <a:cubicBezTo>
                    <a:pt x="361" y="23"/>
                    <a:pt x="361" y="23"/>
                    <a:pt x="361" y="23"/>
                  </a:cubicBezTo>
                  <a:close/>
                  <a:moveTo>
                    <a:pt x="78" y="20"/>
                  </a:moveTo>
                  <a:cubicBezTo>
                    <a:pt x="78" y="12"/>
                    <a:pt x="78" y="12"/>
                    <a:pt x="78" y="12"/>
                  </a:cubicBezTo>
                  <a:cubicBezTo>
                    <a:pt x="101" y="12"/>
                    <a:pt x="101" y="12"/>
                    <a:pt x="101" y="12"/>
                  </a:cubicBezTo>
                  <a:cubicBezTo>
                    <a:pt x="99" y="13"/>
                    <a:pt x="97" y="15"/>
                    <a:pt x="96" y="16"/>
                  </a:cubicBezTo>
                  <a:cubicBezTo>
                    <a:pt x="94" y="17"/>
                    <a:pt x="93" y="19"/>
                    <a:pt x="91" y="20"/>
                  </a:cubicBezTo>
                  <a:cubicBezTo>
                    <a:pt x="78" y="20"/>
                    <a:pt x="78" y="20"/>
                    <a:pt x="78" y="20"/>
                  </a:cubicBezTo>
                  <a:close/>
                  <a:moveTo>
                    <a:pt x="78" y="8"/>
                  </a:moveTo>
                  <a:cubicBezTo>
                    <a:pt x="78" y="7"/>
                    <a:pt x="78" y="7"/>
                    <a:pt x="78" y="7"/>
                  </a:cubicBezTo>
                  <a:cubicBezTo>
                    <a:pt x="80" y="6"/>
                    <a:pt x="81" y="5"/>
                    <a:pt x="82" y="4"/>
                  </a:cubicBezTo>
                  <a:cubicBezTo>
                    <a:pt x="84" y="3"/>
                    <a:pt x="86" y="1"/>
                    <a:pt x="88" y="0"/>
                  </a:cubicBezTo>
                  <a:cubicBezTo>
                    <a:pt x="97" y="0"/>
                    <a:pt x="105" y="0"/>
                    <a:pt x="113" y="0"/>
                  </a:cubicBezTo>
                  <a:cubicBezTo>
                    <a:pt x="112" y="1"/>
                    <a:pt x="110" y="3"/>
                    <a:pt x="109" y="4"/>
                  </a:cubicBezTo>
                  <a:cubicBezTo>
                    <a:pt x="107" y="5"/>
                    <a:pt x="106" y="7"/>
                    <a:pt x="104" y="8"/>
                  </a:cubicBezTo>
                  <a:cubicBezTo>
                    <a:pt x="78" y="8"/>
                    <a:pt x="78" y="8"/>
                    <a:pt x="78" y="8"/>
                  </a:cubicBezTo>
                  <a:close/>
                  <a:moveTo>
                    <a:pt x="78" y="1"/>
                  </a:moveTo>
                  <a:cubicBezTo>
                    <a:pt x="79" y="0"/>
                    <a:pt x="79" y="0"/>
                    <a:pt x="79" y="0"/>
                  </a:cubicBezTo>
                  <a:cubicBezTo>
                    <a:pt x="78" y="0"/>
                    <a:pt x="78" y="0"/>
                    <a:pt x="78" y="0"/>
                  </a:cubicBezTo>
                  <a:cubicBezTo>
                    <a:pt x="78" y="1"/>
                    <a:pt x="78" y="1"/>
                    <a:pt x="78" y="1"/>
                  </a:cubicBezTo>
                  <a:close/>
                  <a:moveTo>
                    <a:pt x="223" y="23"/>
                  </a:moveTo>
                  <a:cubicBezTo>
                    <a:pt x="233" y="23"/>
                    <a:pt x="244" y="23"/>
                    <a:pt x="254" y="23"/>
                  </a:cubicBezTo>
                  <a:cubicBezTo>
                    <a:pt x="254" y="25"/>
                    <a:pt x="255" y="26"/>
                    <a:pt x="255" y="28"/>
                  </a:cubicBezTo>
                  <a:cubicBezTo>
                    <a:pt x="255" y="29"/>
                    <a:pt x="255" y="30"/>
                    <a:pt x="256" y="32"/>
                  </a:cubicBezTo>
                  <a:cubicBezTo>
                    <a:pt x="245" y="32"/>
                    <a:pt x="234" y="32"/>
                    <a:pt x="223" y="32"/>
                  </a:cubicBezTo>
                  <a:cubicBezTo>
                    <a:pt x="223" y="31"/>
                    <a:pt x="223" y="29"/>
                    <a:pt x="223" y="28"/>
                  </a:cubicBezTo>
                  <a:cubicBezTo>
                    <a:pt x="223" y="26"/>
                    <a:pt x="223" y="25"/>
                    <a:pt x="223" y="23"/>
                  </a:cubicBezTo>
                  <a:close/>
                  <a:moveTo>
                    <a:pt x="110" y="12"/>
                  </a:moveTo>
                  <a:cubicBezTo>
                    <a:pt x="120" y="12"/>
                    <a:pt x="129" y="12"/>
                    <a:pt x="138" y="12"/>
                  </a:cubicBezTo>
                  <a:cubicBezTo>
                    <a:pt x="137" y="13"/>
                    <a:pt x="136" y="14"/>
                    <a:pt x="135" y="16"/>
                  </a:cubicBezTo>
                  <a:cubicBezTo>
                    <a:pt x="134" y="17"/>
                    <a:pt x="133" y="19"/>
                    <a:pt x="132" y="20"/>
                  </a:cubicBezTo>
                  <a:cubicBezTo>
                    <a:pt x="122" y="20"/>
                    <a:pt x="112" y="20"/>
                    <a:pt x="102" y="20"/>
                  </a:cubicBezTo>
                  <a:cubicBezTo>
                    <a:pt x="103" y="19"/>
                    <a:pt x="104" y="17"/>
                    <a:pt x="106" y="16"/>
                  </a:cubicBezTo>
                  <a:cubicBezTo>
                    <a:pt x="107" y="15"/>
                    <a:pt x="109" y="13"/>
                    <a:pt x="110" y="12"/>
                  </a:cubicBezTo>
                  <a:close/>
                  <a:moveTo>
                    <a:pt x="148" y="12"/>
                  </a:moveTo>
                  <a:cubicBezTo>
                    <a:pt x="157" y="12"/>
                    <a:pt x="167" y="12"/>
                    <a:pt x="176" y="12"/>
                  </a:cubicBezTo>
                  <a:cubicBezTo>
                    <a:pt x="176" y="13"/>
                    <a:pt x="175" y="14"/>
                    <a:pt x="174" y="16"/>
                  </a:cubicBezTo>
                  <a:cubicBezTo>
                    <a:pt x="174" y="17"/>
                    <a:pt x="173" y="19"/>
                    <a:pt x="172" y="20"/>
                  </a:cubicBezTo>
                  <a:cubicBezTo>
                    <a:pt x="162" y="20"/>
                    <a:pt x="152" y="20"/>
                    <a:pt x="142" y="20"/>
                  </a:cubicBezTo>
                  <a:cubicBezTo>
                    <a:pt x="143" y="19"/>
                    <a:pt x="144" y="17"/>
                    <a:pt x="145" y="16"/>
                  </a:cubicBezTo>
                  <a:cubicBezTo>
                    <a:pt x="146" y="14"/>
                    <a:pt x="147" y="13"/>
                    <a:pt x="148" y="12"/>
                  </a:cubicBezTo>
                  <a:close/>
                  <a:moveTo>
                    <a:pt x="186" y="12"/>
                  </a:moveTo>
                  <a:cubicBezTo>
                    <a:pt x="195" y="12"/>
                    <a:pt x="205" y="12"/>
                    <a:pt x="214" y="12"/>
                  </a:cubicBezTo>
                  <a:cubicBezTo>
                    <a:pt x="214" y="13"/>
                    <a:pt x="214" y="14"/>
                    <a:pt x="214" y="16"/>
                  </a:cubicBezTo>
                  <a:cubicBezTo>
                    <a:pt x="213" y="17"/>
                    <a:pt x="213" y="19"/>
                    <a:pt x="213" y="20"/>
                  </a:cubicBezTo>
                  <a:cubicBezTo>
                    <a:pt x="203" y="20"/>
                    <a:pt x="193" y="20"/>
                    <a:pt x="183" y="20"/>
                  </a:cubicBezTo>
                  <a:cubicBezTo>
                    <a:pt x="183" y="19"/>
                    <a:pt x="184" y="17"/>
                    <a:pt x="184" y="16"/>
                  </a:cubicBezTo>
                  <a:cubicBezTo>
                    <a:pt x="185" y="14"/>
                    <a:pt x="185" y="13"/>
                    <a:pt x="186" y="12"/>
                  </a:cubicBezTo>
                  <a:close/>
                  <a:moveTo>
                    <a:pt x="224" y="12"/>
                  </a:moveTo>
                  <a:cubicBezTo>
                    <a:pt x="233" y="12"/>
                    <a:pt x="243" y="12"/>
                    <a:pt x="252" y="12"/>
                  </a:cubicBezTo>
                  <a:cubicBezTo>
                    <a:pt x="252" y="13"/>
                    <a:pt x="252" y="14"/>
                    <a:pt x="253" y="16"/>
                  </a:cubicBezTo>
                  <a:cubicBezTo>
                    <a:pt x="253" y="17"/>
                    <a:pt x="253" y="19"/>
                    <a:pt x="253" y="20"/>
                  </a:cubicBezTo>
                  <a:cubicBezTo>
                    <a:pt x="243" y="20"/>
                    <a:pt x="233" y="20"/>
                    <a:pt x="223" y="20"/>
                  </a:cubicBezTo>
                  <a:cubicBezTo>
                    <a:pt x="223" y="19"/>
                    <a:pt x="224" y="17"/>
                    <a:pt x="224" y="16"/>
                  </a:cubicBezTo>
                  <a:cubicBezTo>
                    <a:pt x="224" y="14"/>
                    <a:pt x="224" y="13"/>
                    <a:pt x="224" y="12"/>
                  </a:cubicBezTo>
                  <a:close/>
                  <a:moveTo>
                    <a:pt x="262" y="12"/>
                  </a:moveTo>
                  <a:cubicBezTo>
                    <a:pt x="271" y="12"/>
                    <a:pt x="280" y="12"/>
                    <a:pt x="290" y="12"/>
                  </a:cubicBezTo>
                  <a:cubicBezTo>
                    <a:pt x="291" y="13"/>
                    <a:pt x="291" y="14"/>
                    <a:pt x="292" y="16"/>
                  </a:cubicBezTo>
                  <a:cubicBezTo>
                    <a:pt x="293" y="17"/>
                    <a:pt x="293" y="19"/>
                    <a:pt x="294" y="20"/>
                  </a:cubicBezTo>
                  <a:cubicBezTo>
                    <a:pt x="284" y="20"/>
                    <a:pt x="274" y="20"/>
                    <a:pt x="264" y="20"/>
                  </a:cubicBezTo>
                  <a:cubicBezTo>
                    <a:pt x="264" y="19"/>
                    <a:pt x="263" y="17"/>
                    <a:pt x="263" y="16"/>
                  </a:cubicBezTo>
                  <a:cubicBezTo>
                    <a:pt x="262" y="14"/>
                    <a:pt x="262" y="13"/>
                    <a:pt x="262" y="12"/>
                  </a:cubicBezTo>
                  <a:close/>
                  <a:moveTo>
                    <a:pt x="300" y="12"/>
                  </a:moveTo>
                  <a:cubicBezTo>
                    <a:pt x="309" y="12"/>
                    <a:pt x="318" y="12"/>
                    <a:pt x="328" y="12"/>
                  </a:cubicBezTo>
                  <a:cubicBezTo>
                    <a:pt x="329" y="13"/>
                    <a:pt x="330" y="14"/>
                    <a:pt x="331" y="16"/>
                  </a:cubicBezTo>
                  <a:cubicBezTo>
                    <a:pt x="332" y="17"/>
                    <a:pt x="334" y="18"/>
                    <a:pt x="335" y="20"/>
                  </a:cubicBezTo>
                  <a:cubicBezTo>
                    <a:pt x="325" y="20"/>
                    <a:pt x="315" y="20"/>
                    <a:pt x="304" y="20"/>
                  </a:cubicBezTo>
                  <a:cubicBezTo>
                    <a:pt x="304" y="18"/>
                    <a:pt x="303" y="17"/>
                    <a:pt x="302" y="16"/>
                  </a:cubicBezTo>
                  <a:cubicBezTo>
                    <a:pt x="301" y="14"/>
                    <a:pt x="300" y="13"/>
                    <a:pt x="300" y="12"/>
                  </a:cubicBezTo>
                  <a:close/>
                  <a:moveTo>
                    <a:pt x="122" y="0"/>
                  </a:moveTo>
                  <a:cubicBezTo>
                    <a:pt x="131" y="0"/>
                    <a:pt x="139" y="0"/>
                    <a:pt x="148" y="0"/>
                  </a:cubicBezTo>
                  <a:cubicBezTo>
                    <a:pt x="147" y="1"/>
                    <a:pt x="145" y="3"/>
                    <a:pt x="144" y="4"/>
                  </a:cubicBezTo>
                  <a:cubicBezTo>
                    <a:pt x="143" y="6"/>
                    <a:pt x="142" y="7"/>
                    <a:pt x="141" y="8"/>
                  </a:cubicBezTo>
                  <a:cubicBezTo>
                    <a:pt x="132" y="8"/>
                    <a:pt x="123" y="8"/>
                    <a:pt x="114" y="8"/>
                  </a:cubicBezTo>
                  <a:cubicBezTo>
                    <a:pt x="115" y="7"/>
                    <a:pt x="116" y="6"/>
                    <a:pt x="118" y="4"/>
                  </a:cubicBezTo>
                  <a:cubicBezTo>
                    <a:pt x="119" y="3"/>
                    <a:pt x="121" y="1"/>
                    <a:pt x="122" y="0"/>
                  </a:cubicBezTo>
                  <a:close/>
                  <a:moveTo>
                    <a:pt x="156" y="0"/>
                  </a:moveTo>
                  <a:cubicBezTo>
                    <a:pt x="165" y="0"/>
                    <a:pt x="173" y="0"/>
                    <a:pt x="182" y="0"/>
                  </a:cubicBezTo>
                  <a:cubicBezTo>
                    <a:pt x="181" y="1"/>
                    <a:pt x="180" y="3"/>
                    <a:pt x="180" y="4"/>
                  </a:cubicBezTo>
                  <a:cubicBezTo>
                    <a:pt x="179" y="6"/>
                    <a:pt x="178" y="7"/>
                    <a:pt x="178" y="8"/>
                  </a:cubicBezTo>
                  <a:cubicBezTo>
                    <a:pt x="169" y="8"/>
                    <a:pt x="159" y="8"/>
                    <a:pt x="150" y="8"/>
                  </a:cubicBezTo>
                  <a:cubicBezTo>
                    <a:pt x="151" y="7"/>
                    <a:pt x="152" y="6"/>
                    <a:pt x="153" y="4"/>
                  </a:cubicBezTo>
                  <a:cubicBezTo>
                    <a:pt x="154" y="3"/>
                    <a:pt x="155" y="1"/>
                    <a:pt x="156" y="0"/>
                  </a:cubicBezTo>
                  <a:close/>
                  <a:moveTo>
                    <a:pt x="190" y="0"/>
                  </a:moveTo>
                  <a:cubicBezTo>
                    <a:pt x="199" y="0"/>
                    <a:pt x="207" y="0"/>
                    <a:pt x="216" y="0"/>
                  </a:cubicBezTo>
                  <a:cubicBezTo>
                    <a:pt x="216" y="1"/>
                    <a:pt x="215" y="3"/>
                    <a:pt x="215" y="4"/>
                  </a:cubicBezTo>
                  <a:cubicBezTo>
                    <a:pt x="215" y="6"/>
                    <a:pt x="215" y="7"/>
                    <a:pt x="215" y="8"/>
                  </a:cubicBezTo>
                  <a:cubicBezTo>
                    <a:pt x="205" y="8"/>
                    <a:pt x="196" y="8"/>
                    <a:pt x="187" y="8"/>
                  </a:cubicBezTo>
                  <a:cubicBezTo>
                    <a:pt x="188" y="7"/>
                    <a:pt x="188" y="6"/>
                    <a:pt x="189" y="4"/>
                  </a:cubicBezTo>
                  <a:cubicBezTo>
                    <a:pt x="189" y="3"/>
                    <a:pt x="190" y="1"/>
                    <a:pt x="190" y="0"/>
                  </a:cubicBezTo>
                  <a:close/>
                  <a:moveTo>
                    <a:pt x="225" y="0"/>
                  </a:moveTo>
                  <a:cubicBezTo>
                    <a:pt x="233" y="0"/>
                    <a:pt x="241" y="0"/>
                    <a:pt x="250" y="0"/>
                  </a:cubicBezTo>
                  <a:cubicBezTo>
                    <a:pt x="250" y="1"/>
                    <a:pt x="250" y="3"/>
                    <a:pt x="251" y="4"/>
                  </a:cubicBezTo>
                  <a:cubicBezTo>
                    <a:pt x="251" y="6"/>
                    <a:pt x="251" y="7"/>
                    <a:pt x="251" y="8"/>
                  </a:cubicBezTo>
                  <a:cubicBezTo>
                    <a:pt x="242" y="8"/>
                    <a:pt x="233" y="8"/>
                    <a:pt x="224" y="8"/>
                  </a:cubicBezTo>
                  <a:cubicBezTo>
                    <a:pt x="224" y="7"/>
                    <a:pt x="224" y="6"/>
                    <a:pt x="224" y="4"/>
                  </a:cubicBezTo>
                  <a:cubicBezTo>
                    <a:pt x="224" y="3"/>
                    <a:pt x="224" y="1"/>
                    <a:pt x="225" y="0"/>
                  </a:cubicBezTo>
                  <a:close/>
                  <a:moveTo>
                    <a:pt x="259" y="0"/>
                  </a:moveTo>
                  <a:cubicBezTo>
                    <a:pt x="267" y="0"/>
                    <a:pt x="276" y="0"/>
                    <a:pt x="284" y="0"/>
                  </a:cubicBezTo>
                  <a:cubicBezTo>
                    <a:pt x="285" y="1"/>
                    <a:pt x="285" y="3"/>
                    <a:pt x="286" y="4"/>
                  </a:cubicBezTo>
                  <a:cubicBezTo>
                    <a:pt x="287" y="6"/>
                    <a:pt x="288" y="7"/>
                    <a:pt x="288" y="8"/>
                  </a:cubicBezTo>
                  <a:cubicBezTo>
                    <a:pt x="279" y="8"/>
                    <a:pt x="270" y="8"/>
                    <a:pt x="261" y="8"/>
                  </a:cubicBezTo>
                  <a:cubicBezTo>
                    <a:pt x="260" y="7"/>
                    <a:pt x="260" y="6"/>
                    <a:pt x="260" y="4"/>
                  </a:cubicBezTo>
                  <a:cubicBezTo>
                    <a:pt x="259" y="3"/>
                    <a:pt x="259" y="1"/>
                    <a:pt x="259" y="0"/>
                  </a:cubicBezTo>
                  <a:close/>
                  <a:moveTo>
                    <a:pt x="293" y="0"/>
                  </a:moveTo>
                  <a:cubicBezTo>
                    <a:pt x="301" y="0"/>
                    <a:pt x="310" y="0"/>
                    <a:pt x="318" y="0"/>
                  </a:cubicBezTo>
                  <a:cubicBezTo>
                    <a:pt x="319" y="1"/>
                    <a:pt x="320" y="3"/>
                    <a:pt x="322" y="4"/>
                  </a:cubicBezTo>
                  <a:cubicBezTo>
                    <a:pt x="323" y="6"/>
                    <a:pt x="324" y="7"/>
                    <a:pt x="325" y="8"/>
                  </a:cubicBezTo>
                  <a:cubicBezTo>
                    <a:pt x="316" y="8"/>
                    <a:pt x="307" y="8"/>
                    <a:pt x="298" y="8"/>
                  </a:cubicBezTo>
                  <a:cubicBezTo>
                    <a:pt x="297" y="7"/>
                    <a:pt x="296" y="6"/>
                    <a:pt x="295" y="4"/>
                  </a:cubicBezTo>
                  <a:cubicBezTo>
                    <a:pt x="294" y="3"/>
                    <a:pt x="294" y="1"/>
                    <a:pt x="293" y="0"/>
                  </a:cubicBezTo>
                  <a:close/>
                  <a:moveTo>
                    <a:pt x="62" y="24"/>
                  </a:moveTo>
                  <a:cubicBezTo>
                    <a:pt x="78" y="24"/>
                    <a:pt x="78" y="24"/>
                    <a:pt x="78" y="24"/>
                  </a:cubicBezTo>
                  <a:cubicBezTo>
                    <a:pt x="78" y="32"/>
                    <a:pt x="78" y="32"/>
                    <a:pt x="78" y="32"/>
                  </a:cubicBezTo>
                  <a:cubicBezTo>
                    <a:pt x="62" y="32"/>
                    <a:pt x="62" y="32"/>
                    <a:pt x="62" y="32"/>
                  </a:cubicBezTo>
                  <a:cubicBezTo>
                    <a:pt x="62" y="24"/>
                    <a:pt x="62" y="24"/>
                    <a:pt x="62" y="24"/>
                  </a:cubicBezTo>
                  <a:close/>
                  <a:moveTo>
                    <a:pt x="78" y="0"/>
                  </a:moveTo>
                  <a:cubicBezTo>
                    <a:pt x="78" y="1"/>
                    <a:pt x="78" y="1"/>
                    <a:pt x="78" y="1"/>
                  </a:cubicBezTo>
                  <a:cubicBezTo>
                    <a:pt x="76" y="2"/>
                    <a:pt x="75" y="3"/>
                    <a:pt x="73" y="4"/>
                  </a:cubicBezTo>
                  <a:cubicBezTo>
                    <a:pt x="71" y="5"/>
                    <a:pt x="69" y="7"/>
                    <a:pt x="67" y="8"/>
                  </a:cubicBezTo>
                  <a:cubicBezTo>
                    <a:pt x="62" y="8"/>
                    <a:pt x="62" y="8"/>
                    <a:pt x="62" y="8"/>
                  </a:cubicBezTo>
                  <a:cubicBezTo>
                    <a:pt x="62" y="0"/>
                    <a:pt x="62" y="0"/>
                    <a:pt x="62" y="0"/>
                  </a:cubicBezTo>
                  <a:cubicBezTo>
                    <a:pt x="78" y="0"/>
                    <a:pt x="78" y="0"/>
                    <a:pt x="78" y="0"/>
                  </a:cubicBezTo>
                  <a:close/>
                  <a:moveTo>
                    <a:pt x="78" y="7"/>
                  </a:moveTo>
                  <a:cubicBezTo>
                    <a:pt x="77" y="8"/>
                    <a:pt x="77" y="8"/>
                    <a:pt x="77" y="8"/>
                  </a:cubicBezTo>
                  <a:cubicBezTo>
                    <a:pt x="78" y="8"/>
                    <a:pt x="78" y="8"/>
                    <a:pt x="78" y="8"/>
                  </a:cubicBezTo>
                  <a:cubicBezTo>
                    <a:pt x="78" y="7"/>
                    <a:pt x="78" y="7"/>
                    <a:pt x="78" y="7"/>
                  </a:cubicBezTo>
                  <a:close/>
                  <a:moveTo>
                    <a:pt x="78" y="12"/>
                  </a:moveTo>
                  <a:cubicBezTo>
                    <a:pt x="78" y="20"/>
                    <a:pt x="78" y="20"/>
                    <a:pt x="78" y="20"/>
                  </a:cubicBezTo>
                  <a:cubicBezTo>
                    <a:pt x="62" y="20"/>
                    <a:pt x="62" y="20"/>
                    <a:pt x="62" y="20"/>
                  </a:cubicBezTo>
                  <a:cubicBezTo>
                    <a:pt x="62" y="20"/>
                    <a:pt x="62" y="20"/>
                    <a:pt x="62" y="20"/>
                  </a:cubicBezTo>
                  <a:cubicBezTo>
                    <a:pt x="63" y="18"/>
                    <a:pt x="65" y="17"/>
                    <a:pt x="67" y="16"/>
                  </a:cubicBezTo>
                  <a:cubicBezTo>
                    <a:pt x="69" y="15"/>
                    <a:pt x="70" y="13"/>
                    <a:pt x="72" y="12"/>
                  </a:cubicBezTo>
                  <a:cubicBezTo>
                    <a:pt x="78" y="12"/>
                    <a:pt x="78" y="12"/>
                    <a:pt x="78" y="12"/>
                  </a:cubicBezTo>
                  <a:close/>
                  <a:moveTo>
                    <a:pt x="62" y="12"/>
                  </a:moveTo>
                  <a:cubicBezTo>
                    <a:pt x="63" y="12"/>
                    <a:pt x="63" y="12"/>
                    <a:pt x="63" y="12"/>
                  </a:cubicBezTo>
                  <a:cubicBezTo>
                    <a:pt x="62" y="12"/>
                    <a:pt x="62" y="12"/>
                    <a:pt x="62" y="12"/>
                  </a:cubicBezTo>
                  <a:close/>
                  <a:moveTo>
                    <a:pt x="15" y="24"/>
                  </a:moveTo>
                  <a:cubicBezTo>
                    <a:pt x="62" y="24"/>
                    <a:pt x="62" y="24"/>
                    <a:pt x="62" y="24"/>
                  </a:cubicBezTo>
                  <a:cubicBezTo>
                    <a:pt x="62" y="32"/>
                    <a:pt x="62" y="32"/>
                    <a:pt x="62" y="32"/>
                  </a:cubicBezTo>
                  <a:cubicBezTo>
                    <a:pt x="0" y="33"/>
                    <a:pt x="0" y="33"/>
                    <a:pt x="0" y="33"/>
                  </a:cubicBezTo>
                  <a:cubicBezTo>
                    <a:pt x="3" y="31"/>
                    <a:pt x="5" y="30"/>
                    <a:pt x="8" y="28"/>
                  </a:cubicBezTo>
                  <a:cubicBezTo>
                    <a:pt x="10" y="27"/>
                    <a:pt x="12" y="25"/>
                    <a:pt x="15" y="24"/>
                  </a:cubicBezTo>
                  <a:close/>
                  <a:moveTo>
                    <a:pt x="62" y="0"/>
                  </a:moveTo>
                  <a:cubicBezTo>
                    <a:pt x="62" y="8"/>
                    <a:pt x="62" y="8"/>
                    <a:pt x="62" y="8"/>
                  </a:cubicBezTo>
                  <a:cubicBezTo>
                    <a:pt x="40" y="8"/>
                    <a:pt x="40" y="8"/>
                    <a:pt x="40" y="8"/>
                  </a:cubicBezTo>
                  <a:cubicBezTo>
                    <a:pt x="42" y="7"/>
                    <a:pt x="45" y="5"/>
                    <a:pt x="47" y="4"/>
                  </a:cubicBezTo>
                  <a:cubicBezTo>
                    <a:pt x="49" y="3"/>
                    <a:pt x="52" y="1"/>
                    <a:pt x="54" y="0"/>
                  </a:cubicBezTo>
                  <a:cubicBezTo>
                    <a:pt x="62" y="0"/>
                    <a:pt x="62" y="0"/>
                    <a:pt x="62" y="0"/>
                  </a:cubicBezTo>
                  <a:close/>
                  <a:moveTo>
                    <a:pt x="62" y="12"/>
                  </a:moveTo>
                  <a:cubicBezTo>
                    <a:pt x="62" y="12"/>
                    <a:pt x="62" y="12"/>
                    <a:pt x="62" y="12"/>
                  </a:cubicBezTo>
                  <a:cubicBezTo>
                    <a:pt x="60" y="14"/>
                    <a:pt x="58" y="15"/>
                    <a:pt x="57" y="16"/>
                  </a:cubicBezTo>
                  <a:cubicBezTo>
                    <a:pt x="55" y="17"/>
                    <a:pt x="53" y="19"/>
                    <a:pt x="51" y="20"/>
                  </a:cubicBezTo>
                  <a:cubicBezTo>
                    <a:pt x="40" y="20"/>
                    <a:pt x="30" y="20"/>
                    <a:pt x="20" y="20"/>
                  </a:cubicBezTo>
                  <a:cubicBezTo>
                    <a:pt x="23" y="19"/>
                    <a:pt x="25" y="17"/>
                    <a:pt x="27" y="16"/>
                  </a:cubicBezTo>
                  <a:cubicBezTo>
                    <a:pt x="30" y="15"/>
                    <a:pt x="32" y="13"/>
                    <a:pt x="35" y="12"/>
                  </a:cubicBezTo>
                  <a:cubicBezTo>
                    <a:pt x="62" y="12"/>
                    <a:pt x="62" y="12"/>
                    <a:pt x="62" y="12"/>
                  </a:cubicBezTo>
                  <a:close/>
                  <a:moveTo>
                    <a:pt x="62" y="20"/>
                  </a:moveTo>
                  <a:cubicBezTo>
                    <a:pt x="61" y="20"/>
                    <a:pt x="61" y="20"/>
                    <a:pt x="61" y="20"/>
                  </a:cubicBezTo>
                  <a:cubicBezTo>
                    <a:pt x="62" y="20"/>
                    <a:pt x="62" y="20"/>
                    <a:pt x="62" y="20"/>
                  </a:cubicBezTo>
                  <a:close/>
                </a:path>
              </a:pathLst>
            </a:custGeom>
            <a:solidFill>
              <a:srgbClr val="CCCCC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0" name="ïṧļiḓè"/>
            <p:cNvSpPr/>
            <p:nvPr/>
          </p:nvSpPr>
          <p:spPr bwMode="auto">
            <a:xfrm>
              <a:off x="3613150" y="3792538"/>
              <a:ext cx="2151063" cy="147637"/>
            </a:xfrm>
            <a:prstGeom prst="rect">
              <a:avLst/>
            </a:prstGeom>
            <a:solidFill>
              <a:srgbClr val="A2C9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1" name="îšḻîdê"/>
            <p:cNvSpPr/>
            <p:nvPr/>
          </p:nvSpPr>
          <p:spPr bwMode="auto">
            <a:xfrm>
              <a:off x="4184650" y="4030663"/>
              <a:ext cx="1008063" cy="228600"/>
            </a:xfrm>
            <a:prstGeom prst="rect">
              <a:avLst/>
            </a:prstGeom>
            <a:solidFill>
              <a:srgbClr val="ED7B5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2" name="ï$líḓê"/>
            <p:cNvSpPr/>
            <p:nvPr/>
          </p:nvSpPr>
          <p:spPr bwMode="auto">
            <a:xfrm>
              <a:off x="3613150" y="4522788"/>
              <a:ext cx="2151063" cy="622300"/>
            </a:xfrm>
            <a:prstGeom prst="rect">
              <a:avLst/>
            </a:prstGeom>
            <a:solidFill>
              <a:srgbClr val="5896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3" name="ïş1iḍé"/>
            <p:cNvSpPr/>
            <p:nvPr/>
          </p:nvSpPr>
          <p:spPr bwMode="auto">
            <a:xfrm>
              <a:off x="4021138" y="4341813"/>
              <a:ext cx="1335088" cy="98425"/>
            </a:xfrm>
            <a:prstGeom prst="rect">
              <a:avLst/>
            </a:prstGeom>
            <a:solidFill>
              <a:srgbClr val="91BDE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44" name="îSľídé"/>
            <p:cNvSpPr/>
            <p:nvPr/>
          </p:nvSpPr>
          <p:spPr bwMode="auto">
            <a:xfrm>
              <a:off x="5626100" y="4718051"/>
              <a:ext cx="73025" cy="147637"/>
            </a:xfrm>
            <a:custGeom>
              <a:avLst/>
              <a:gdLst>
                <a:gd name="T0" fmla="*/ 1 w 9"/>
                <a:gd name="T1" fmla="*/ 2 h 18"/>
                <a:gd name="T2" fmla="*/ 1 w 9"/>
                <a:gd name="T3" fmla="*/ 0 h 18"/>
                <a:gd name="T4" fmla="*/ 3 w 9"/>
                <a:gd name="T5" fmla="*/ 0 h 18"/>
                <a:gd name="T6" fmla="*/ 9 w 9"/>
                <a:gd name="T7" fmla="*/ 8 h 18"/>
                <a:gd name="T8" fmla="*/ 9 w 9"/>
                <a:gd name="T9" fmla="*/ 8 h 18"/>
                <a:gd name="T10" fmla="*/ 9 w 9"/>
                <a:gd name="T11" fmla="*/ 8 h 18"/>
                <a:gd name="T12" fmla="*/ 9 w 9"/>
                <a:gd name="T13" fmla="*/ 8 h 18"/>
                <a:gd name="T14" fmla="*/ 9 w 9"/>
                <a:gd name="T15" fmla="*/ 8 h 18"/>
                <a:gd name="T16" fmla="*/ 9 w 9"/>
                <a:gd name="T17" fmla="*/ 8 h 18"/>
                <a:gd name="T18" fmla="*/ 9 w 9"/>
                <a:gd name="T19" fmla="*/ 8 h 18"/>
                <a:gd name="T20" fmla="*/ 9 w 9"/>
                <a:gd name="T21" fmla="*/ 8 h 18"/>
                <a:gd name="T22" fmla="*/ 9 w 9"/>
                <a:gd name="T23" fmla="*/ 8 h 18"/>
                <a:gd name="T24" fmla="*/ 9 w 9"/>
                <a:gd name="T25" fmla="*/ 8 h 18"/>
                <a:gd name="T26" fmla="*/ 9 w 9"/>
                <a:gd name="T27" fmla="*/ 8 h 18"/>
                <a:gd name="T28" fmla="*/ 9 w 9"/>
                <a:gd name="T29" fmla="*/ 8 h 18"/>
                <a:gd name="T30" fmla="*/ 9 w 9"/>
                <a:gd name="T31" fmla="*/ 9 h 18"/>
                <a:gd name="T32" fmla="*/ 9 w 9"/>
                <a:gd name="T33" fmla="*/ 9 h 18"/>
                <a:gd name="T34" fmla="*/ 9 w 9"/>
                <a:gd name="T35" fmla="*/ 9 h 18"/>
                <a:gd name="T36" fmla="*/ 9 w 9"/>
                <a:gd name="T37" fmla="*/ 9 h 18"/>
                <a:gd name="T38" fmla="*/ 9 w 9"/>
                <a:gd name="T39" fmla="*/ 9 h 18"/>
                <a:gd name="T40" fmla="*/ 9 w 9"/>
                <a:gd name="T41" fmla="*/ 9 h 18"/>
                <a:gd name="T42" fmla="*/ 9 w 9"/>
                <a:gd name="T43" fmla="*/ 9 h 18"/>
                <a:gd name="T44" fmla="*/ 9 w 9"/>
                <a:gd name="T45" fmla="*/ 9 h 18"/>
                <a:gd name="T46" fmla="*/ 9 w 9"/>
                <a:gd name="T47" fmla="*/ 9 h 18"/>
                <a:gd name="T48" fmla="*/ 9 w 9"/>
                <a:gd name="T49" fmla="*/ 9 h 18"/>
                <a:gd name="T50" fmla="*/ 9 w 9"/>
                <a:gd name="T51" fmla="*/ 9 h 18"/>
                <a:gd name="T52" fmla="*/ 9 w 9"/>
                <a:gd name="T53" fmla="*/ 9 h 18"/>
                <a:gd name="T54" fmla="*/ 9 w 9"/>
                <a:gd name="T55" fmla="*/ 9 h 18"/>
                <a:gd name="T56" fmla="*/ 9 w 9"/>
                <a:gd name="T57" fmla="*/ 9 h 18"/>
                <a:gd name="T58" fmla="*/ 9 w 9"/>
                <a:gd name="T59" fmla="*/ 9 h 18"/>
                <a:gd name="T60" fmla="*/ 9 w 9"/>
                <a:gd name="T61" fmla="*/ 9 h 18"/>
                <a:gd name="T62" fmla="*/ 9 w 9"/>
                <a:gd name="T63" fmla="*/ 9 h 18"/>
                <a:gd name="T64" fmla="*/ 9 w 9"/>
                <a:gd name="T65" fmla="*/ 9 h 18"/>
                <a:gd name="T66" fmla="*/ 3 w 9"/>
                <a:gd name="T67" fmla="*/ 17 h 18"/>
                <a:gd name="T68" fmla="*/ 1 w 9"/>
                <a:gd name="T69" fmla="*/ 17 h 18"/>
                <a:gd name="T70" fmla="*/ 1 w 9"/>
                <a:gd name="T71" fmla="*/ 15 h 18"/>
                <a:gd name="T72" fmla="*/ 6 w 9"/>
                <a:gd name="T73" fmla="*/ 9 h 18"/>
                <a:gd name="T74" fmla="*/ 1 w 9"/>
                <a:gd name="T75"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 h="18">
                  <a:moveTo>
                    <a:pt x="1" y="2"/>
                  </a:moveTo>
                  <a:cubicBezTo>
                    <a:pt x="0" y="1"/>
                    <a:pt x="1" y="1"/>
                    <a:pt x="1" y="0"/>
                  </a:cubicBezTo>
                  <a:cubicBezTo>
                    <a:pt x="2" y="0"/>
                    <a:pt x="2" y="0"/>
                    <a:pt x="3" y="0"/>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8"/>
                    <a:pt x="9" y="8"/>
                    <a:pt x="9" y="8"/>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9" y="9"/>
                    <a:pt x="9" y="9"/>
                    <a:pt x="9" y="9"/>
                  </a:cubicBezTo>
                  <a:cubicBezTo>
                    <a:pt x="3" y="17"/>
                    <a:pt x="3" y="17"/>
                    <a:pt x="3" y="17"/>
                  </a:cubicBezTo>
                  <a:cubicBezTo>
                    <a:pt x="2" y="17"/>
                    <a:pt x="2" y="18"/>
                    <a:pt x="1" y="17"/>
                  </a:cubicBezTo>
                  <a:cubicBezTo>
                    <a:pt x="1" y="17"/>
                    <a:pt x="0" y="16"/>
                    <a:pt x="1" y="15"/>
                  </a:cubicBezTo>
                  <a:cubicBezTo>
                    <a:pt x="6" y="9"/>
                    <a:pt x="6" y="9"/>
                    <a:pt x="6" y="9"/>
                  </a:cubicBezTo>
                  <a:lnTo>
                    <a:pt x="1" y="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5" name="îṧ1íde"/>
            <p:cNvSpPr/>
            <p:nvPr/>
          </p:nvSpPr>
          <p:spPr bwMode="auto">
            <a:xfrm>
              <a:off x="3678238" y="4718051"/>
              <a:ext cx="73025" cy="147637"/>
            </a:xfrm>
            <a:custGeom>
              <a:avLst/>
              <a:gdLst>
                <a:gd name="T0" fmla="*/ 6 w 9"/>
                <a:gd name="T1" fmla="*/ 0 h 18"/>
                <a:gd name="T2" fmla="*/ 8 w 9"/>
                <a:gd name="T3" fmla="*/ 0 h 18"/>
                <a:gd name="T4" fmla="*/ 8 w 9"/>
                <a:gd name="T5" fmla="*/ 2 h 18"/>
                <a:gd name="T6" fmla="*/ 3 w 9"/>
                <a:gd name="T7" fmla="*/ 9 h 18"/>
                <a:gd name="T8" fmla="*/ 8 w 9"/>
                <a:gd name="T9" fmla="*/ 15 h 18"/>
                <a:gd name="T10" fmla="*/ 8 w 9"/>
                <a:gd name="T11" fmla="*/ 17 h 18"/>
                <a:gd name="T12" fmla="*/ 6 w 9"/>
                <a:gd name="T13" fmla="*/ 17 h 18"/>
                <a:gd name="T14" fmla="*/ 0 w 9"/>
                <a:gd name="T15" fmla="*/ 9 h 18"/>
                <a:gd name="T16" fmla="*/ 0 w 9"/>
                <a:gd name="T17" fmla="*/ 9 h 18"/>
                <a:gd name="T18" fmla="*/ 0 w 9"/>
                <a:gd name="T19" fmla="*/ 9 h 18"/>
                <a:gd name="T20" fmla="*/ 0 w 9"/>
                <a:gd name="T21" fmla="*/ 9 h 18"/>
                <a:gd name="T22" fmla="*/ 0 w 9"/>
                <a:gd name="T23" fmla="*/ 9 h 18"/>
                <a:gd name="T24" fmla="*/ 0 w 9"/>
                <a:gd name="T25" fmla="*/ 9 h 18"/>
                <a:gd name="T26" fmla="*/ 0 w 9"/>
                <a:gd name="T27" fmla="*/ 9 h 18"/>
                <a:gd name="T28" fmla="*/ 0 w 9"/>
                <a:gd name="T29" fmla="*/ 9 h 18"/>
                <a:gd name="T30" fmla="*/ 0 w 9"/>
                <a:gd name="T31" fmla="*/ 9 h 18"/>
                <a:gd name="T32" fmla="*/ 0 w 9"/>
                <a:gd name="T33" fmla="*/ 9 h 18"/>
                <a:gd name="T34" fmla="*/ 0 w 9"/>
                <a:gd name="T35" fmla="*/ 9 h 18"/>
                <a:gd name="T36" fmla="*/ 0 w 9"/>
                <a:gd name="T37" fmla="*/ 9 h 18"/>
                <a:gd name="T38" fmla="*/ 0 w 9"/>
                <a:gd name="T39" fmla="*/ 9 h 18"/>
                <a:gd name="T40" fmla="*/ 0 w 9"/>
                <a:gd name="T41" fmla="*/ 9 h 18"/>
                <a:gd name="T42" fmla="*/ 0 w 9"/>
                <a:gd name="T43" fmla="*/ 9 h 18"/>
                <a:gd name="T44" fmla="*/ 0 w 9"/>
                <a:gd name="T45" fmla="*/ 9 h 18"/>
                <a:gd name="T46" fmla="*/ 0 w 9"/>
                <a:gd name="T47" fmla="*/ 9 h 18"/>
                <a:gd name="T48" fmla="*/ 0 w 9"/>
                <a:gd name="T49" fmla="*/ 9 h 18"/>
                <a:gd name="T50" fmla="*/ 0 w 9"/>
                <a:gd name="T51" fmla="*/ 8 h 18"/>
                <a:gd name="T52" fmla="*/ 0 w 9"/>
                <a:gd name="T53" fmla="*/ 8 h 18"/>
                <a:gd name="T54" fmla="*/ 0 w 9"/>
                <a:gd name="T55" fmla="*/ 8 h 18"/>
                <a:gd name="T56" fmla="*/ 0 w 9"/>
                <a:gd name="T57" fmla="*/ 8 h 18"/>
                <a:gd name="T58" fmla="*/ 0 w 9"/>
                <a:gd name="T59" fmla="*/ 8 h 18"/>
                <a:gd name="T60" fmla="*/ 0 w 9"/>
                <a:gd name="T61" fmla="*/ 8 h 18"/>
                <a:gd name="T62" fmla="*/ 0 w 9"/>
                <a:gd name="T63" fmla="*/ 8 h 18"/>
                <a:gd name="T64" fmla="*/ 0 w 9"/>
                <a:gd name="T65" fmla="*/ 8 h 18"/>
                <a:gd name="T66" fmla="*/ 0 w 9"/>
                <a:gd name="T67" fmla="*/ 8 h 18"/>
                <a:gd name="T68" fmla="*/ 0 w 9"/>
                <a:gd name="T69" fmla="*/ 8 h 18"/>
                <a:gd name="T70" fmla="*/ 0 w 9"/>
                <a:gd name="T71" fmla="*/ 8 h 18"/>
                <a:gd name="T72" fmla="*/ 0 w 9"/>
                <a:gd name="T73" fmla="*/ 8 h 18"/>
                <a:gd name="T74" fmla="*/ 6 w 9"/>
                <a:gd name="T7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 h="18">
                  <a:moveTo>
                    <a:pt x="6" y="0"/>
                  </a:moveTo>
                  <a:cubicBezTo>
                    <a:pt x="7" y="0"/>
                    <a:pt x="7" y="0"/>
                    <a:pt x="8" y="0"/>
                  </a:cubicBezTo>
                  <a:cubicBezTo>
                    <a:pt x="9" y="1"/>
                    <a:pt x="9" y="1"/>
                    <a:pt x="8" y="2"/>
                  </a:cubicBezTo>
                  <a:cubicBezTo>
                    <a:pt x="3" y="9"/>
                    <a:pt x="3" y="9"/>
                    <a:pt x="3" y="9"/>
                  </a:cubicBezTo>
                  <a:cubicBezTo>
                    <a:pt x="8" y="15"/>
                    <a:pt x="8" y="15"/>
                    <a:pt x="8" y="15"/>
                  </a:cubicBezTo>
                  <a:cubicBezTo>
                    <a:pt x="9" y="16"/>
                    <a:pt x="9" y="17"/>
                    <a:pt x="8" y="17"/>
                  </a:cubicBezTo>
                  <a:cubicBezTo>
                    <a:pt x="7" y="18"/>
                    <a:pt x="7" y="17"/>
                    <a:pt x="6" y="17"/>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6" name="íŝliḓé"/>
            <p:cNvSpPr/>
            <p:nvPr/>
          </p:nvSpPr>
          <p:spPr bwMode="auto">
            <a:xfrm>
              <a:off x="7950200" y="3670301"/>
              <a:ext cx="1447800" cy="2071687"/>
            </a:xfrm>
            <a:custGeom>
              <a:avLst/>
              <a:gdLst>
                <a:gd name="T0" fmla="*/ 141 w 177"/>
                <a:gd name="T1" fmla="*/ 0 h 253"/>
                <a:gd name="T2" fmla="*/ 36 w 177"/>
                <a:gd name="T3" fmla="*/ 0 h 253"/>
                <a:gd name="T4" fmla="*/ 0 w 177"/>
                <a:gd name="T5" fmla="*/ 36 h 253"/>
                <a:gd name="T6" fmla="*/ 0 w 177"/>
                <a:gd name="T7" fmla="*/ 217 h 253"/>
                <a:gd name="T8" fmla="*/ 36 w 177"/>
                <a:gd name="T9" fmla="*/ 253 h 253"/>
                <a:gd name="T10" fmla="*/ 141 w 177"/>
                <a:gd name="T11" fmla="*/ 253 h 253"/>
                <a:gd name="T12" fmla="*/ 177 w 177"/>
                <a:gd name="T13" fmla="*/ 217 h 253"/>
                <a:gd name="T14" fmla="*/ 177 w 177"/>
                <a:gd name="T15" fmla="*/ 36 h 253"/>
                <a:gd name="T16" fmla="*/ 141 w 177"/>
                <a:gd name="T17"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253">
                  <a:moveTo>
                    <a:pt x="141" y="0"/>
                  </a:moveTo>
                  <a:cubicBezTo>
                    <a:pt x="36" y="0"/>
                    <a:pt x="36" y="0"/>
                    <a:pt x="36" y="0"/>
                  </a:cubicBezTo>
                  <a:cubicBezTo>
                    <a:pt x="16" y="0"/>
                    <a:pt x="0" y="16"/>
                    <a:pt x="0" y="36"/>
                  </a:cubicBezTo>
                  <a:cubicBezTo>
                    <a:pt x="0" y="217"/>
                    <a:pt x="0" y="217"/>
                    <a:pt x="0" y="217"/>
                  </a:cubicBezTo>
                  <a:cubicBezTo>
                    <a:pt x="0" y="237"/>
                    <a:pt x="16" y="253"/>
                    <a:pt x="36" y="253"/>
                  </a:cubicBezTo>
                  <a:cubicBezTo>
                    <a:pt x="141" y="253"/>
                    <a:pt x="141" y="253"/>
                    <a:pt x="141" y="253"/>
                  </a:cubicBezTo>
                  <a:cubicBezTo>
                    <a:pt x="161" y="253"/>
                    <a:pt x="177" y="237"/>
                    <a:pt x="177" y="217"/>
                  </a:cubicBezTo>
                  <a:cubicBezTo>
                    <a:pt x="177" y="36"/>
                    <a:pt x="177" y="36"/>
                    <a:pt x="177" y="36"/>
                  </a:cubicBezTo>
                  <a:cubicBezTo>
                    <a:pt x="177" y="16"/>
                    <a:pt x="161" y="0"/>
                    <a:pt x="141" y="0"/>
                  </a:cubicBezTo>
                  <a:close/>
                </a:path>
              </a:pathLst>
            </a:custGeom>
            <a:solidFill>
              <a:srgbClr val="4D4D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7" name="išḷiďé"/>
            <p:cNvSpPr/>
            <p:nvPr/>
          </p:nvSpPr>
          <p:spPr bwMode="auto">
            <a:xfrm>
              <a:off x="8048625" y="3841751"/>
              <a:ext cx="1250950" cy="1712912"/>
            </a:xfrm>
            <a:custGeom>
              <a:avLst/>
              <a:gdLst>
                <a:gd name="T0" fmla="*/ 152 w 153"/>
                <a:gd name="T1" fmla="*/ 0 h 209"/>
                <a:gd name="T2" fmla="*/ 1 w 153"/>
                <a:gd name="T3" fmla="*/ 0 h 209"/>
                <a:gd name="T4" fmla="*/ 0 w 153"/>
                <a:gd name="T5" fmla="*/ 1 h 209"/>
                <a:gd name="T6" fmla="*/ 0 w 153"/>
                <a:gd name="T7" fmla="*/ 208 h 209"/>
                <a:gd name="T8" fmla="*/ 1 w 153"/>
                <a:gd name="T9" fmla="*/ 209 h 209"/>
                <a:gd name="T10" fmla="*/ 152 w 153"/>
                <a:gd name="T11" fmla="*/ 209 h 209"/>
                <a:gd name="T12" fmla="*/ 153 w 153"/>
                <a:gd name="T13" fmla="*/ 208 h 209"/>
                <a:gd name="T14" fmla="*/ 153 w 153"/>
                <a:gd name="T15" fmla="*/ 1 h 209"/>
                <a:gd name="T16" fmla="*/ 152 w 153"/>
                <a:gd name="T1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209">
                  <a:moveTo>
                    <a:pt x="152" y="0"/>
                  </a:moveTo>
                  <a:cubicBezTo>
                    <a:pt x="1" y="0"/>
                    <a:pt x="1" y="0"/>
                    <a:pt x="1" y="0"/>
                  </a:cubicBezTo>
                  <a:cubicBezTo>
                    <a:pt x="1" y="0"/>
                    <a:pt x="0" y="0"/>
                    <a:pt x="0" y="1"/>
                  </a:cubicBezTo>
                  <a:cubicBezTo>
                    <a:pt x="0" y="208"/>
                    <a:pt x="0" y="208"/>
                    <a:pt x="0" y="208"/>
                  </a:cubicBezTo>
                  <a:cubicBezTo>
                    <a:pt x="0" y="209"/>
                    <a:pt x="1" y="209"/>
                    <a:pt x="1" y="209"/>
                  </a:cubicBezTo>
                  <a:cubicBezTo>
                    <a:pt x="152" y="209"/>
                    <a:pt x="152" y="209"/>
                    <a:pt x="152" y="209"/>
                  </a:cubicBezTo>
                  <a:cubicBezTo>
                    <a:pt x="153" y="209"/>
                    <a:pt x="153" y="209"/>
                    <a:pt x="153" y="208"/>
                  </a:cubicBezTo>
                  <a:cubicBezTo>
                    <a:pt x="153" y="1"/>
                    <a:pt x="153" y="1"/>
                    <a:pt x="153" y="1"/>
                  </a:cubicBezTo>
                  <a:cubicBezTo>
                    <a:pt x="153" y="0"/>
                    <a:pt x="153" y="0"/>
                    <a:pt x="152"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8" name="ïṣ1ïďé"/>
            <p:cNvSpPr/>
            <p:nvPr/>
          </p:nvSpPr>
          <p:spPr bwMode="auto">
            <a:xfrm>
              <a:off x="8497888" y="3719513"/>
              <a:ext cx="352425" cy="31750"/>
            </a:xfrm>
            <a:custGeom>
              <a:avLst/>
              <a:gdLst>
                <a:gd name="T0" fmla="*/ 41 w 43"/>
                <a:gd name="T1" fmla="*/ 0 h 4"/>
                <a:gd name="T2" fmla="*/ 2 w 43"/>
                <a:gd name="T3" fmla="*/ 0 h 4"/>
                <a:gd name="T4" fmla="*/ 0 w 43"/>
                <a:gd name="T5" fmla="*/ 2 h 4"/>
                <a:gd name="T6" fmla="*/ 0 w 43"/>
                <a:gd name="T7" fmla="*/ 2 h 4"/>
                <a:gd name="T8" fmla="*/ 2 w 43"/>
                <a:gd name="T9" fmla="*/ 4 h 4"/>
                <a:gd name="T10" fmla="*/ 41 w 43"/>
                <a:gd name="T11" fmla="*/ 4 h 4"/>
                <a:gd name="T12" fmla="*/ 43 w 43"/>
                <a:gd name="T13" fmla="*/ 2 h 4"/>
                <a:gd name="T14" fmla="*/ 43 w 43"/>
                <a:gd name="T15" fmla="*/ 2 h 4"/>
                <a:gd name="T16" fmla="*/ 41 w 4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
                  <a:moveTo>
                    <a:pt x="41" y="0"/>
                  </a:moveTo>
                  <a:cubicBezTo>
                    <a:pt x="2" y="0"/>
                    <a:pt x="2" y="0"/>
                    <a:pt x="2" y="0"/>
                  </a:cubicBezTo>
                  <a:cubicBezTo>
                    <a:pt x="1" y="0"/>
                    <a:pt x="0" y="1"/>
                    <a:pt x="0" y="2"/>
                  </a:cubicBezTo>
                  <a:cubicBezTo>
                    <a:pt x="0" y="2"/>
                    <a:pt x="0" y="2"/>
                    <a:pt x="0" y="2"/>
                  </a:cubicBezTo>
                  <a:cubicBezTo>
                    <a:pt x="0" y="3"/>
                    <a:pt x="1" y="4"/>
                    <a:pt x="2" y="4"/>
                  </a:cubicBezTo>
                  <a:cubicBezTo>
                    <a:pt x="41" y="4"/>
                    <a:pt x="41" y="4"/>
                    <a:pt x="41" y="4"/>
                  </a:cubicBezTo>
                  <a:cubicBezTo>
                    <a:pt x="42" y="4"/>
                    <a:pt x="43" y="3"/>
                    <a:pt x="43" y="2"/>
                  </a:cubicBezTo>
                  <a:cubicBezTo>
                    <a:pt x="43" y="2"/>
                    <a:pt x="43" y="2"/>
                    <a:pt x="43" y="2"/>
                  </a:cubicBezTo>
                  <a:cubicBezTo>
                    <a:pt x="43" y="1"/>
                    <a:pt x="42" y="0"/>
                    <a:pt x="41" y="0"/>
                  </a:cubicBezTo>
                  <a:close/>
                </a:path>
              </a:pathLst>
            </a:custGeom>
            <a:solidFill>
              <a:srgbClr val="CCCCC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49" name="ïṣľïḑé"/>
            <p:cNvSpPr/>
            <p:nvPr/>
          </p:nvSpPr>
          <p:spPr bwMode="auto">
            <a:xfrm>
              <a:off x="8621713" y="5595938"/>
              <a:ext cx="106363" cy="106362"/>
            </a:xfrm>
            <a:prstGeom prst="ellipse">
              <a:avLst/>
            </a:prstGeom>
            <a:solidFill>
              <a:srgbClr val="CCCCC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50" name="ï$ḷidè"/>
            <p:cNvSpPr/>
            <p:nvPr/>
          </p:nvSpPr>
          <p:spPr bwMode="auto">
            <a:xfrm>
              <a:off x="8048625" y="3841751"/>
              <a:ext cx="1250950" cy="17129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1" name="ïṩ1ïďe"/>
            <p:cNvSpPr/>
            <p:nvPr/>
          </p:nvSpPr>
          <p:spPr bwMode="auto">
            <a:xfrm>
              <a:off x="8048625" y="3841751"/>
              <a:ext cx="1250950" cy="82550"/>
            </a:xfrm>
            <a:prstGeom prst="rect">
              <a:avLst/>
            </a:prstGeom>
            <a:solidFill>
              <a:srgbClr val="91BDE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2" name="îšlîdé"/>
            <p:cNvSpPr/>
            <p:nvPr/>
          </p:nvSpPr>
          <p:spPr bwMode="auto">
            <a:xfrm>
              <a:off x="8383588" y="3973513"/>
              <a:ext cx="581025" cy="130175"/>
            </a:xfrm>
            <a:prstGeom prst="rect">
              <a:avLst/>
            </a:prstGeom>
            <a:solidFill>
              <a:srgbClr val="ED7B5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3" name="ïṩ1ïḑè"/>
            <p:cNvSpPr/>
            <p:nvPr/>
          </p:nvSpPr>
          <p:spPr bwMode="auto">
            <a:xfrm>
              <a:off x="8048625" y="4251326"/>
              <a:ext cx="1250950" cy="344487"/>
            </a:xfrm>
            <a:prstGeom prst="rect">
              <a:avLst/>
            </a:prstGeom>
            <a:solidFill>
              <a:srgbClr val="5896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4" name="îṧḻíḑé"/>
            <p:cNvSpPr/>
            <p:nvPr/>
          </p:nvSpPr>
          <p:spPr bwMode="auto">
            <a:xfrm>
              <a:off x="8293100" y="4152901"/>
              <a:ext cx="769938" cy="49212"/>
            </a:xfrm>
            <a:prstGeom prst="rect">
              <a:avLst/>
            </a:prstGeom>
            <a:solidFill>
              <a:srgbClr val="91BDE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5" name="ïṣ1îdé"/>
            <p:cNvSpPr/>
            <p:nvPr/>
          </p:nvSpPr>
          <p:spPr bwMode="auto">
            <a:xfrm>
              <a:off x="8129588" y="4668838"/>
              <a:ext cx="311150" cy="279400"/>
            </a:xfrm>
            <a:prstGeom prst="rect">
              <a:avLst/>
            </a:prstGeom>
            <a:solidFill>
              <a:srgbClr val="FFD47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6" name="îşḻíḍè"/>
            <p:cNvSpPr/>
            <p:nvPr/>
          </p:nvSpPr>
          <p:spPr bwMode="auto">
            <a:xfrm>
              <a:off x="8515350" y="4668838"/>
              <a:ext cx="319088" cy="279400"/>
            </a:xfrm>
            <a:prstGeom prst="rect">
              <a:avLst/>
            </a:prstGeom>
            <a:solidFill>
              <a:srgbClr val="FA98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7" name="íšḷïḋe"/>
            <p:cNvSpPr/>
            <p:nvPr/>
          </p:nvSpPr>
          <p:spPr bwMode="auto">
            <a:xfrm>
              <a:off x="8907463" y="4668838"/>
              <a:ext cx="319088" cy="279400"/>
            </a:xfrm>
            <a:prstGeom prst="rect">
              <a:avLst/>
            </a:prstGeom>
            <a:solidFill>
              <a:srgbClr val="A2C9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8" name="íśľïďe"/>
            <p:cNvSpPr/>
            <p:nvPr/>
          </p:nvSpPr>
          <p:spPr bwMode="auto">
            <a:xfrm>
              <a:off x="8048625" y="5399088"/>
              <a:ext cx="1250950" cy="155575"/>
            </a:xfrm>
            <a:prstGeom prst="rect">
              <a:avLst/>
            </a:prstGeom>
            <a:solidFill>
              <a:srgbClr val="91BDE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59" name="í$ļíḍe"/>
            <p:cNvSpPr/>
            <p:nvPr/>
          </p:nvSpPr>
          <p:spPr bwMode="auto">
            <a:xfrm>
              <a:off x="8129588" y="4989513"/>
              <a:ext cx="311150" cy="57150"/>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0" name="íṡḻîdè"/>
            <p:cNvSpPr/>
            <p:nvPr/>
          </p:nvSpPr>
          <p:spPr bwMode="auto">
            <a:xfrm>
              <a:off x="8129588" y="5078413"/>
              <a:ext cx="311150" cy="58737"/>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1" name="ïšḷîḓe"/>
            <p:cNvSpPr/>
            <p:nvPr/>
          </p:nvSpPr>
          <p:spPr bwMode="auto">
            <a:xfrm>
              <a:off x="8129588" y="5168901"/>
              <a:ext cx="311150" cy="57150"/>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2" name="îṥ1îḍé"/>
            <p:cNvSpPr/>
            <p:nvPr/>
          </p:nvSpPr>
          <p:spPr bwMode="auto">
            <a:xfrm>
              <a:off x="8129588" y="5259388"/>
              <a:ext cx="196850" cy="57150"/>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3" name="îŝľïďè"/>
            <p:cNvSpPr/>
            <p:nvPr/>
          </p:nvSpPr>
          <p:spPr bwMode="auto">
            <a:xfrm>
              <a:off x="8515350" y="4989513"/>
              <a:ext cx="319088" cy="57150"/>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4" name="iSḷïḋê"/>
            <p:cNvSpPr/>
            <p:nvPr/>
          </p:nvSpPr>
          <p:spPr bwMode="auto">
            <a:xfrm>
              <a:off x="8515350" y="5078413"/>
              <a:ext cx="319088" cy="58737"/>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5" name="ïṡļîďê"/>
            <p:cNvSpPr/>
            <p:nvPr/>
          </p:nvSpPr>
          <p:spPr bwMode="auto">
            <a:xfrm>
              <a:off x="8515350" y="5168901"/>
              <a:ext cx="319088" cy="57150"/>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6" name="îṧḷídè"/>
            <p:cNvSpPr/>
            <p:nvPr/>
          </p:nvSpPr>
          <p:spPr bwMode="auto">
            <a:xfrm>
              <a:off x="8515350" y="5259388"/>
              <a:ext cx="203200" cy="57150"/>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7" name="iṧľiḋè"/>
            <p:cNvSpPr/>
            <p:nvPr/>
          </p:nvSpPr>
          <p:spPr bwMode="auto">
            <a:xfrm>
              <a:off x="8907463" y="4989513"/>
              <a:ext cx="319088" cy="57150"/>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8" name="iṧḷïḑé"/>
            <p:cNvSpPr/>
            <p:nvPr/>
          </p:nvSpPr>
          <p:spPr bwMode="auto">
            <a:xfrm>
              <a:off x="8907463" y="5078413"/>
              <a:ext cx="319088" cy="58737"/>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69" name="ïṥľîḑe"/>
            <p:cNvSpPr/>
            <p:nvPr/>
          </p:nvSpPr>
          <p:spPr bwMode="auto">
            <a:xfrm>
              <a:off x="8907463" y="5168901"/>
              <a:ext cx="319088" cy="57150"/>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0" name="îsḷïḓè"/>
            <p:cNvSpPr/>
            <p:nvPr/>
          </p:nvSpPr>
          <p:spPr bwMode="auto">
            <a:xfrm>
              <a:off x="8907463" y="5259388"/>
              <a:ext cx="204788" cy="57150"/>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1" name="îSļidé"/>
            <p:cNvSpPr/>
            <p:nvPr/>
          </p:nvSpPr>
          <p:spPr bwMode="auto">
            <a:xfrm>
              <a:off x="9210675" y="4349751"/>
              <a:ext cx="49213" cy="98425"/>
            </a:xfrm>
            <a:custGeom>
              <a:avLst/>
              <a:gdLst>
                <a:gd name="T0" fmla="*/ 1 w 6"/>
                <a:gd name="T1" fmla="*/ 3 h 12"/>
                <a:gd name="T2" fmla="*/ 1 w 6"/>
                <a:gd name="T3" fmla="*/ 1 h 12"/>
                <a:gd name="T4" fmla="*/ 3 w 6"/>
                <a:gd name="T5" fmla="*/ 1 h 12"/>
                <a:gd name="T6" fmla="*/ 6 w 6"/>
                <a:gd name="T7" fmla="*/ 5 h 12"/>
                <a:gd name="T8" fmla="*/ 6 w 6"/>
                <a:gd name="T9" fmla="*/ 5 h 12"/>
                <a:gd name="T10" fmla="*/ 6 w 6"/>
                <a:gd name="T11" fmla="*/ 5 h 12"/>
                <a:gd name="T12" fmla="*/ 6 w 6"/>
                <a:gd name="T13" fmla="*/ 5 h 12"/>
                <a:gd name="T14" fmla="*/ 6 w 6"/>
                <a:gd name="T15" fmla="*/ 5 h 12"/>
                <a:gd name="T16" fmla="*/ 6 w 6"/>
                <a:gd name="T17" fmla="*/ 5 h 12"/>
                <a:gd name="T18" fmla="*/ 6 w 6"/>
                <a:gd name="T19" fmla="*/ 6 h 12"/>
                <a:gd name="T20" fmla="*/ 6 w 6"/>
                <a:gd name="T21" fmla="*/ 6 h 12"/>
                <a:gd name="T22" fmla="*/ 6 w 6"/>
                <a:gd name="T23" fmla="*/ 6 h 12"/>
                <a:gd name="T24" fmla="*/ 6 w 6"/>
                <a:gd name="T25" fmla="*/ 6 h 12"/>
                <a:gd name="T26" fmla="*/ 6 w 6"/>
                <a:gd name="T27" fmla="*/ 6 h 12"/>
                <a:gd name="T28" fmla="*/ 6 w 6"/>
                <a:gd name="T29" fmla="*/ 6 h 12"/>
                <a:gd name="T30" fmla="*/ 6 w 6"/>
                <a:gd name="T31" fmla="*/ 6 h 12"/>
                <a:gd name="T32" fmla="*/ 6 w 6"/>
                <a:gd name="T33" fmla="*/ 6 h 12"/>
                <a:gd name="T34" fmla="*/ 6 w 6"/>
                <a:gd name="T35" fmla="*/ 6 h 12"/>
                <a:gd name="T36" fmla="*/ 6 w 6"/>
                <a:gd name="T37" fmla="*/ 6 h 12"/>
                <a:gd name="T38" fmla="*/ 6 w 6"/>
                <a:gd name="T39" fmla="*/ 6 h 12"/>
                <a:gd name="T40" fmla="*/ 6 w 6"/>
                <a:gd name="T41" fmla="*/ 6 h 12"/>
                <a:gd name="T42" fmla="*/ 6 w 6"/>
                <a:gd name="T43" fmla="*/ 6 h 12"/>
                <a:gd name="T44" fmla="*/ 6 w 6"/>
                <a:gd name="T45" fmla="*/ 6 h 12"/>
                <a:gd name="T46" fmla="*/ 6 w 6"/>
                <a:gd name="T47" fmla="*/ 7 h 12"/>
                <a:gd name="T48" fmla="*/ 6 w 6"/>
                <a:gd name="T49" fmla="*/ 7 h 12"/>
                <a:gd name="T50" fmla="*/ 6 w 6"/>
                <a:gd name="T51" fmla="*/ 7 h 12"/>
                <a:gd name="T52" fmla="*/ 6 w 6"/>
                <a:gd name="T53" fmla="*/ 7 h 12"/>
                <a:gd name="T54" fmla="*/ 6 w 6"/>
                <a:gd name="T55" fmla="*/ 7 h 12"/>
                <a:gd name="T56" fmla="*/ 6 w 6"/>
                <a:gd name="T57" fmla="*/ 7 h 12"/>
                <a:gd name="T58" fmla="*/ 6 w 6"/>
                <a:gd name="T59" fmla="*/ 7 h 12"/>
                <a:gd name="T60" fmla="*/ 6 w 6"/>
                <a:gd name="T61" fmla="*/ 7 h 12"/>
                <a:gd name="T62" fmla="*/ 3 w 6"/>
                <a:gd name="T63" fmla="*/ 11 h 12"/>
                <a:gd name="T64" fmla="*/ 1 w 6"/>
                <a:gd name="T65" fmla="*/ 11 h 12"/>
                <a:gd name="T66" fmla="*/ 1 w 6"/>
                <a:gd name="T67" fmla="*/ 9 h 12"/>
                <a:gd name="T68" fmla="*/ 4 w 6"/>
                <a:gd name="T69" fmla="*/ 6 h 12"/>
                <a:gd name="T70" fmla="*/ 1 w 6"/>
                <a:gd name="T7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12">
                  <a:moveTo>
                    <a:pt x="1" y="3"/>
                  </a:moveTo>
                  <a:cubicBezTo>
                    <a:pt x="0" y="2"/>
                    <a:pt x="0" y="1"/>
                    <a:pt x="1" y="1"/>
                  </a:cubicBezTo>
                  <a:cubicBezTo>
                    <a:pt x="2" y="0"/>
                    <a:pt x="2" y="1"/>
                    <a:pt x="3" y="1"/>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5"/>
                    <a:pt x="6" y="5"/>
                    <a:pt x="6" y="5"/>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6"/>
                    <a:pt x="6" y="6"/>
                  </a:cubicBezTo>
                  <a:cubicBezTo>
                    <a:pt x="6" y="6"/>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3" y="11"/>
                    <a:pt x="3" y="11"/>
                    <a:pt x="3" y="11"/>
                  </a:cubicBezTo>
                  <a:cubicBezTo>
                    <a:pt x="2" y="12"/>
                    <a:pt x="2" y="12"/>
                    <a:pt x="1" y="11"/>
                  </a:cubicBezTo>
                  <a:cubicBezTo>
                    <a:pt x="0" y="11"/>
                    <a:pt x="0" y="10"/>
                    <a:pt x="1" y="9"/>
                  </a:cubicBezTo>
                  <a:cubicBezTo>
                    <a:pt x="4" y="6"/>
                    <a:pt x="4" y="6"/>
                    <a:pt x="4" y="6"/>
                  </a:cubicBezTo>
                  <a:lnTo>
                    <a:pt x="1" y="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2" name="ï$ḷiḑe"/>
            <p:cNvSpPr/>
            <p:nvPr/>
          </p:nvSpPr>
          <p:spPr bwMode="auto">
            <a:xfrm>
              <a:off x="8088313" y="4349751"/>
              <a:ext cx="49213" cy="98425"/>
            </a:xfrm>
            <a:custGeom>
              <a:avLst/>
              <a:gdLst>
                <a:gd name="T0" fmla="*/ 3 w 6"/>
                <a:gd name="T1" fmla="*/ 1 h 12"/>
                <a:gd name="T2" fmla="*/ 5 w 6"/>
                <a:gd name="T3" fmla="*/ 1 h 12"/>
                <a:gd name="T4" fmla="*/ 5 w 6"/>
                <a:gd name="T5" fmla="*/ 3 h 12"/>
                <a:gd name="T6" fmla="*/ 3 w 6"/>
                <a:gd name="T7" fmla="*/ 6 h 12"/>
                <a:gd name="T8" fmla="*/ 5 w 6"/>
                <a:gd name="T9" fmla="*/ 9 h 12"/>
                <a:gd name="T10" fmla="*/ 5 w 6"/>
                <a:gd name="T11" fmla="*/ 11 h 12"/>
                <a:gd name="T12" fmla="*/ 3 w 6"/>
                <a:gd name="T13" fmla="*/ 11 h 12"/>
                <a:gd name="T14" fmla="*/ 0 w 6"/>
                <a:gd name="T15" fmla="*/ 7 h 12"/>
                <a:gd name="T16" fmla="*/ 0 w 6"/>
                <a:gd name="T17" fmla="*/ 7 h 12"/>
                <a:gd name="T18" fmla="*/ 0 w 6"/>
                <a:gd name="T19" fmla="*/ 7 h 12"/>
                <a:gd name="T20" fmla="*/ 0 w 6"/>
                <a:gd name="T21" fmla="*/ 7 h 12"/>
                <a:gd name="T22" fmla="*/ 0 w 6"/>
                <a:gd name="T23" fmla="*/ 7 h 12"/>
                <a:gd name="T24" fmla="*/ 0 w 6"/>
                <a:gd name="T25" fmla="*/ 7 h 12"/>
                <a:gd name="T26" fmla="*/ 0 w 6"/>
                <a:gd name="T27" fmla="*/ 7 h 12"/>
                <a:gd name="T28" fmla="*/ 0 w 6"/>
                <a:gd name="T29" fmla="*/ 7 h 12"/>
                <a:gd name="T30" fmla="*/ 0 w 6"/>
                <a:gd name="T31" fmla="*/ 6 h 12"/>
                <a:gd name="T32" fmla="*/ 0 w 6"/>
                <a:gd name="T33" fmla="*/ 6 h 12"/>
                <a:gd name="T34" fmla="*/ 0 w 6"/>
                <a:gd name="T35" fmla="*/ 6 h 12"/>
                <a:gd name="T36" fmla="*/ 0 w 6"/>
                <a:gd name="T37" fmla="*/ 6 h 12"/>
                <a:gd name="T38" fmla="*/ 0 w 6"/>
                <a:gd name="T39" fmla="*/ 6 h 12"/>
                <a:gd name="T40" fmla="*/ 0 w 6"/>
                <a:gd name="T41" fmla="*/ 6 h 12"/>
                <a:gd name="T42" fmla="*/ 0 w 6"/>
                <a:gd name="T43" fmla="*/ 6 h 12"/>
                <a:gd name="T44" fmla="*/ 0 w 6"/>
                <a:gd name="T45" fmla="*/ 6 h 12"/>
                <a:gd name="T46" fmla="*/ 0 w 6"/>
                <a:gd name="T47" fmla="*/ 6 h 12"/>
                <a:gd name="T48" fmla="*/ 0 w 6"/>
                <a:gd name="T49" fmla="*/ 6 h 12"/>
                <a:gd name="T50" fmla="*/ 0 w 6"/>
                <a:gd name="T51" fmla="*/ 6 h 12"/>
                <a:gd name="T52" fmla="*/ 0 w 6"/>
                <a:gd name="T53" fmla="*/ 6 h 12"/>
                <a:gd name="T54" fmla="*/ 0 w 6"/>
                <a:gd name="T55" fmla="*/ 6 h 12"/>
                <a:gd name="T56" fmla="*/ 0 w 6"/>
                <a:gd name="T57" fmla="*/ 6 h 12"/>
                <a:gd name="T58" fmla="*/ 0 w 6"/>
                <a:gd name="T59" fmla="*/ 5 h 12"/>
                <a:gd name="T60" fmla="*/ 0 w 6"/>
                <a:gd name="T61" fmla="*/ 5 h 12"/>
                <a:gd name="T62" fmla="*/ 0 w 6"/>
                <a:gd name="T63" fmla="*/ 5 h 12"/>
                <a:gd name="T64" fmla="*/ 0 w 6"/>
                <a:gd name="T65" fmla="*/ 5 h 12"/>
                <a:gd name="T66" fmla="*/ 0 w 6"/>
                <a:gd name="T67" fmla="*/ 5 h 12"/>
                <a:gd name="T68" fmla="*/ 0 w 6"/>
                <a:gd name="T69" fmla="*/ 5 h 12"/>
                <a:gd name="T70" fmla="*/ 3 w 6"/>
                <a:gd name="T7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12">
                  <a:moveTo>
                    <a:pt x="3" y="1"/>
                  </a:moveTo>
                  <a:cubicBezTo>
                    <a:pt x="4" y="1"/>
                    <a:pt x="5" y="0"/>
                    <a:pt x="5" y="1"/>
                  </a:cubicBezTo>
                  <a:cubicBezTo>
                    <a:pt x="6" y="1"/>
                    <a:pt x="6" y="2"/>
                    <a:pt x="5" y="3"/>
                  </a:cubicBezTo>
                  <a:cubicBezTo>
                    <a:pt x="3" y="6"/>
                    <a:pt x="3" y="6"/>
                    <a:pt x="3" y="6"/>
                  </a:cubicBezTo>
                  <a:cubicBezTo>
                    <a:pt x="5" y="9"/>
                    <a:pt x="5" y="9"/>
                    <a:pt x="5" y="9"/>
                  </a:cubicBezTo>
                  <a:cubicBezTo>
                    <a:pt x="6" y="10"/>
                    <a:pt x="6" y="11"/>
                    <a:pt x="5" y="11"/>
                  </a:cubicBezTo>
                  <a:cubicBezTo>
                    <a:pt x="5" y="12"/>
                    <a:pt x="4" y="12"/>
                    <a:pt x="3" y="11"/>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lnTo>
                    <a:pt x="3" y="1"/>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3" name="ïṧḻíḓè"/>
            <p:cNvSpPr/>
            <p:nvPr/>
          </p:nvSpPr>
          <p:spPr bwMode="auto">
            <a:xfrm>
              <a:off x="7278688" y="4489451"/>
              <a:ext cx="941388" cy="1457325"/>
            </a:xfrm>
            <a:custGeom>
              <a:avLst/>
              <a:gdLst>
                <a:gd name="T0" fmla="*/ 23 w 115"/>
                <a:gd name="T1" fmla="*/ 0 h 178"/>
                <a:gd name="T2" fmla="*/ 91 w 115"/>
                <a:gd name="T3" fmla="*/ 0 h 178"/>
                <a:gd name="T4" fmla="*/ 115 w 115"/>
                <a:gd name="T5" fmla="*/ 24 h 178"/>
                <a:gd name="T6" fmla="*/ 115 w 115"/>
                <a:gd name="T7" fmla="*/ 155 h 178"/>
                <a:gd name="T8" fmla="*/ 91 w 115"/>
                <a:gd name="T9" fmla="*/ 178 h 178"/>
                <a:gd name="T10" fmla="*/ 23 w 115"/>
                <a:gd name="T11" fmla="*/ 178 h 178"/>
                <a:gd name="T12" fmla="*/ 0 w 115"/>
                <a:gd name="T13" fmla="*/ 155 h 178"/>
                <a:gd name="T14" fmla="*/ 0 w 115"/>
                <a:gd name="T15" fmla="*/ 24 h 178"/>
                <a:gd name="T16" fmla="*/ 23 w 115"/>
                <a:gd name="T1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78">
                  <a:moveTo>
                    <a:pt x="23" y="0"/>
                  </a:moveTo>
                  <a:cubicBezTo>
                    <a:pt x="91" y="0"/>
                    <a:pt x="91" y="0"/>
                    <a:pt x="91" y="0"/>
                  </a:cubicBezTo>
                  <a:cubicBezTo>
                    <a:pt x="104" y="0"/>
                    <a:pt x="115" y="11"/>
                    <a:pt x="115" y="24"/>
                  </a:cubicBezTo>
                  <a:cubicBezTo>
                    <a:pt x="115" y="155"/>
                    <a:pt x="115" y="155"/>
                    <a:pt x="115" y="155"/>
                  </a:cubicBezTo>
                  <a:cubicBezTo>
                    <a:pt x="115" y="168"/>
                    <a:pt x="104" y="178"/>
                    <a:pt x="91" y="178"/>
                  </a:cubicBezTo>
                  <a:cubicBezTo>
                    <a:pt x="23" y="178"/>
                    <a:pt x="23" y="178"/>
                    <a:pt x="23" y="178"/>
                  </a:cubicBezTo>
                  <a:cubicBezTo>
                    <a:pt x="10" y="178"/>
                    <a:pt x="0" y="168"/>
                    <a:pt x="0" y="155"/>
                  </a:cubicBezTo>
                  <a:cubicBezTo>
                    <a:pt x="0" y="24"/>
                    <a:pt x="0" y="24"/>
                    <a:pt x="0" y="24"/>
                  </a:cubicBezTo>
                  <a:cubicBezTo>
                    <a:pt x="0" y="11"/>
                    <a:pt x="10" y="0"/>
                    <a:pt x="23" y="0"/>
                  </a:cubicBezTo>
                  <a:close/>
                </a:path>
              </a:pathLst>
            </a:custGeom>
            <a:solidFill>
              <a:srgbClr val="46749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4" name="iSḷïďè"/>
            <p:cNvSpPr/>
            <p:nvPr/>
          </p:nvSpPr>
          <p:spPr bwMode="auto">
            <a:xfrm>
              <a:off x="7327900" y="4645026"/>
              <a:ext cx="835025" cy="10969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75" name="îşlîďê"/>
            <p:cNvSpPr/>
            <p:nvPr/>
          </p:nvSpPr>
          <p:spPr bwMode="auto">
            <a:xfrm>
              <a:off x="7589838" y="4546601"/>
              <a:ext cx="311150" cy="23812"/>
            </a:xfrm>
            <a:custGeom>
              <a:avLst/>
              <a:gdLst>
                <a:gd name="T0" fmla="*/ 2 w 38"/>
                <a:gd name="T1" fmla="*/ 3 h 3"/>
                <a:gd name="T2" fmla="*/ 36 w 38"/>
                <a:gd name="T3" fmla="*/ 3 h 3"/>
                <a:gd name="T4" fmla="*/ 38 w 38"/>
                <a:gd name="T5" fmla="*/ 1 h 3"/>
                <a:gd name="T6" fmla="*/ 38 w 38"/>
                <a:gd name="T7" fmla="*/ 1 h 3"/>
                <a:gd name="T8" fmla="*/ 36 w 38"/>
                <a:gd name="T9" fmla="*/ 0 h 3"/>
                <a:gd name="T10" fmla="*/ 2 w 38"/>
                <a:gd name="T11" fmla="*/ 0 h 3"/>
                <a:gd name="T12" fmla="*/ 0 w 38"/>
                <a:gd name="T13" fmla="*/ 1 h 3"/>
                <a:gd name="T14" fmla="*/ 0 w 38"/>
                <a:gd name="T15" fmla="*/ 1 h 3"/>
                <a:gd name="T16" fmla="*/ 2 w 38"/>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
                  <a:moveTo>
                    <a:pt x="2" y="3"/>
                  </a:moveTo>
                  <a:cubicBezTo>
                    <a:pt x="36" y="3"/>
                    <a:pt x="36" y="3"/>
                    <a:pt x="36" y="3"/>
                  </a:cubicBezTo>
                  <a:cubicBezTo>
                    <a:pt x="37" y="3"/>
                    <a:pt x="38" y="2"/>
                    <a:pt x="38" y="1"/>
                  </a:cubicBezTo>
                  <a:cubicBezTo>
                    <a:pt x="38" y="1"/>
                    <a:pt x="38" y="1"/>
                    <a:pt x="38" y="1"/>
                  </a:cubicBezTo>
                  <a:cubicBezTo>
                    <a:pt x="38" y="0"/>
                    <a:pt x="37" y="0"/>
                    <a:pt x="36" y="0"/>
                  </a:cubicBezTo>
                  <a:cubicBezTo>
                    <a:pt x="2" y="0"/>
                    <a:pt x="2" y="0"/>
                    <a:pt x="2" y="0"/>
                  </a:cubicBezTo>
                  <a:cubicBezTo>
                    <a:pt x="1" y="0"/>
                    <a:pt x="0" y="0"/>
                    <a:pt x="0" y="1"/>
                  </a:cubicBezTo>
                  <a:cubicBezTo>
                    <a:pt x="0" y="1"/>
                    <a:pt x="0" y="1"/>
                    <a:pt x="0" y="1"/>
                  </a:cubicBezTo>
                  <a:cubicBezTo>
                    <a:pt x="0" y="2"/>
                    <a:pt x="1" y="3"/>
                    <a:pt x="2" y="3"/>
                  </a:cubicBezTo>
                  <a:close/>
                </a:path>
              </a:pathLst>
            </a:custGeom>
            <a:solidFill>
              <a:srgbClr val="A2C9E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6" name="îś1iḑe"/>
            <p:cNvSpPr/>
            <p:nvPr/>
          </p:nvSpPr>
          <p:spPr bwMode="auto">
            <a:xfrm>
              <a:off x="7491413" y="5824538"/>
              <a:ext cx="515938" cy="49212"/>
            </a:xfrm>
            <a:custGeom>
              <a:avLst/>
              <a:gdLst>
                <a:gd name="T0" fmla="*/ 2 w 63"/>
                <a:gd name="T1" fmla="*/ 6 h 6"/>
                <a:gd name="T2" fmla="*/ 60 w 63"/>
                <a:gd name="T3" fmla="*/ 6 h 6"/>
                <a:gd name="T4" fmla="*/ 63 w 63"/>
                <a:gd name="T5" fmla="*/ 3 h 6"/>
                <a:gd name="T6" fmla="*/ 63 w 63"/>
                <a:gd name="T7" fmla="*/ 3 h 6"/>
                <a:gd name="T8" fmla="*/ 60 w 63"/>
                <a:gd name="T9" fmla="*/ 0 h 6"/>
                <a:gd name="T10" fmla="*/ 2 w 63"/>
                <a:gd name="T11" fmla="*/ 0 h 6"/>
                <a:gd name="T12" fmla="*/ 0 w 63"/>
                <a:gd name="T13" fmla="*/ 3 h 6"/>
                <a:gd name="T14" fmla="*/ 0 w 63"/>
                <a:gd name="T15" fmla="*/ 3 h 6"/>
                <a:gd name="T16" fmla="*/ 2 w 63"/>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
                  <a:moveTo>
                    <a:pt x="2" y="6"/>
                  </a:moveTo>
                  <a:cubicBezTo>
                    <a:pt x="60" y="6"/>
                    <a:pt x="60" y="6"/>
                    <a:pt x="60" y="6"/>
                  </a:cubicBezTo>
                  <a:cubicBezTo>
                    <a:pt x="62" y="6"/>
                    <a:pt x="63" y="4"/>
                    <a:pt x="63" y="3"/>
                  </a:cubicBezTo>
                  <a:cubicBezTo>
                    <a:pt x="63" y="3"/>
                    <a:pt x="63" y="3"/>
                    <a:pt x="63" y="3"/>
                  </a:cubicBezTo>
                  <a:cubicBezTo>
                    <a:pt x="63" y="2"/>
                    <a:pt x="62" y="0"/>
                    <a:pt x="60" y="0"/>
                  </a:cubicBezTo>
                  <a:cubicBezTo>
                    <a:pt x="2" y="0"/>
                    <a:pt x="2" y="0"/>
                    <a:pt x="2" y="0"/>
                  </a:cubicBezTo>
                  <a:cubicBezTo>
                    <a:pt x="1" y="0"/>
                    <a:pt x="0" y="2"/>
                    <a:pt x="0" y="3"/>
                  </a:cubicBezTo>
                  <a:cubicBezTo>
                    <a:pt x="0" y="3"/>
                    <a:pt x="0" y="3"/>
                    <a:pt x="0" y="3"/>
                  </a:cubicBezTo>
                  <a:cubicBezTo>
                    <a:pt x="0" y="4"/>
                    <a:pt x="1" y="6"/>
                    <a:pt x="2" y="6"/>
                  </a:cubicBezTo>
                  <a:close/>
                </a:path>
              </a:pathLst>
            </a:custGeom>
            <a:solidFill>
              <a:srgbClr val="A2C9E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7" name="îşḷiďè"/>
            <p:cNvSpPr/>
            <p:nvPr/>
          </p:nvSpPr>
          <p:spPr bwMode="auto">
            <a:xfrm>
              <a:off x="7662863" y="5767388"/>
              <a:ext cx="173038" cy="163512"/>
            </a:xfrm>
            <a:prstGeom prst="ellipse">
              <a:avLst/>
            </a:prstGeom>
            <a:solidFill>
              <a:srgbClr val="46749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8" name="ïŝḻíďê"/>
            <p:cNvSpPr/>
            <p:nvPr/>
          </p:nvSpPr>
          <p:spPr bwMode="auto">
            <a:xfrm>
              <a:off x="7688263" y="5791201"/>
              <a:ext cx="114300" cy="115887"/>
            </a:xfrm>
            <a:prstGeom prst="ellipse">
              <a:avLst/>
            </a:prstGeom>
            <a:solidFill>
              <a:srgbClr val="A2C9E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79" name="íśľíďé"/>
            <p:cNvSpPr/>
            <p:nvPr/>
          </p:nvSpPr>
          <p:spPr bwMode="auto">
            <a:xfrm>
              <a:off x="7327900" y="4645026"/>
              <a:ext cx="835025" cy="10969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0" name="îŝ1iḑe"/>
            <p:cNvSpPr/>
            <p:nvPr/>
          </p:nvSpPr>
          <p:spPr bwMode="auto">
            <a:xfrm>
              <a:off x="7327900" y="4645026"/>
              <a:ext cx="835025" cy="49212"/>
            </a:xfrm>
            <a:prstGeom prst="rect">
              <a:avLst/>
            </a:prstGeom>
            <a:solidFill>
              <a:srgbClr val="A2C9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1" name="íṡlïḍè"/>
            <p:cNvSpPr/>
            <p:nvPr/>
          </p:nvSpPr>
          <p:spPr bwMode="auto">
            <a:xfrm>
              <a:off x="7556500" y="4727576"/>
              <a:ext cx="385763" cy="80962"/>
            </a:xfrm>
            <a:prstGeom prst="rect">
              <a:avLst/>
            </a:prstGeom>
            <a:solidFill>
              <a:srgbClr val="ED7B5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2" name="iṧlîḑé"/>
            <p:cNvSpPr/>
            <p:nvPr/>
          </p:nvSpPr>
          <p:spPr bwMode="auto">
            <a:xfrm>
              <a:off x="7327900" y="4906963"/>
              <a:ext cx="835025" cy="220662"/>
            </a:xfrm>
            <a:prstGeom prst="rect">
              <a:avLst/>
            </a:prstGeom>
            <a:solidFill>
              <a:srgbClr val="5896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3" name="îš1íde"/>
            <p:cNvSpPr/>
            <p:nvPr/>
          </p:nvSpPr>
          <p:spPr bwMode="auto">
            <a:xfrm>
              <a:off x="7491413" y="4841876"/>
              <a:ext cx="515938" cy="31750"/>
            </a:xfrm>
            <a:prstGeom prst="rect">
              <a:avLst/>
            </a:prstGeom>
            <a:solidFill>
              <a:srgbClr val="91BDE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4" name="í$1íḍé"/>
            <p:cNvSpPr/>
            <p:nvPr/>
          </p:nvSpPr>
          <p:spPr bwMode="auto">
            <a:xfrm>
              <a:off x="7385050" y="5176838"/>
              <a:ext cx="204788" cy="180975"/>
            </a:xfrm>
            <a:prstGeom prst="rect">
              <a:avLst/>
            </a:prstGeom>
            <a:solidFill>
              <a:srgbClr val="FFD47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5" name="îṡľíḍê"/>
            <p:cNvSpPr/>
            <p:nvPr/>
          </p:nvSpPr>
          <p:spPr bwMode="auto">
            <a:xfrm>
              <a:off x="7639050" y="5176838"/>
              <a:ext cx="212725" cy="180975"/>
            </a:xfrm>
            <a:prstGeom prst="rect">
              <a:avLst/>
            </a:prstGeom>
            <a:solidFill>
              <a:srgbClr val="FA98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6" name="iṥľîďé"/>
            <p:cNvSpPr/>
            <p:nvPr/>
          </p:nvSpPr>
          <p:spPr bwMode="auto">
            <a:xfrm>
              <a:off x="7900988" y="5176838"/>
              <a:ext cx="212725" cy="180975"/>
            </a:xfrm>
            <a:prstGeom prst="rect">
              <a:avLst/>
            </a:prstGeom>
            <a:solidFill>
              <a:srgbClr val="A2C9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7" name="islîde"/>
            <p:cNvSpPr/>
            <p:nvPr/>
          </p:nvSpPr>
          <p:spPr bwMode="auto">
            <a:xfrm>
              <a:off x="7327900" y="5645151"/>
              <a:ext cx="835025" cy="96837"/>
            </a:xfrm>
            <a:prstGeom prst="rect">
              <a:avLst/>
            </a:prstGeom>
            <a:solidFill>
              <a:srgbClr val="A2C9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8" name="îṣḷîḓe"/>
            <p:cNvSpPr/>
            <p:nvPr/>
          </p:nvSpPr>
          <p:spPr bwMode="auto">
            <a:xfrm>
              <a:off x="7385050" y="5381626"/>
              <a:ext cx="204788" cy="33337"/>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89" name="îṡļïḓè"/>
            <p:cNvSpPr/>
            <p:nvPr/>
          </p:nvSpPr>
          <p:spPr bwMode="auto">
            <a:xfrm>
              <a:off x="7385050" y="5438776"/>
              <a:ext cx="204788" cy="33337"/>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0" name="işḻîḋe"/>
            <p:cNvSpPr/>
            <p:nvPr/>
          </p:nvSpPr>
          <p:spPr bwMode="auto">
            <a:xfrm>
              <a:off x="7385050" y="5497513"/>
              <a:ext cx="204788" cy="39687"/>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1" name="ïṧľíḑe"/>
            <p:cNvSpPr/>
            <p:nvPr/>
          </p:nvSpPr>
          <p:spPr bwMode="auto">
            <a:xfrm>
              <a:off x="7385050" y="5562601"/>
              <a:ext cx="131763" cy="33337"/>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2" name="ísḻîdê"/>
            <p:cNvSpPr/>
            <p:nvPr/>
          </p:nvSpPr>
          <p:spPr bwMode="auto">
            <a:xfrm>
              <a:off x="7639050" y="5381626"/>
              <a:ext cx="212725" cy="33337"/>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3" name="ïṧ1iďé"/>
            <p:cNvSpPr/>
            <p:nvPr/>
          </p:nvSpPr>
          <p:spPr bwMode="auto">
            <a:xfrm>
              <a:off x="7639050" y="5438776"/>
              <a:ext cx="212725" cy="33337"/>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4" name="ïşļíḓê"/>
            <p:cNvSpPr/>
            <p:nvPr/>
          </p:nvSpPr>
          <p:spPr bwMode="auto">
            <a:xfrm>
              <a:off x="7639050" y="5497513"/>
              <a:ext cx="212725" cy="39687"/>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5" name="ísḷïḑê"/>
            <p:cNvSpPr/>
            <p:nvPr/>
          </p:nvSpPr>
          <p:spPr bwMode="auto">
            <a:xfrm>
              <a:off x="7639050" y="5562601"/>
              <a:ext cx="139700" cy="33337"/>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6" name="îṩḻíḓè"/>
            <p:cNvSpPr/>
            <p:nvPr/>
          </p:nvSpPr>
          <p:spPr bwMode="auto">
            <a:xfrm>
              <a:off x="7900988" y="5381626"/>
              <a:ext cx="212725" cy="33337"/>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7" name="îśḻîḋé"/>
            <p:cNvSpPr/>
            <p:nvPr/>
          </p:nvSpPr>
          <p:spPr bwMode="auto">
            <a:xfrm>
              <a:off x="7900988" y="5438776"/>
              <a:ext cx="212725" cy="33337"/>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8" name="işlïdê"/>
            <p:cNvSpPr/>
            <p:nvPr/>
          </p:nvSpPr>
          <p:spPr bwMode="auto">
            <a:xfrm>
              <a:off x="7900988" y="5497513"/>
              <a:ext cx="212725" cy="39687"/>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399" name="íS1iḓè"/>
            <p:cNvSpPr/>
            <p:nvPr/>
          </p:nvSpPr>
          <p:spPr bwMode="auto">
            <a:xfrm>
              <a:off x="7900988" y="5562601"/>
              <a:ext cx="139700" cy="33337"/>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00" name="íṥ1ídé"/>
            <p:cNvSpPr/>
            <p:nvPr/>
          </p:nvSpPr>
          <p:spPr bwMode="auto">
            <a:xfrm>
              <a:off x="8097838" y="4989513"/>
              <a:ext cx="31750" cy="57150"/>
            </a:xfrm>
            <a:custGeom>
              <a:avLst/>
              <a:gdLst>
                <a:gd name="T0" fmla="*/ 0 w 4"/>
                <a:gd name="T1" fmla="*/ 1 h 7"/>
                <a:gd name="T2" fmla="*/ 1 w 4"/>
                <a:gd name="T3" fmla="*/ 0 h 7"/>
                <a:gd name="T4" fmla="*/ 2 w 4"/>
                <a:gd name="T5" fmla="*/ 0 h 7"/>
                <a:gd name="T6" fmla="*/ 4 w 4"/>
                <a:gd name="T7" fmla="*/ 3 h 7"/>
                <a:gd name="T8" fmla="*/ 4 w 4"/>
                <a:gd name="T9" fmla="*/ 3 h 7"/>
                <a:gd name="T10" fmla="*/ 4 w 4"/>
                <a:gd name="T11" fmla="*/ 3 h 7"/>
                <a:gd name="T12" fmla="*/ 4 w 4"/>
                <a:gd name="T13" fmla="*/ 3 h 7"/>
                <a:gd name="T14" fmla="*/ 4 w 4"/>
                <a:gd name="T15" fmla="*/ 3 h 7"/>
                <a:gd name="T16" fmla="*/ 4 w 4"/>
                <a:gd name="T17" fmla="*/ 3 h 7"/>
                <a:gd name="T18" fmla="*/ 4 w 4"/>
                <a:gd name="T19" fmla="*/ 3 h 7"/>
                <a:gd name="T20" fmla="*/ 4 w 4"/>
                <a:gd name="T21" fmla="*/ 3 h 7"/>
                <a:gd name="T22" fmla="*/ 4 w 4"/>
                <a:gd name="T23" fmla="*/ 3 h 7"/>
                <a:gd name="T24" fmla="*/ 4 w 4"/>
                <a:gd name="T25" fmla="*/ 3 h 7"/>
                <a:gd name="T26" fmla="*/ 4 w 4"/>
                <a:gd name="T27" fmla="*/ 3 h 7"/>
                <a:gd name="T28" fmla="*/ 4 w 4"/>
                <a:gd name="T29" fmla="*/ 3 h 7"/>
                <a:gd name="T30" fmla="*/ 4 w 4"/>
                <a:gd name="T31" fmla="*/ 3 h 7"/>
                <a:gd name="T32" fmla="*/ 4 w 4"/>
                <a:gd name="T33" fmla="*/ 3 h 7"/>
                <a:gd name="T34" fmla="*/ 4 w 4"/>
                <a:gd name="T35" fmla="*/ 3 h 7"/>
                <a:gd name="T36" fmla="*/ 4 w 4"/>
                <a:gd name="T37" fmla="*/ 3 h 7"/>
                <a:gd name="T38" fmla="*/ 4 w 4"/>
                <a:gd name="T39" fmla="*/ 3 h 7"/>
                <a:gd name="T40" fmla="*/ 4 w 4"/>
                <a:gd name="T41" fmla="*/ 3 h 7"/>
                <a:gd name="T42" fmla="*/ 4 w 4"/>
                <a:gd name="T43" fmla="*/ 3 h 7"/>
                <a:gd name="T44" fmla="*/ 4 w 4"/>
                <a:gd name="T45" fmla="*/ 3 h 7"/>
                <a:gd name="T46" fmla="*/ 4 w 4"/>
                <a:gd name="T47" fmla="*/ 4 h 7"/>
                <a:gd name="T48" fmla="*/ 4 w 4"/>
                <a:gd name="T49" fmla="*/ 4 h 7"/>
                <a:gd name="T50" fmla="*/ 4 w 4"/>
                <a:gd name="T51" fmla="*/ 4 h 7"/>
                <a:gd name="T52" fmla="*/ 4 w 4"/>
                <a:gd name="T53" fmla="*/ 4 h 7"/>
                <a:gd name="T54" fmla="*/ 4 w 4"/>
                <a:gd name="T55" fmla="*/ 4 h 7"/>
                <a:gd name="T56" fmla="*/ 4 w 4"/>
                <a:gd name="T57" fmla="*/ 4 h 7"/>
                <a:gd name="T58" fmla="*/ 4 w 4"/>
                <a:gd name="T59" fmla="*/ 4 h 7"/>
                <a:gd name="T60" fmla="*/ 4 w 4"/>
                <a:gd name="T61" fmla="*/ 4 h 7"/>
                <a:gd name="T62" fmla="*/ 2 w 4"/>
                <a:gd name="T63" fmla="*/ 7 h 7"/>
                <a:gd name="T64" fmla="*/ 1 w 4"/>
                <a:gd name="T65" fmla="*/ 7 h 7"/>
                <a:gd name="T66" fmla="*/ 0 w 4"/>
                <a:gd name="T67" fmla="*/ 5 h 7"/>
                <a:gd name="T68" fmla="*/ 2 w 4"/>
                <a:gd name="T69" fmla="*/ 3 h 7"/>
                <a:gd name="T70" fmla="*/ 0 w 4"/>
                <a:gd name="T7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 h="7">
                  <a:moveTo>
                    <a:pt x="0" y="1"/>
                  </a:moveTo>
                  <a:cubicBezTo>
                    <a:pt x="0" y="1"/>
                    <a:pt x="0" y="0"/>
                    <a:pt x="1" y="0"/>
                  </a:cubicBezTo>
                  <a:cubicBezTo>
                    <a:pt x="1" y="0"/>
                    <a:pt x="1" y="0"/>
                    <a:pt x="2" y="0"/>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2" y="7"/>
                    <a:pt x="2" y="7"/>
                    <a:pt x="2" y="7"/>
                  </a:cubicBezTo>
                  <a:cubicBezTo>
                    <a:pt x="1" y="7"/>
                    <a:pt x="1" y="7"/>
                    <a:pt x="1" y="7"/>
                  </a:cubicBezTo>
                  <a:cubicBezTo>
                    <a:pt x="0" y="6"/>
                    <a:pt x="0" y="6"/>
                    <a:pt x="0" y="5"/>
                  </a:cubicBezTo>
                  <a:cubicBezTo>
                    <a:pt x="2" y="3"/>
                    <a:pt x="2" y="3"/>
                    <a:pt x="2" y="3"/>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1" name="íṩļidé"/>
            <p:cNvSpPr/>
            <p:nvPr/>
          </p:nvSpPr>
          <p:spPr bwMode="auto">
            <a:xfrm>
              <a:off x="7361238" y="4989513"/>
              <a:ext cx="31750" cy="57150"/>
            </a:xfrm>
            <a:custGeom>
              <a:avLst/>
              <a:gdLst>
                <a:gd name="T0" fmla="*/ 3 w 4"/>
                <a:gd name="T1" fmla="*/ 0 h 7"/>
                <a:gd name="T2" fmla="*/ 4 w 4"/>
                <a:gd name="T3" fmla="*/ 0 h 7"/>
                <a:gd name="T4" fmla="*/ 4 w 4"/>
                <a:gd name="T5" fmla="*/ 1 h 7"/>
                <a:gd name="T6" fmla="*/ 2 w 4"/>
                <a:gd name="T7" fmla="*/ 3 h 7"/>
                <a:gd name="T8" fmla="*/ 4 w 4"/>
                <a:gd name="T9" fmla="*/ 5 h 7"/>
                <a:gd name="T10" fmla="*/ 4 w 4"/>
                <a:gd name="T11" fmla="*/ 7 h 7"/>
                <a:gd name="T12" fmla="*/ 3 w 4"/>
                <a:gd name="T13" fmla="*/ 7 h 7"/>
                <a:gd name="T14" fmla="*/ 1 w 4"/>
                <a:gd name="T15" fmla="*/ 4 h 7"/>
                <a:gd name="T16" fmla="*/ 1 w 4"/>
                <a:gd name="T17" fmla="*/ 4 h 7"/>
                <a:gd name="T18" fmla="*/ 1 w 4"/>
                <a:gd name="T19" fmla="*/ 4 h 7"/>
                <a:gd name="T20" fmla="*/ 1 w 4"/>
                <a:gd name="T21" fmla="*/ 4 h 7"/>
                <a:gd name="T22" fmla="*/ 1 w 4"/>
                <a:gd name="T23" fmla="*/ 4 h 7"/>
                <a:gd name="T24" fmla="*/ 1 w 4"/>
                <a:gd name="T25" fmla="*/ 4 h 7"/>
                <a:gd name="T26" fmla="*/ 0 w 4"/>
                <a:gd name="T27" fmla="*/ 4 h 7"/>
                <a:gd name="T28" fmla="*/ 0 w 4"/>
                <a:gd name="T29" fmla="*/ 4 h 7"/>
                <a:gd name="T30" fmla="*/ 0 w 4"/>
                <a:gd name="T31" fmla="*/ 3 h 7"/>
                <a:gd name="T32" fmla="*/ 0 w 4"/>
                <a:gd name="T33" fmla="*/ 3 h 7"/>
                <a:gd name="T34" fmla="*/ 0 w 4"/>
                <a:gd name="T35" fmla="*/ 3 h 7"/>
                <a:gd name="T36" fmla="*/ 0 w 4"/>
                <a:gd name="T37" fmla="*/ 3 h 7"/>
                <a:gd name="T38" fmla="*/ 0 w 4"/>
                <a:gd name="T39" fmla="*/ 3 h 7"/>
                <a:gd name="T40" fmla="*/ 0 w 4"/>
                <a:gd name="T41" fmla="*/ 3 h 7"/>
                <a:gd name="T42" fmla="*/ 0 w 4"/>
                <a:gd name="T43" fmla="*/ 3 h 7"/>
                <a:gd name="T44" fmla="*/ 0 w 4"/>
                <a:gd name="T45" fmla="*/ 3 h 7"/>
                <a:gd name="T46" fmla="*/ 0 w 4"/>
                <a:gd name="T47" fmla="*/ 3 h 7"/>
                <a:gd name="T48" fmla="*/ 0 w 4"/>
                <a:gd name="T49" fmla="*/ 3 h 7"/>
                <a:gd name="T50" fmla="*/ 0 w 4"/>
                <a:gd name="T51" fmla="*/ 3 h 7"/>
                <a:gd name="T52" fmla="*/ 0 w 4"/>
                <a:gd name="T53" fmla="*/ 3 h 7"/>
                <a:gd name="T54" fmla="*/ 0 w 4"/>
                <a:gd name="T55" fmla="*/ 3 h 7"/>
                <a:gd name="T56" fmla="*/ 0 w 4"/>
                <a:gd name="T57" fmla="*/ 3 h 7"/>
                <a:gd name="T58" fmla="*/ 1 w 4"/>
                <a:gd name="T59" fmla="*/ 3 h 7"/>
                <a:gd name="T60" fmla="*/ 1 w 4"/>
                <a:gd name="T61" fmla="*/ 3 h 7"/>
                <a:gd name="T62" fmla="*/ 1 w 4"/>
                <a:gd name="T63" fmla="*/ 3 h 7"/>
                <a:gd name="T64" fmla="*/ 1 w 4"/>
                <a:gd name="T65" fmla="*/ 3 h 7"/>
                <a:gd name="T66" fmla="*/ 1 w 4"/>
                <a:gd name="T67" fmla="*/ 3 h 7"/>
                <a:gd name="T68" fmla="*/ 1 w 4"/>
                <a:gd name="T69" fmla="*/ 3 h 7"/>
                <a:gd name="T70" fmla="*/ 3 w 4"/>
                <a:gd name="T7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 h="7">
                  <a:moveTo>
                    <a:pt x="3" y="0"/>
                  </a:moveTo>
                  <a:cubicBezTo>
                    <a:pt x="3" y="0"/>
                    <a:pt x="4" y="0"/>
                    <a:pt x="4" y="0"/>
                  </a:cubicBezTo>
                  <a:cubicBezTo>
                    <a:pt x="4" y="0"/>
                    <a:pt x="4" y="1"/>
                    <a:pt x="4" y="1"/>
                  </a:cubicBezTo>
                  <a:cubicBezTo>
                    <a:pt x="2" y="3"/>
                    <a:pt x="2" y="3"/>
                    <a:pt x="2" y="3"/>
                  </a:cubicBezTo>
                  <a:cubicBezTo>
                    <a:pt x="4" y="5"/>
                    <a:pt x="4" y="5"/>
                    <a:pt x="4" y="5"/>
                  </a:cubicBezTo>
                  <a:cubicBezTo>
                    <a:pt x="4" y="6"/>
                    <a:pt x="4" y="6"/>
                    <a:pt x="4" y="7"/>
                  </a:cubicBezTo>
                  <a:cubicBezTo>
                    <a:pt x="4" y="7"/>
                    <a:pt x="3" y="7"/>
                    <a:pt x="3" y="7"/>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0" y="4"/>
                    <a:pt x="0" y="4"/>
                    <a:pt x="0" y="4"/>
                  </a:cubicBezTo>
                  <a:cubicBezTo>
                    <a:pt x="0" y="4"/>
                    <a:pt x="0" y="4"/>
                    <a:pt x="0" y="4"/>
                  </a:cubicBezTo>
                  <a:cubicBezTo>
                    <a:pt x="0" y="4"/>
                    <a:pt x="0" y="4"/>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2" name="ïṥ1ïḍé"/>
            <p:cNvSpPr/>
            <p:nvPr/>
          </p:nvSpPr>
          <p:spPr bwMode="auto">
            <a:xfrm>
              <a:off x="6910388" y="5168901"/>
              <a:ext cx="482600" cy="966787"/>
            </a:xfrm>
            <a:custGeom>
              <a:avLst/>
              <a:gdLst>
                <a:gd name="T0" fmla="*/ 12 w 59"/>
                <a:gd name="T1" fmla="*/ 0 h 118"/>
                <a:gd name="T2" fmla="*/ 47 w 59"/>
                <a:gd name="T3" fmla="*/ 0 h 118"/>
                <a:gd name="T4" fmla="*/ 59 w 59"/>
                <a:gd name="T5" fmla="*/ 12 h 118"/>
                <a:gd name="T6" fmla="*/ 59 w 59"/>
                <a:gd name="T7" fmla="*/ 106 h 118"/>
                <a:gd name="T8" fmla="*/ 47 w 59"/>
                <a:gd name="T9" fmla="*/ 118 h 118"/>
                <a:gd name="T10" fmla="*/ 13 w 59"/>
                <a:gd name="T11" fmla="*/ 118 h 118"/>
                <a:gd name="T12" fmla="*/ 0 w 59"/>
                <a:gd name="T13" fmla="*/ 106 h 118"/>
                <a:gd name="T14" fmla="*/ 0 w 59"/>
                <a:gd name="T15" fmla="*/ 12 h 118"/>
                <a:gd name="T16" fmla="*/ 12 w 59"/>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18">
                  <a:moveTo>
                    <a:pt x="12" y="0"/>
                  </a:moveTo>
                  <a:cubicBezTo>
                    <a:pt x="47" y="0"/>
                    <a:pt x="47" y="0"/>
                    <a:pt x="47" y="0"/>
                  </a:cubicBezTo>
                  <a:cubicBezTo>
                    <a:pt x="54" y="0"/>
                    <a:pt x="59" y="6"/>
                    <a:pt x="59" y="12"/>
                  </a:cubicBezTo>
                  <a:cubicBezTo>
                    <a:pt x="59" y="106"/>
                    <a:pt x="59" y="106"/>
                    <a:pt x="59" y="106"/>
                  </a:cubicBezTo>
                  <a:cubicBezTo>
                    <a:pt x="59" y="112"/>
                    <a:pt x="54" y="118"/>
                    <a:pt x="47" y="118"/>
                  </a:cubicBezTo>
                  <a:cubicBezTo>
                    <a:pt x="13" y="118"/>
                    <a:pt x="13" y="118"/>
                    <a:pt x="13" y="118"/>
                  </a:cubicBezTo>
                  <a:cubicBezTo>
                    <a:pt x="6" y="118"/>
                    <a:pt x="0" y="112"/>
                    <a:pt x="0" y="106"/>
                  </a:cubicBezTo>
                  <a:cubicBezTo>
                    <a:pt x="0" y="12"/>
                    <a:pt x="0" y="12"/>
                    <a:pt x="0" y="12"/>
                  </a:cubicBezTo>
                  <a:cubicBezTo>
                    <a:pt x="0" y="6"/>
                    <a:pt x="6" y="0"/>
                    <a:pt x="12" y="0"/>
                  </a:cubicBezTo>
                  <a:close/>
                </a:path>
              </a:pathLst>
            </a:custGeom>
            <a:solidFill>
              <a:srgbClr val="4D4D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3" name="ïśļiḋê"/>
            <p:cNvSpPr/>
            <p:nvPr/>
          </p:nvSpPr>
          <p:spPr bwMode="auto">
            <a:xfrm>
              <a:off x="6951663" y="5267326"/>
              <a:ext cx="409575" cy="7286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04" name="îṥ1îḑè"/>
            <p:cNvSpPr/>
            <p:nvPr/>
          </p:nvSpPr>
          <p:spPr bwMode="auto">
            <a:xfrm>
              <a:off x="7058025" y="5202238"/>
              <a:ext cx="196850" cy="23812"/>
            </a:xfrm>
            <a:custGeom>
              <a:avLst/>
              <a:gdLst>
                <a:gd name="T0" fmla="*/ 1 w 24"/>
                <a:gd name="T1" fmla="*/ 3 h 3"/>
                <a:gd name="T2" fmla="*/ 23 w 24"/>
                <a:gd name="T3" fmla="*/ 3 h 3"/>
                <a:gd name="T4" fmla="*/ 24 w 24"/>
                <a:gd name="T5" fmla="*/ 2 h 3"/>
                <a:gd name="T6" fmla="*/ 24 w 24"/>
                <a:gd name="T7" fmla="*/ 2 h 3"/>
                <a:gd name="T8" fmla="*/ 23 w 24"/>
                <a:gd name="T9" fmla="*/ 0 h 3"/>
                <a:gd name="T10" fmla="*/ 1 w 24"/>
                <a:gd name="T11" fmla="*/ 0 h 3"/>
                <a:gd name="T12" fmla="*/ 0 w 24"/>
                <a:gd name="T13" fmla="*/ 2 h 3"/>
                <a:gd name="T14" fmla="*/ 0 w 24"/>
                <a:gd name="T15" fmla="*/ 2 h 3"/>
                <a:gd name="T16" fmla="*/ 1 w 24"/>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
                  <a:moveTo>
                    <a:pt x="1" y="3"/>
                  </a:moveTo>
                  <a:cubicBezTo>
                    <a:pt x="23" y="3"/>
                    <a:pt x="23" y="3"/>
                    <a:pt x="23" y="3"/>
                  </a:cubicBezTo>
                  <a:cubicBezTo>
                    <a:pt x="24" y="3"/>
                    <a:pt x="24" y="2"/>
                    <a:pt x="24" y="2"/>
                  </a:cubicBezTo>
                  <a:cubicBezTo>
                    <a:pt x="24" y="2"/>
                    <a:pt x="24" y="2"/>
                    <a:pt x="24" y="2"/>
                  </a:cubicBezTo>
                  <a:cubicBezTo>
                    <a:pt x="24" y="1"/>
                    <a:pt x="24" y="0"/>
                    <a:pt x="23" y="0"/>
                  </a:cubicBezTo>
                  <a:cubicBezTo>
                    <a:pt x="1" y="0"/>
                    <a:pt x="1" y="0"/>
                    <a:pt x="1" y="0"/>
                  </a:cubicBezTo>
                  <a:cubicBezTo>
                    <a:pt x="0" y="0"/>
                    <a:pt x="0" y="1"/>
                    <a:pt x="0" y="2"/>
                  </a:cubicBezTo>
                  <a:cubicBezTo>
                    <a:pt x="0" y="2"/>
                    <a:pt x="0" y="2"/>
                    <a:pt x="0" y="2"/>
                  </a:cubicBezTo>
                  <a:cubicBezTo>
                    <a:pt x="0" y="2"/>
                    <a:pt x="0" y="3"/>
                    <a:pt x="1" y="3"/>
                  </a:cubicBezTo>
                  <a:close/>
                </a:path>
              </a:pathLst>
            </a:custGeom>
            <a:solidFill>
              <a:srgbClr val="CCCCC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5" name="ïśḷîďe"/>
            <p:cNvSpPr/>
            <p:nvPr/>
          </p:nvSpPr>
          <p:spPr bwMode="auto">
            <a:xfrm>
              <a:off x="6985000" y="6054726"/>
              <a:ext cx="342900" cy="31750"/>
            </a:xfrm>
            <a:custGeom>
              <a:avLst/>
              <a:gdLst>
                <a:gd name="T0" fmla="*/ 2 w 42"/>
                <a:gd name="T1" fmla="*/ 4 h 4"/>
                <a:gd name="T2" fmla="*/ 40 w 42"/>
                <a:gd name="T3" fmla="*/ 4 h 4"/>
                <a:gd name="T4" fmla="*/ 42 w 42"/>
                <a:gd name="T5" fmla="*/ 2 h 4"/>
                <a:gd name="T6" fmla="*/ 42 w 42"/>
                <a:gd name="T7" fmla="*/ 2 h 4"/>
                <a:gd name="T8" fmla="*/ 40 w 42"/>
                <a:gd name="T9" fmla="*/ 0 h 4"/>
                <a:gd name="T10" fmla="*/ 2 w 42"/>
                <a:gd name="T11" fmla="*/ 0 h 4"/>
                <a:gd name="T12" fmla="*/ 0 w 42"/>
                <a:gd name="T13" fmla="*/ 2 h 4"/>
                <a:gd name="T14" fmla="*/ 0 w 42"/>
                <a:gd name="T15" fmla="*/ 2 h 4"/>
                <a:gd name="T16" fmla="*/ 2 w 42"/>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
                  <a:moveTo>
                    <a:pt x="2" y="4"/>
                  </a:moveTo>
                  <a:cubicBezTo>
                    <a:pt x="40" y="4"/>
                    <a:pt x="40" y="4"/>
                    <a:pt x="40" y="4"/>
                  </a:cubicBezTo>
                  <a:cubicBezTo>
                    <a:pt x="41" y="4"/>
                    <a:pt x="42" y="3"/>
                    <a:pt x="42" y="2"/>
                  </a:cubicBezTo>
                  <a:cubicBezTo>
                    <a:pt x="42" y="2"/>
                    <a:pt x="42" y="2"/>
                    <a:pt x="42" y="2"/>
                  </a:cubicBezTo>
                  <a:cubicBezTo>
                    <a:pt x="42" y="1"/>
                    <a:pt x="41" y="0"/>
                    <a:pt x="40" y="0"/>
                  </a:cubicBezTo>
                  <a:cubicBezTo>
                    <a:pt x="2" y="0"/>
                    <a:pt x="2" y="0"/>
                    <a:pt x="2" y="0"/>
                  </a:cubicBezTo>
                  <a:cubicBezTo>
                    <a:pt x="1" y="0"/>
                    <a:pt x="0" y="1"/>
                    <a:pt x="0" y="2"/>
                  </a:cubicBezTo>
                  <a:cubicBezTo>
                    <a:pt x="0" y="2"/>
                    <a:pt x="0" y="2"/>
                    <a:pt x="0" y="2"/>
                  </a:cubicBezTo>
                  <a:cubicBezTo>
                    <a:pt x="0" y="3"/>
                    <a:pt x="1" y="4"/>
                    <a:pt x="2" y="4"/>
                  </a:cubicBezTo>
                  <a:close/>
                </a:path>
              </a:pathLst>
            </a:custGeom>
            <a:solidFill>
              <a:srgbClr val="CCCCC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6" name="í$líḋê"/>
            <p:cNvSpPr/>
            <p:nvPr/>
          </p:nvSpPr>
          <p:spPr bwMode="auto">
            <a:xfrm>
              <a:off x="7099300" y="6013451"/>
              <a:ext cx="114300" cy="114300"/>
            </a:xfrm>
            <a:prstGeom prst="ellipse">
              <a:avLst/>
            </a:prstGeom>
            <a:solidFill>
              <a:srgbClr val="4D4D4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7" name="išḻîďé"/>
            <p:cNvSpPr/>
            <p:nvPr/>
          </p:nvSpPr>
          <p:spPr bwMode="auto">
            <a:xfrm>
              <a:off x="7115175" y="6029326"/>
              <a:ext cx="82550" cy="82550"/>
            </a:xfrm>
            <a:prstGeom prst="ellipse">
              <a:avLst/>
            </a:prstGeom>
            <a:solidFill>
              <a:srgbClr val="CCCCC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08" name="ïṥḷíḍè"/>
            <p:cNvSpPr/>
            <p:nvPr/>
          </p:nvSpPr>
          <p:spPr bwMode="auto">
            <a:xfrm>
              <a:off x="6951663" y="5267326"/>
              <a:ext cx="409575" cy="549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09" name="îśliďè"/>
            <p:cNvSpPr/>
            <p:nvPr/>
          </p:nvSpPr>
          <p:spPr bwMode="auto">
            <a:xfrm>
              <a:off x="6951663" y="5267326"/>
              <a:ext cx="409575" cy="33337"/>
            </a:xfrm>
            <a:prstGeom prst="rect">
              <a:avLst/>
            </a:prstGeom>
            <a:solidFill>
              <a:srgbClr val="A2C9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0" name="îṣḻiḍé"/>
            <p:cNvSpPr/>
            <p:nvPr/>
          </p:nvSpPr>
          <p:spPr bwMode="auto">
            <a:xfrm>
              <a:off x="7058025" y="5316538"/>
              <a:ext cx="196850" cy="41275"/>
            </a:xfrm>
            <a:prstGeom prst="rect">
              <a:avLst/>
            </a:prstGeom>
            <a:solidFill>
              <a:srgbClr val="ED7B5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1" name="ï$ļiḑe"/>
            <p:cNvSpPr/>
            <p:nvPr/>
          </p:nvSpPr>
          <p:spPr bwMode="auto">
            <a:xfrm>
              <a:off x="6951663" y="5399088"/>
              <a:ext cx="409575" cy="114300"/>
            </a:xfrm>
            <a:prstGeom prst="rect">
              <a:avLst/>
            </a:prstGeom>
            <a:solidFill>
              <a:srgbClr val="5896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2" name="íṡ1ïdè"/>
            <p:cNvSpPr/>
            <p:nvPr/>
          </p:nvSpPr>
          <p:spPr bwMode="auto">
            <a:xfrm>
              <a:off x="7024688" y="5373688"/>
              <a:ext cx="254000" cy="17462"/>
            </a:xfrm>
            <a:prstGeom prst="rect">
              <a:avLst/>
            </a:prstGeom>
            <a:solidFill>
              <a:srgbClr val="91BDE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3" name="ïšḷíďe"/>
            <p:cNvSpPr/>
            <p:nvPr/>
          </p:nvSpPr>
          <p:spPr bwMode="auto">
            <a:xfrm>
              <a:off x="6975475" y="5537201"/>
              <a:ext cx="98425" cy="90487"/>
            </a:xfrm>
            <a:prstGeom prst="rect">
              <a:avLst/>
            </a:prstGeom>
            <a:solidFill>
              <a:srgbClr val="FFD47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4" name="ïśḻídé"/>
            <p:cNvSpPr/>
            <p:nvPr/>
          </p:nvSpPr>
          <p:spPr bwMode="auto">
            <a:xfrm>
              <a:off x="7107238" y="5537201"/>
              <a:ext cx="98425" cy="90487"/>
            </a:xfrm>
            <a:prstGeom prst="rect">
              <a:avLst/>
            </a:prstGeom>
            <a:solidFill>
              <a:srgbClr val="FA989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5" name="ïSlïďé"/>
            <p:cNvSpPr/>
            <p:nvPr/>
          </p:nvSpPr>
          <p:spPr bwMode="auto">
            <a:xfrm>
              <a:off x="7229475" y="5537201"/>
              <a:ext cx="106363" cy="90487"/>
            </a:xfrm>
            <a:prstGeom prst="rect">
              <a:avLst/>
            </a:prstGeom>
            <a:solidFill>
              <a:srgbClr val="A2C9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6" name="ïşļiďé"/>
            <p:cNvSpPr/>
            <p:nvPr/>
          </p:nvSpPr>
          <p:spPr bwMode="auto">
            <a:xfrm>
              <a:off x="6951663" y="5956301"/>
              <a:ext cx="409575" cy="39687"/>
            </a:xfrm>
            <a:prstGeom prst="rect">
              <a:avLst/>
            </a:prstGeom>
            <a:solidFill>
              <a:srgbClr val="A2C9E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7" name="ïṧ1îde"/>
            <p:cNvSpPr/>
            <p:nvPr/>
          </p:nvSpPr>
          <p:spPr bwMode="auto">
            <a:xfrm>
              <a:off x="6975475" y="5635626"/>
              <a:ext cx="98425" cy="17462"/>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8" name="íŝlïḍê"/>
            <p:cNvSpPr/>
            <p:nvPr/>
          </p:nvSpPr>
          <p:spPr bwMode="auto">
            <a:xfrm>
              <a:off x="6975475" y="5668963"/>
              <a:ext cx="98425" cy="15875"/>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19" name="ïsḷïḋe"/>
            <p:cNvSpPr/>
            <p:nvPr/>
          </p:nvSpPr>
          <p:spPr bwMode="auto">
            <a:xfrm>
              <a:off x="6975475" y="5692776"/>
              <a:ext cx="98425" cy="17462"/>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0" name="ïṥ1ïḋè"/>
            <p:cNvSpPr/>
            <p:nvPr/>
          </p:nvSpPr>
          <p:spPr bwMode="auto">
            <a:xfrm>
              <a:off x="6975475" y="5726113"/>
              <a:ext cx="66675" cy="15875"/>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1" name="ïṥľíďe"/>
            <p:cNvSpPr/>
            <p:nvPr/>
          </p:nvSpPr>
          <p:spPr bwMode="auto">
            <a:xfrm>
              <a:off x="7107238" y="5635626"/>
              <a:ext cx="98425" cy="17462"/>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2" name="ïŝ1iḑe"/>
            <p:cNvSpPr/>
            <p:nvPr/>
          </p:nvSpPr>
          <p:spPr bwMode="auto">
            <a:xfrm>
              <a:off x="7107238" y="5668963"/>
              <a:ext cx="98425" cy="15875"/>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3" name="iś1îďè"/>
            <p:cNvSpPr/>
            <p:nvPr/>
          </p:nvSpPr>
          <p:spPr bwMode="auto">
            <a:xfrm>
              <a:off x="7107238" y="5692776"/>
              <a:ext cx="98425" cy="17462"/>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4" name="íSḷíďê"/>
            <p:cNvSpPr/>
            <p:nvPr/>
          </p:nvSpPr>
          <p:spPr bwMode="auto">
            <a:xfrm>
              <a:off x="7107238" y="5726113"/>
              <a:ext cx="65088" cy="15875"/>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5" name="ïsļíḍè"/>
            <p:cNvSpPr/>
            <p:nvPr/>
          </p:nvSpPr>
          <p:spPr bwMode="auto">
            <a:xfrm>
              <a:off x="7229475" y="5635626"/>
              <a:ext cx="106363" cy="17462"/>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6" name="îşļîḓé"/>
            <p:cNvSpPr/>
            <p:nvPr/>
          </p:nvSpPr>
          <p:spPr bwMode="auto">
            <a:xfrm>
              <a:off x="7229475" y="5668963"/>
              <a:ext cx="106363" cy="15875"/>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7" name="îşḷiďé"/>
            <p:cNvSpPr/>
            <p:nvPr/>
          </p:nvSpPr>
          <p:spPr bwMode="auto">
            <a:xfrm>
              <a:off x="7229475" y="5692776"/>
              <a:ext cx="106363" cy="17462"/>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8" name="ïṧļîḓê"/>
            <p:cNvSpPr/>
            <p:nvPr/>
          </p:nvSpPr>
          <p:spPr bwMode="auto">
            <a:xfrm>
              <a:off x="7229475" y="5726113"/>
              <a:ext cx="65088" cy="15875"/>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29" name="ïsļîḑe"/>
            <p:cNvSpPr/>
            <p:nvPr/>
          </p:nvSpPr>
          <p:spPr bwMode="auto">
            <a:xfrm>
              <a:off x="6975475" y="5767388"/>
              <a:ext cx="360363" cy="90487"/>
            </a:xfrm>
            <a:prstGeom prst="rect">
              <a:avLst/>
            </a:prstGeom>
            <a:solidFill>
              <a:srgbClr val="91BDE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30" name="ïṩļîḑê"/>
            <p:cNvSpPr/>
            <p:nvPr/>
          </p:nvSpPr>
          <p:spPr bwMode="auto">
            <a:xfrm>
              <a:off x="6975475" y="5881688"/>
              <a:ext cx="360363" cy="15875"/>
            </a:xfrm>
            <a:prstGeom prst="rect">
              <a:avLst/>
            </a:prstGeom>
            <a:solidFill>
              <a:srgbClr val="91BDE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31" name="íṡľîḍé"/>
            <p:cNvSpPr/>
            <p:nvPr/>
          </p:nvSpPr>
          <p:spPr bwMode="auto">
            <a:xfrm>
              <a:off x="6975475" y="5907088"/>
              <a:ext cx="180975" cy="23812"/>
            </a:xfrm>
            <a:prstGeom prst="rect">
              <a:avLst/>
            </a:prstGeom>
            <a:solidFill>
              <a:srgbClr val="91BDE3"/>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32" name="íṩļîdê"/>
            <p:cNvSpPr/>
            <p:nvPr/>
          </p:nvSpPr>
          <p:spPr bwMode="auto">
            <a:xfrm>
              <a:off x="7335838" y="5448301"/>
              <a:ext cx="15875" cy="23812"/>
            </a:xfrm>
            <a:custGeom>
              <a:avLst/>
              <a:gdLst>
                <a:gd name="T0" fmla="*/ 0 w 2"/>
                <a:gd name="T1" fmla="*/ 0 h 3"/>
                <a:gd name="T2" fmla="*/ 0 w 2"/>
                <a:gd name="T3" fmla="*/ 0 h 3"/>
                <a:gd name="T4" fmla="*/ 1 w 2"/>
                <a:gd name="T5" fmla="*/ 0 h 3"/>
                <a:gd name="T6" fmla="*/ 2 w 2"/>
                <a:gd name="T7" fmla="*/ 1 h 3"/>
                <a:gd name="T8" fmla="*/ 2 w 2"/>
                <a:gd name="T9" fmla="*/ 1 h 3"/>
                <a:gd name="T10" fmla="*/ 2 w 2"/>
                <a:gd name="T11" fmla="*/ 1 h 3"/>
                <a:gd name="T12" fmla="*/ 2 w 2"/>
                <a:gd name="T13" fmla="*/ 1 h 3"/>
                <a:gd name="T14" fmla="*/ 2 w 2"/>
                <a:gd name="T15" fmla="*/ 1 h 3"/>
                <a:gd name="T16" fmla="*/ 2 w 2"/>
                <a:gd name="T17" fmla="*/ 1 h 3"/>
                <a:gd name="T18" fmla="*/ 2 w 2"/>
                <a:gd name="T19" fmla="*/ 1 h 3"/>
                <a:gd name="T20" fmla="*/ 2 w 2"/>
                <a:gd name="T21" fmla="*/ 1 h 3"/>
                <a:gd name="T22" fmla="*/ 2 w 2"/>
                <a:gd name="T23" fmla="*/ 1 h 3"/>
                <a:gd name="T24" fmla="*/ 2 w 2"/>
                <a:gd name="T25" fmla="*/ 1 h 3"/>
                <a:gd name="T26" fmla="*/ 2 w 2"/>
                <a:gd name="T27" fmla="*/ 1 h 3"/>
                <a:gd name="T28" fmla="*/ 2 w 2"/>
                <a:gd name="T29" fmla="*/ 1 h 3"/>
                <a:gd name="T30" fmla="*/ 2 w 2"/>
                <a:gd name="T31" fmla="*/ 1 h 3"/>
                <a:gd name="T32" fmla="*/ 2 w 2"/>
                <a:gd name="T33" fmla="*/ 1 h 3"/>
                <a:gd name="T34" fmla="*/ 2 w 2"/>
                <a:gd name="T35" fmla="*/ 1 h 3"/>
                <a:gd name="T36" fmla="*/ 2 w 2"/>
                <a:gd name="T37" fmla="*/ 1 h 3"/>
                <a:gd name="T38" fmla="*/ 2 w 2"/>
                <a:gd name="T39" fmla="*/ 2 h 3"/>
                <a:gd name="T40" fmla="*/ 2 w 2"/>
                <a:gd name="T41" fmla="*/ 2 h 3"/>
                <a:gd name="T42" fmla="*/ 2 w 2"/>
                <a:gd name="T43" fmla="*/ 2 h 3"/>
                <a:gd name="T44" fmla="*/ 2 w 2"/>
                <a:gd name="T45" fmla="*/ 2 h 3"/>
                <a:gd name="T46" fmla="*/ 2 w 2"/>
                <a:gd name="T47" fmla="*/ 2 h 3"/>
                <a:gd name="T48" fmla="*/ 2 w 2"/>
                <a:gd name="T49" fmla="*/ 2 h 3"/>
                <a:gd name="T50" fmla="*/ 2 w 2"/>
                <a:gd name="T51" fmla="*/ 2 h 3"/>
                <a:gd name="T52" fmla="*/ 2 w 2"/>
                <a:gd name="T53" fmla="*/ 2 h 3"/>
                <a:gd name="T54" fmla="*/ 2 w 2"/>
                <a:gd name="T55" fmla="*/ 2 h 3"/>
                <a:gd name="T56" fmla="*/ 2 w 2"/>
                <a:gd name="T57" fmla="*/ 2 h 3"/>
                <a:gd name="T58" fmla="*/ 2 w 2"/>
                <a:gd name="T59" fmla="*/ 2 h 3"/>
                <a:gd name="T60" fmla="*/ 2 w 2"/>
                <a:gd name="T61" fmla="*/ 2 h 3"/>
                <a:gd name="T62" fmla="*/ 1 w 2"/>
                <a:gd name="T63" fmla="*/ 3 h 3"/>
                <a:gd name="T64" fmla="*/ 0 w 2"/>
                <a:gd name="T65" fmla="*/ 3 h 3"/>
                <a:gd name="T66" fmla="*/ 0 w 2"/>
                <a:gd name="T67" fmla="*/ 3 h 3"/>
                <a:gd name="T68" fmla="*/ 1 w 2"/>
                <a:gd name="T69" fmla="*/ 1 h 3"/>
                <a:gd name="T70" fmla="*/ 0 w 2"/>
                <a:gd name="T7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 h="3">
                  <a:moveTo>
                    <a:pt x="0" y="0"/>
                  </a:moveTo>
                  <a:cubicBezTo>
                    <a:pt x="0" y="0"/>
                    <a:pt x="0" y="0"/>
                    <a:pt x="0" y="0"/>
                  </a:cubicBezTo>
                  <a:cubicBezTo>
                    <a:pt x="0" y="0"/>
                    <a:pt x="1" y="0"/>
                    <a:pt x="1" y="0"/>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1" y="3"/>
                    <a:pt x="1" y="3"/>
                    <a:pt x="1" y="3"/>
                  </a:cubicBezTo>
                  <a:cubicBezTo>
                    <a:pt x="1" y="3"/>
                    <a:pt x="0" y="3"/>
                    <a:pt x="0" y="3"/>
                  </a:cubicBezTo>
                  <a:cubicBezTo>
                    <a:pt x="0" y="3"/>
                    <a:pt x="0" y="3"/>
                    <a:pt x="0" y="3"/>
                  </a:cubicBezTo>
                  <a:cubicBezTo>
                    <a:pt x="1" y="1"/>
                    <a:pt x="1" y="1"/>
                    <a:pt x="1" y="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33" name="î$1iḍe"/>
            <p:cNvSpPr/>
            <p:nvPr/>
          </p:nvSpPr>
          <p:spPr bwMode="auto">
            <a:xfrm>
              <a:off x="6959600" y="5448301"/>
              <a:ext cx="15875" cy="23812"/>
            </a:xfrm>
            <a:custGeom>
              <a:avLst/>
              <a:gdLst>
                <a:gd name="T0" fmla="*/ 1 w 2"/>
                <a:gd name="T1" fmla="*/ 0 h 3"/>
                <a:gd name="T2" fmla="*/ 2 w 2"/>
                <a:gd name="T3" fmla="*/ 0 h 3"/>
                <a:gd name="T4" fmla="*/ 2 w 2"/>
                <a:gd name="T5" fmla="*/ 0 h 3"/>
                <a:gd name="T6" fmla="*/ 1 w 2"/>
                <a:gd name="T7" fmla="*/ 1 h 3"/>
                <a:gd name="T8" fmla="*/ 2 w 2"/>
                <a:gd name="T9" fmla="*/ 3 h 3"/>
                <a:gd name="T10" fmla="*/ 2 w 2"/>
                <a:gd name="T11" fmla="*/ 3 h 3"/>
                <a:gd name="T12" fmla="*/ 1 w 2"/>
                <a:gd name="T13" fmla="*/ 3 h 3"/>
                <a:gd name="T14" fmla="*/ 0 w 2"/>
                <a:gd name="T15" fmla="*/ 2 h 3"/>
                <a:gd name="T16" fmla="*/ 0 w 2"/>
                <a:gd name="T17" fmla="*/ 2 h 3"/>
                <a:gd name="T18" fmla="*/ 0 w 2"/>
                <a:gd name="T19" fmla="*/ 2 h 3"/>
                <a:gd name="T20" fmla="*/ 0 w 2"/>
                <a:gd name="T21" fmla="*/ 2 h 3"/>
                <a:gd name="T22" fmla="*/ 0 w 2"/>
                <a:gd name="T23" fmla="*/ 2 h 3"/>
                <a:gd name="T24" fmla="*/ 0 w 2"/>
                <a:gd name="T25" fmla="*/ 2 h 3"/>
                <a:gd name="T26" fmla="*/ 0 w 2"/>
                <a:gd name="T27" fmla="*/ 2 h 3"/>
                <a:gd name="T28" fmla="*/ 0 w 2"/>
                <a:gd name="T29" fmla="*/ 2 h 3"/>
                <a:gd name="T30" fmla="*/ 0 w 2"/>
                <a:gd name="T31" fmla="*/ 2 h 3"/>
                <a:gd name="T32" fmla="*/ 0 w 2"/>
                <a:gd name="T33" fmla="*/ 2 h 3"/>
                <a:gd name="T34" fmla="*/ 0 w 2"/>
                <a:gd name="T35" fmla="*/ 2 h 3"/>
                <a:gd name="T36" fmla="*/ 0 w 2"/>
                <a:gd name="T37" fmla="*/ 2 h 3"/>
                <a:gd name="T38" fmla="*/ 0 w 2"/>
                <a:gd name="T39" fmla="*/ 1 h 3"/>
                <a:gd name="T40" fmla="*/ 0 w 2"/>
                <a:gd name="T41" fmla="*/ 1 h 3"/>
                <a:gd name="T42" fmla="*/ 0 w 2"/>
                <a:gd name="T43" fmla="*/ 1 h 3"/>
                <a:gd name="T44" fmla="*/ 0 w 2"/>
                <a:gd name="T45" fmla="*/ 1 h 3"/>
                <a:gd name="T46" fmla="*/ 0 w 2"/>
                <a:gd name="T47" fmla="*/ 1 h 3"/>
                <a:gd name="T48" fmla="*/ 0 w 2"/>
                <a:gd name="T49" fmla="*/ 1 h 3"/>
                <a:gd name="T50" fmla="*/ 0 w 2"/>
                <a:gd name="T51" fmla="*/ 1 h 3"/>
                <a:gd name="T52" fmla="*/ 0 w 2"/>
                <a:gd name="T53" fmla="*/ 1 h 3"/>
                <a:gd name="T54" fmla="*/ 0 w 2"/>
                <a:gd name="T55" fmla="*/ 1 h 3"/>
                <a:gd name="T56" fmla="*/ 0 w 2"/>
                <a:gd name="T57" fmla="*/ 1 h 3"/>
                <a:gd name="T58" fmla="*/ 0 w 2"/>
                <a:gd name="T59" fmla="*/ 1 h 3"/>
                <a:gd name="T60" fmla="*/ 0 w 2"/>
                <a:gd name="T61" fmla="*/ 1 h 3"/>
                <a:gd name="T62" fmla="*/ 0 w 2"/>
                <a:gd name="T63" fmla="*/ 1 h 3"/>
                <a:gd name="T64" fmla="*/ 0 w 2"/>
                <a:gd name="T65" fmla="*/ 1 h 3"/>
                <a:gd name="T66" fmla="*/ 0 w 2"/>
                <a:gd name="T67" fmla="*/ 1 h 3"/>
                <a:gd name="T68" fmla="*/ 0 w 2"/>
                <a:gd name="T69" fmla="*/ 1 h 3"/>
                <a:gd name="T70" fmla="*/ 1 w 2"/>
                <a:gd name="T7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 h="3">
                  <a:moveTo>
                    <a:pt x="1" y="0"/>
                  </a:moveTo>
                  <a:cubicBezTo>
                    <a:pt x="1" y="0"/>
                    <a:pt x="1" y="0"/>
                    <a:pt x="2" y="0"/>
                  </a:cubicBezTo>
                  <a:cubicBezTo>
                    <a:pt x="2" y="0"/>
                    <a:pt x="2" y="0"/>
                    <a:pt x="2" y="0"/>
                  </a:cubicBezTo>
                  <a:cubicBezTo>
                    <a:pt x="1" y="1"/>
                    <a:pt x="1" y="1"/>
                    <a:pt x="1" y="1"/>
                  </a:cubicBezTo>
                  <a:cubicBezTo>
                    <a:pt x="2" y="3"/>
                    <a:pt x="2" y="3"/>
                    <a:pt x="2" y="3"/>
                  </a:cubicBezTo>
                  <a:cubicBezTo>
                    <a:pt x="2" y="3"/>
                    <a:pt x="2" y="3"/>
                    <a:pt x="2" y="3"/>
                  </a:cubicBezTo>
                  <a:cubicBezTo>
                    <a:pt x="1" y="3"/>
                    <a:pt x="1" y="3"/>
                    <a:pt x="1" y="3"/>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nvGrpSpPr>
          <p:cNvPr id="464" name="组合 46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9552607" y="2267540"/>
            <a:ext cx="2088299" cy="971884"/>
            <a:chOff x="2848769" y="608807"/>
            <a:chExt cx="6494463" cy="5640387"/>
          </a:xfrm>
        </p:grpSpPr>
        <p:sp>
          <p:nvSpPr>
            <p:cNvPr id="465" name="íṩlîdé"/>
            <p:cNvSpPr/>
            <p:nvPr/>
          </p:nvSpPr>
          <p:spPr bwMode="auto">
            <a:xfrm>
              <a:off x="5830094" y="3999707"/>
              <a:ext cx="889000" cy="687388"/>
            </a:xfrm>
            <a:custGeom>
              <a:avLst/>
              <a:gdLst>
                <a:gd name="T0" fmla="*/ 0 w 560"/>
                <a:gd name="T1" fmla="*/ 142 h 433"/>
                <a:gd name="T2" fmla="*/ 472 w 560"/>
                <a:gd name="T3" fmla="*/ 0 h 433"/>
                <a:gd name="T4" fmla="*/ 560 w 560"/>
                <a:gd name="T5" fmla="*/ 291 h 433"/>
                <a:gd name="T6" fmla="*/ 86 w 560"/>
                <a:gd name="T7" fmla="*/ 433 h 433"/>
                <a:gd name="T8" fmla="*/ 0 w 560"/>
                <a:gd name="T9" fmla="*/ 142 h 433"/>
              </a:gdLst>
              <a:ahLst/>
              <a:cxnLst>
                <a:cxn ang="0">
                  <a:pos x="T0" y="T1"/>
                </a:cxn>
                <a:cxn ang="0">
                  <a:pos x="T2" y="T3"/>
                </a:cxn>
                <a:cxn ang="0">
                  <a:pos x="T4" y="T5"/>
                </a:cxn>
                <a:cxn ang="0">
                  <a:pos x="T6" y="T7"/>
                </a:cxn>
                <a:cxn ang="0">
                  <a:pos x="T8" y="T9"/>
                </a:cxn>
              </a:cxnLst>
              <a:rect l="0" t="0" r="r" b="b"/>
              <a:pathLst>
                <a:path w="560" h="433">
                  <a:moveTo>
                    <a:pt x="0" y="142"/>
                  </a:moveTo>
                  <a:lnTo>
                    <a:pt x="472" y="0"/>
                  </a:lnTo>
                  <a:lnTo>
                    <a:pt x="560" y="291"/>
                  </a:lnTo>
                  <a:lnTo>
                    <a:pt x="86" y="433"/>
                  </a:lnTo>
                  <a:lnTo>
                    <a:pt x="0" y="142"/>
                  </a:lnTo>
                  <a:close/>
                </a:path>
              </a:pathLst>
            </a:custGeom>
            <a:solidFill>
              <a:srgbClr val="EEEEE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6" name="îṥḷîďê"/>
            <p:cNvSpPr/>
            <p:nvPr/>
          </p:nvSpPr>
          <p:spPr bwMode="auto">
            <a:xfrm>
              <a:off x="5830094" y="3999707"/>
              <a:ext cx="889000" cy="687388"/>
            </a:xfrm>
            <a:custGeom>
              <a:avLst/>
              <a:gdLst>
                <a:gd name="T0" fmla="*/ 0 w 560"/>
                <a:gd name="T1" fmla="*/ 142 h 433"/>
                <a:gd name="T2" fmla="*/ 472 w 560"/>
                <a:gd name="T3" fmla="*/ 0 h 433"/>
                <a:gd name="T4" fmla="*/ 560 w 560"/>
                <a:gd name="T5" fmla="*/ 291 h 433"/>
                <a:gd name="T6" fmla="*/ 86 w 560"/>
                <a:gd name="T7" fmla="*/ 433 h 433"/>
                <a:gd name="T8" fmla="*/ 0 w 560"/>
                <a:gd name="T9" fmla="*/ 142 h 433"/>
              </a:gdLst>
              <a:ahLst/>
              <a:cxnLst>
                <a:cxn ang="0">
                  <a:pos x="T0" y="T1"/>
                </a:cxn>
                <a:cxn ang="0">
                  <a:pos x="T2" y="T3"/>
                </a:cxn>
                <a:cxn ang="0">
                  <a:pos x="T4" y="T5"/>
                </a:cxn>
                <a:cxn ang="0">
                  <a:pos x="T6" y="T7"/>
                </a:cxn>
                <a:cxn ang="0">
                  <a:pos x="T8" y="T9"/>
                </a:cxn>
              </a:cxnLst>
              <a:rect l="0" t="0" r="r" b="b"/>
              <a:pathLst>
                <a:path w="560" h="433">
                  <a:moveTo>
                    <a:pt x="0" y="142"/>
                  </a:moveTo>
                  <a:lnTo>
                    <a:pt x="472" y="0"/>
                  </a:lnTo>
                  <a:lnTo>
                    <a:pt x="560" y="291"/>
                  </a:lnTo>
                  <a:lnTo>
                    <a:pt x="86" y="433"/>
                  </a:lnTo>
                  <a:lnTo>
                    <a:pt x="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7" name="íšḷíḋè"/>
            <p:cNvSpPr/>
            <p:nvPr/>
          </p:nvSpPr>
          <p:spPr bwMode="auto">
            <a:xfrm>
              <a:off x="5841207" y="4017169"/>
              <a:ext cx="855663" cy="646113"/>
            </a:xfrm>
            <a:custGeom>
              <a:avLst/>
              <a:gdLst>
                <a:gd name="T0" fmla="*/ 0 w 539"/>
                <a:gd name="T1" fmla="*/ 137 h 407"/>
                <a:gd name="T2" fmla="*/ 457 w 539"/>
                <a:gd name="T3" fmla="*/ 0 h 407"/>
                <a:gd name="T4" fmla="*/ 539 w 539"/>
                <a:gd name="T5" fmla="*/ 271 h 407"/>
                <a:gd name="T6" fmla="*/ 81 w 539"/>
                <a:gd name="T7" fmla="*/ 407 h 407"/>
                <a:gd name="T8" fmla="*/ 0 w 539"/>
                <a:gd name="T9" fmla="*/ 137 h 407"/>
              </a:gdLst>
              <a:ahLst/>
              <a:cxnLst>
                <a:cxn ang="0">
                  <a:pos x="T0" y="T1"/>
                </a:cxn>
                <a:cxn ang="0">
                  <a:pos x="T2" y="T3"/>
                </a:cxn>
                <a:cxn ang="0">
                  <a:pos x="T4" y="T5"/>
                </a:cxn>
                <a:cxn ang="0">
                  <a:pos x="T6" y="T7"/>
                </a:cxn>
                <a:cxn ang="0">
                  <a:pos x="T8" y="T9"/>
                </a:cxn>
              </a:cxnLst>
              <a:rect l="0" t="0" r="r" b="b"/>
              <a:pathLst>
                <a:path w="539" h="407">
                  <a:moveTo>
                    <a:pt x="0" y="137"/>
                  </a:moveTo>
                  <a:lnTo>
                    <a:pt x="457" y="0"/>
                  </a:lnTo>
                  <a:lnTo>
                    <a:pt x="539" y="271"/>
                  </a:lnTo>
                  <a:lnTo>
                    <a:pt x="81" y="407"/>
                  </a:lnTo>
                  <a:lnTo>
                    <a:pt x="0" y="13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8" name="îSlïde"/>
            <p:cNvSpPr/>
            <p:nvPr/>
          </p:nvSpPr>
          <p:spPr bwMode="auto">
            <a:xfrm>
              <a:off x="5841207" y="4017169"/>
              <a:ext cx="855663" cy="646113"/>
            </a:xfrm>
            <a:custGeom>
              <a:avLst/>
              <a:gdLst>
                <a:gd name="T0" fmla="*/ 0 w 539"/>
                <a:gd name="T1" fmla="*/ 137 h 407"/>
                <a:gd name="T2" fmla="*/ 457 w 539"/>
                <a:gd name="T3" fmla="*/ 0 h 407"/>
                <a:gd name="T4" fmla="*/ 539 w 539"/>
                <a:gd name="T5" fmla="*/ 271 h 407"/>
                <a:gd name="T6" fmla="*/ 81 w 539"/>
                <a:gd name="T7" fmla="*/ 407 h 407"/>
                <a:gd name="T8" fmla="*/ 0 w 539"/>
                <a:gd name="T9" fmla="*/ 137 h 407"/>
              </a:gdLst>
              <a:ahLst/>
              <a:cxnLst>
                <a:cxn ang="0">
                  <a:pos x="T0" y="T1"/>
                </a:cxn>
                <a:cxn ang="0">
                  <a:pos x="T2" y="T3"/>
                </a:cxn>
                <a:cxn ang="0">
                  <a:pos x="T4" y="T5"/>
                </a:cxn>
                <a:cxn ang="0">
                  <a:pos x="T6" y="T7"/>
                </a:cxn>
                <a:cxn ang="0">
                  <a:pos x="T8" y="T9"/>
                </a:cxn>
              </a:cxnLst>
              <a:rect l="0" t="0" r="r" b="b"/>
              <a:pathLst>
                <a:path w="539" h="407">
                  <a:moveTo>
                    <a:pt x="0" y="137"/>
                  </a:moveTo>
                  <a:lnTo>
                    <a:pt x="457" y="0"/>
                  </a:lnTo>
                  <a:lnTo>
                    <a:pt x="539" y="271"/>
                  </a:lnTo>
                  <a:lnTo>
                    <a:pt x="81" y="407"/>
                  </a:lnTo>
                  <a:lnTo>
                    <a:pt x="0" y="1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9" name="ïšľîḋè"/>
            <p:cNvSpPr/>
            <p:nvPr/>
          </p:nvSpPr>
          <p:spPr bwMode="auto">
            <a:xfrm>
              <a:off x="5884069" y="4228307"/>
              <a:ext cx="111125" cy="95250"/>
            </a:xfrm>
            <a:custGeom>
              <a:avLst/>
              <a:gdLst>
                <a:gd name="T0" fmla="*/ 58 w 70"/>
                <a:gd name="T1" fmla="*/ 0 h 60"/>
                <a:gd name="T2" fmla="*/ 0 w 70"/>
                <a:gd name="T3" fmla="*/ 18 h 60"/>
                <a:gd name="T4" fmla="*/ 12 w 70"/>
                <a:gd name="T5" fmla="*/ 60 h 60"/>
                <a:gd name="T6" fmla="*/ 70 w 70"/>
                <a:gd name="T7" fmla="*/ 42 h 60"/>
                <a:gd name="T8" fmla="*/ 58 w 70"/>
                <a:gd name="T9" fmla="*/ 0 h 60"/>
              </a:gdLst>
              <a:ahLst/>
              <a:cxnLst>
                <a:cxn ang="0">
                  <a:pos x="T0" y="T1"/>
                </a:cxn>
                <a:cxn ang="0">
                  <a:pos x="T2" y="T3"/>
                </a:cxn>
                <a:cxn ang="0">
                  <a:pos x="T4" y="T5"/>
                </a:cxn>
                <a:cxn ang="0">
                  <a:pos x="T6" y="T7"/>
                </a:cxn>
                <a:cxn ang="0">
                  <a:pos x="T8" y="T9"/>
                </a:cxn>
              </a:cxnLst>
              <a:rect l="0" t="0" r="r" b="b"/>
              <a:pathLst>
                <a:path w="70" h="60">
                  <a:moveTo>
                    <a:pt x="58" y="0"/>
                  </a:moveTo>
                  <a:lnTo>
                    <a:pt x="0" y="18"/>
                  </a:lnTo>
                  <a:lnTo>
                    <a:pt x="12" y="60"/>
                  </a:lnTo>
                  <a:lnTo>
                    <a:pt x="70" y="42"/>
                  </a:lnTo>
                  <a:lnTo>
                    <a:pt x="58" y="0"/>
                  </a:lnTo>
                  <a:close/>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0" name="íşlîḑè"/>
            <p:cNvSpPr/>
            <p:nvPr/>
          </p:nvSpPr>
          <p:spPr bwMode="auto">
            <a:xfrm>
              <a:off x="5884069" y="4228307"/>
              <a:ext cx="111125" cy="95250"/>
            </a:xfrm>
            <a:custGeom>
              <a:avLst/>
              <a:gdLst>
                <a:gd name="T0" fmla="*/ 58 w 70"/>
                <a:gd name="T1" fmla="*/ 0 h 60"/>
                <a:gd name="T2" fmla="*/ 0 w 70"/>
                <a:gd name="T3" fmla="*/ 18 h 60"/>
                <a:gd name="T4" fmla="*/ 12 w 70"/>
                <a:gd name="T5" fmla="*/ 60 h 60"/>
                <a:gd name="T6" fmla="*/ 70 w 70"/>
                <a:gd name="T7" fmla="*/ 42 h 60"/>
                <a:gd name="T8" fmla="*/ 58 w 70"/>
                <a:gd name="T9" fmla="*/ 0 h 60"/>
              </a:gdLst>
              <a:ahLst/>
              <a:cxnLst>
                <a:cxn ang="0">
                  <a:pos x="T0" y="T1"/>
                </a:cxn>
                <a:cxn ang="0">
                  <a:pos x="T2" y="T3"/>
                </a:cxn>
                <a:cxn ang="0">
                  <a:pos x="T4" y="T5"/>
                </a:cxn>
                <a:cxn ang="0">
                  <a:pos x="T6" y="T7"/>
                </a:cxn>
                <a:cxn ang="0">
                  <a:pos x="T8" y="T9"/>
                </a:cxn>
              </a:cxnLst>
              <a:rect l="0" t="0" r="r" b="b"/>
              <a:pathLst>
                <a:path w="70" h="60">
                  <a:moveTo>
                    <a:pt x="58" y="0"/>
                  </a:moveTo>
                  <a:lnTo>
                    <a:pt x="0" y="18"/>
                  </a:lnTo>
                  <a:lnTo>
                    <a:pt x="12" y="60"/>
                  </a:lnTo>
                  <a:lnTo>
                    <a:pt x="70" y="42"/>
                  </a:lnTo>
                  <a:lnTo>
                    <a:pt x="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1" name="ïSḷíďè"/>
            <p:cNvSpPr/>
            <p:nvPr/>
          </p:nvSpPr>
          <p:spPr bwMode="auto">
            <a:xfrm>
              <a:off x="6012657" y="4306094"/>
              <a:ext cx="361950" cy="128588"/>
            </a:xfrm>
            <a:custGeom>
              <a:avLst/>
              <a:gdLst>
                <a:gd name="T0" fmla="*/ 223 w 228"/>
                <a:gd name="T1" fmla="*/ 0 h 81"/>
                <a:gd name="T2" fmla="*/ 0 w 228"/>
                <a:gd name="T3" fmla="*/ 66 h 81"/>
                <a:gd name="T4" fmla="*/ 4 w 228"/>
                <a:gd name="T5" fmla="*/ 81 h 81"/>
                <a:gd name="T6" fmla="*/ 228 w 228"/>
                <a:gd name="T7" fmla="*/ 15 h 81"/>
                <a:gd name="T8" fmla="*/ 223 w 228"/>
                <a:gd name="T9" fmla="*/ 0 h 81"/>
              </a:gdLst>
              <a:ahLst/>
              <a:cxnLst>
                <a:cxn ang="0">
                  <a:pos x="T0" y="T1"/>
                </a:cxn>
                <a:cxn ang="0">
                  <a:pos x="T2" y="T3"/>
                </a:cxn>
                <a:cxn ang="0">
                  <a:pos x="T4" y="T5"/>
                </a:cxn>
                <a:cxn ang="0">
                  <a:pos x="T6" y="T7"/>
                </a:cxn>
                <a:cxn ang="0">
                  <a:pos x="T8" y="T9"/>
                </a:cxn>
              </a:cxnLst>
              <a:rect l="0" t="0" r="r" b="b"/>
              <a:pathLst>
                <a:path w="228" h="81">
                  <a:moveTo>
                    <a:pt x="223" y="0"/>
                  </a:moveTo>
                  <a:lnTo>
                    <a:pt x="0" y="66"/>
                  </a:lnTo>
                  <a:lnTo>
                    <a:pt x="4" y="81"/>
                  </a:lnTo>
                  <a:lnTo>
                    <a:pt x="228" y="15"/>
                  </a:lnTo>
                  <a:lnTo>
                    <a:pt x="223" y="0"/>
                  </a:lnTo>
                  <a:close/>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2" name="îšḻíḓê"/>
            <p:cNvSpPr/>
            <p:nvPr/>
          </p:nvSpPr>
          <p:spPr bwMode="auto">
            <a:xfrm>
              <a:off x="6012657" y="4306094"/>
              <a:ext cx="361950" cy="128588"/>
            </a:xfrm>
            <a:custGeom>
              <a:avLst/>
              <a:gdLst>
                <a:gd name="T0" fmla="*/ 223 w 228"/>
                <a:gd name="T1" fmla="*/ 0 h 81"/>
                <a:gd name="T2" fmla="*/ 0 w 228"/>
                <a:gd name="T3" fmla="*/ 66 h 81"/>
                <a:gd name="T4" fmla="*/ 4 w 228"/>
                <a:gd name="T5" fmla="*/ 81 h 81"/>
                <a:gd name="T6" fmla="*/ 228 w 228"/>
                <a:gd name="T7" fmla="*/ 15 h 81"/>
                <a:gd name="T8" fmla="*/ 223 w 228"/>
                <a:gd name="T9" fmla="*/ 0 h 81"/>
              </a:gdLst>
              <a:ahLst/>
              <a:cxnLst>
                <a:cxn ang="0">
                  <a:pos x="T0" y="T1"/>
                </a:cxn>
                <a:cxn ang="0">
                  <a:pos x="T2" y="T3"/>
                </a:cxn>
                <a:cxn ang="0">
                  <a:pos x="T4" y="T5"/>
                </a:cxn>
                <a:cxn ang="0">
                  <a:pos x="T6" y="T7"/>
                </a:cxn>
                <a:cxn ang="0">
                  <a:pos x="T8" y="T9"/>
                </a:cxn>
              </a:cxnLst>
              <a:rect l="0" t="0" r="r" b="b"/>
              <a:pathLst>
                <a:path w="228" h="81">
                  <a:moveTo>
                    <a:pt x="223" y="0"/>
                  </a:moveTo>
                  <a:lnTo>
                    <a:pt x="0" y="66"/>
                  </a:lnTo>
                  <a:lnTo>
                    <a:pt x="4" y="81"/>
                  </a:lnTo>
                  <a:lnTo>
                    <a:pt x="228" y="15"/>
                  </a:lnTo>
                  <a:lnTo>
                    <a:pt x="2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3" name="iśḻïḑè"/>
            <p:cNvSpPr/>
            <p:nvPr/>
          </p:nvSpPr>
          <p:spPr bwMode="auto">
            <a:xfrm>
              <a:off x="6125369" y="4361657"/>
              <a:ext cx="261938" cy="90488"/>
            </a:xfrm>
            <a:custGeom>
              <a:avLst/>
              <a:gdLst>
                <a:gd name="T0" fmla="*/ 163 w 165"/>
                <a:gd name="T1" fmla="*/ 0 h 57"/>
                <a:gd name="T2" fmla="*/ 0 w 165"/>
                <a:gd name="T3" fmla="*/ 49 h 57"/>
                <a:gd name="T4" fmla="*/ 2 w 165"/>
                <a:gd name="T5" fmla="*/ 57 h 57"/>
                <a:gd name="T6" fmla="*/ 165 w 165"/>
                <a:gd name="T7" fmla="*/ 9 h 57"/>
                <a:gd name="T8" fmla="*/ 163 w 165"/>
                <a:gd name="T9" fmla="*/ 0 h 57"/>
              </a:gdLst>
              <a:ahLst/>
              <a:cxnLst>
                <a:cxn ang="0">
                  <a:pos x="T0" y="T1"/>
                </a:cxn>
                <a:cxn ang="0">
                  <a:pos x="T2" y="T3"/>
                </a:cxn>
                <a:cxn ang="0">
                  <a:pos x="T4" y="T5"/>
                </a:cxn>
                <a:cxn ang="0">
                  <a:pos x="T6" y="T7"/>
                </a:cxn>
                <a:cxn ang="0">
                  <a:pos x="T8" y="T9"/>
                </a:cxn>
              </a:cxnLst>
              <a:rect l="0" t="0" r="r" b="b"/>
              <a:pathLst>
                <a:path w="165" h="57">
                  <a:moveTo>
                    <a:pt x="163" y="0"/>
                  </a:moveTo>
                  <a:lnTo>
                    <a:pt x="0" y="49"/>
                  </a:lnTo>
                  <a:lnTo>
                    <a:pt x="2" y="57"/>
                  </a:lnTo>
                  <a:lnTo>
                    <a:pt x="165" y="9"/>
                  </a:lnTo>
                  <a:lnTo>
                    <a:pt x="163" y="0"/>
                  </a:lnTo>
                  <a:close/>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4" name="ïṥľiḓe"/>
            <p:cNvSpPr/>
            <p:nvPr/>
          </p:nvSpPr>
          <p:spPr bwMode="auto">
            <a:xfrm>
              <a:off x="6125369" y="4361657"/>
              <a:ext cx="261938" cy="90488"/>
            </a:xfrm>
            <a:custGeom>
              <a:avLst/>
              <a:gdLst>
                <a:gd name="T0" fmla="*/ 163 w 165"/>
                <a:gd name="T1" fmla="*/ 0 h 57"/>
                <a:gd name="T2" fmla="*/ 0 w 165"/>
                <a:gd name="T3" fmla="*/ 49 h 57"/>
                <a:gd name="T4" fmla="*/ 2 w 165"/>
                <a:gd name="T5" fmla="*/ 57 h 57"/>
                <a:gd name="T6" fmla="*/ 165 w 165"/>
                <a:gd name="T7" fmla="*/ 9 h 57"/>
                <a:gd name="T8" fmla="*/ 163 w 165"/>
                <a:gd name="T9" fmla="*/ 0 h 57"/>
              </a:gdLst>
              <a:ahLst/>
              <a:cxnLst>
                <a:cxn ang="0">
                  <a:pos x="T0" y="T1"/>
                </a:cxn>
                <a:cxn ang="0">
                  <a:pos x="T2" y="T3"/>
                </a:cxn>
                <a:cxn ang="0">
                  <a:pos x="T4" y="T5"/>
                </a:cxn>
                <a:cxn ang="0">
                  <a:pos x="T6" y="T7"/>
                </a:cxn>
                <a:cxn ang="0">
                  <a:pos x="T8" y="T9"/>
                </a:cxn>
              </a:cxnLst>
              <a:rect l="0" t="0" r="r" b="b"/>
              <a:pathLst>
                <a:path w="165" h="57">
                  <a:moveTo>
                    <a:pt x="163" y="0"/>
                  </a:moveTo>
                  <a:lnTo>
                    <a:pt x="0" y="49"/>
                  </a:lnTo>
                  <a:lnTo>
                    <a:pt x="2" y="57"/>
                  </a:lnTo>
                  <a:lnTo>
                    <a:pt x="165" y="9"/>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5" name="iSlîdê"/>
            <p:cNvSpPr/>
            <p:nvPr/>
          </p:nvSpPr>
          <p:spPr bwMode="auto">
            <a:xfrm>
              <a:off x="7660482" y="2905919"/>
              <a:ext cx="860425" cy="623888"/>
            </a:xfrm>
            <a:custGeom>
              <a:avLst/>
              <a:gdLst>
                <a:gd name="T0" fmla="*/ 0 w 542"/>
                <a:gd name="T1" fmla="*/ 298 h 393"/>
                <a:gd name="T2" fmla="*/ 58 w 542"/>
                <a:gd name="T3" fmla="*/ 0 h 393"/>
                <a:gd name="T4" fmla="*/ 542 w 542"/>
                <a:gd name="T5" fmla="*/ 95 h 393"/>
                <a:gd name="T6" fmla="*/ 485 w 542"/>
                <a:gd name="T7" fmla="*/ 393 h 393"/>
                <a:gd name="T8" fmla="*/ 0 w 542"/>
                <a:gd name="T9" fmla="*/ 298 h 393"/>
              </a:gdLst>
              <a:ahLst/>
              <a:cxnLst>
                <a:cxn ang="0">
                  <a:pos x="T0" y="T1"/>
                </a:cxn>
                <a:cxn ang="0">
                  <a:pos x="T2" y="T3"/>
                </a:cxn>
                <a:cxn ang="0">
                  <a:pos x="T4" y="T5"/>
                </a:cxn>
                <a:cxn ang="0">
                  <a:pos x="T6" y="T7"/>
                </a:cxn>
                <a:cxn ang="0">
                  <a:pos x="T8" y="T9"/>
                </a:cxn>
              </a:cxnLst>
              <a:rect l="0" t="0" r="r" b="b"/>
              <a:pathLst>
                <a:path w="542" h="393">
                  <a:moveTo>
                    <a:pt x="0" y="298"/>
                  </a:moveTo>
                  <a:lnTo>
                    <a:pt x="58" y="0"/>
                  </a:lnTo>
                  <a:lnTo>
                    <a:pt x="542" y="95"/>
                  </a:lnTo>
                  <a:lnTo>
                    <a:pt x="485" y="393"/>
                  </a:lnTo>
                  <a:lnTo>
                    <a:pt x="0" y="298"/>
                  </a:lnTo>
                  <a:close/>
                </a:path>
              </a:pathLst>
            </a:custGeom>
            <a:solidFill>
              <a:srgbClr val="EEEEE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6" name="îşlíḑè"/>
            <p:cNvSpPr/>
            <p:nvPr/>
          </p:nvSpPr>
          <p:spPr bwMode="auto">
            <a:xfrm>
              <a:off x="7660482" y="2905919"/>
              <a:ext cx="860425" cy="623888"/>
            </a:xfrm>
            <a:custGeom>
              <a:avLst/>
              <a:gdLst>
                <a:gd name="T0" fmla="*/ 0 w 542"/>
                <a:gd name="T1" fmla="*/ 298 h 393"/>
                <a:gd name="T2" fmla="*/ 58 w 542"/>
                <a:gd name="T3" fmla="*/ 0 h 393"/>
                <a:gd name="T4" fmla="*/ 542 w 542"/>
                <a:gd name="T5" fmla="*/ 95 h 393"/>
                <a:gd name="T6" fmla="*/ 485 w 542"/>
                <a:gd name="T7" fmla="*/ 393 h 393"/>
                <a:gd name="T8" fmla="*/ 0 w 542"/>
                <a:gd name="T9" fmla="*/ 298 h 393"/>
              </a:gdLst>
              <a:ahLst/>
              <a:cxnLst>
                <a:cxn ang="0">
                  <a:pos x="T0" y="T1"/>
                </a:cxn>
                <a:cxn ang="0">
                  <a:pos x="T2" y="T3"/>
                </a:cxn>
                <a:cxn ang="0">
                  <a:pos x="T4" y="T5"/>
                </a:cxn>
                <a:cxn ang="0">
                  <a:pos x="T6" y="T7"/>
                </a:cxn>
                <a:cxn ang="0">
                  <a:pos x="T8" y="T9"/>
                </a:cxn>
              </a:cxnLst>
              <a:rect l="0" t="0" r="r" b="b"/>
              <a:pathLst>
                <a:path w="542" h="393">
                  <a:moveTo>
                    <a:pt x="0" y="298"/>
                  </a:moveTo>
                  <a:lnTo>
                    <a:pt x="58" y="0"/>
                  </a:lnTo>
                  <a:lnTo>
                    <a:pt x="542" y="95"/>
                  </a:lnTo>
                  <a:lnTo>
                    <a:pt x="485" y="393"/>
                  </a:lnTo>
                  <a:lnTo>
                    <a:pt x="0" y="2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7" name="îslïḋe"/>
            <p:cNvSpPr/>
            <p:nvPr/>
          </p:nvSpPr>
          <p:spPr bwMode="auto">
            <a:xfrm>
              <a:off x="7662069" y="2926557"/>
              <a:ext cx="827088" cy="585788"/>
            </a:xfrm>
            <a:custGeom>
              <a:avLst/>
              <a:gdLst>
                <a:gd name="T0" fmla="*/ 0 w 521"/>
                <a:gd name="T1" fmla="*/ 278 h 369"/>
                <a:gd name="T2" fmla="*/ 53 w 521"/>
                <a:gd name="T3" fmla="*/ 0 h 369"/>
                <a:gd name="T4" fmla="*/ 521 w 521"/>
                <a:gd name="T5" fmla="*/ 91 h 369"/>
                <a:gd name="T6" fmla="*/ 467 w 521"/>
                <a:gd name="T7" fmla="*/ 369 h 369"/>
                <a:gd name="T8" fmla="*/ 0 w 521"/>
                <a:gd name="T9" fmla="*/ 278 h 369"/>
              </a:gdLst>
              <a:ahLst/>
              <a:cxnLst>
                <a:cxn ang="0">
                  <a:pos x="T0" y="T1"/>
                </a:cxn>
                <a:cxn ang="0">
                  <a:pos x="T2" y="T3"/>
                </a:cxn>
                <a:cxn ang="0">
                  <a:pos x="T4" y="T5"/>
                </a:cxn>
                <a:cxn ang="0">
                  <a:pos x="T6" y="T7"/>
                </a:cxn>
                <a:cxn ang="0">
                  <a:pos x="T8" y="T9"/>
                </a:cxn>
              </a:cxnLst>
              <a:rect l="0" t="0" r="r" b="b"/>
              <a:pathLst>
                <a:path w="521" h="369">
                  <a:moveTo>
                    <a:pt x="0" y="278"/>
                  </a:moveTo>
                  <a:lnTo>
                    <a:pt x="53" y="0"/>
                  </a:lnTo>
                  <a:lnTo>
                    <a:pt x="521" y="91"/>
                  </a:lnTo>
                  <a:lnTo>
                    <a:pt x="467" y="369"/>
                  </a:lnTo>
                  <a:lnTo>
                    <a:pt x="0" y="27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8" name="íṩ1îḑê"/>
            <p:cNvSpPr/>
            <p:nvPr/>
          </p:nvSpPr>
          <p:spPr bwMode="auto">
            <a:xfrm>
              <a:off x="7662069" y="2926557"/>
              <a:ext cx="827088" cy="585788"/>
            </a:xfrm>
            <a:custGeom>
              <a:avLst/>
              <a:gdLst>
                <a:gd name="T0" fmla="*/ 0 w 521"/>
                <a:gd name="T1" fmla="*/ 278 h 369"/>
                <a:gd name="T2" fmla="*/ 53 w 521"/>
                <a:gd name="T3" fmla="*/ 0 h 369"/>
                <a:gd name="T4" fmla="*/ 521 w 521"/>
                <a:gd name="T5" fmla="*/ 91 h 369"/>
                <a:gd name="T6" fmla="*/ 467 w 521"/>
                <a:gd name="T7" fmla="*/ 369 h 369"/>
                <a:gd name="T8" fmla="*/ 0 w 521"/>
                <a:gd name="T9" fmla="*/ 278 h 369"/>
              </a:gdLst>
              <a:ahLst/>
              <a:cxnLst>
                <a:cxn ang="0">
                  <a:pos x="T0" y="T1"/>
                </a:cxn>
                <a:cxn ang="0">
                  <a:pos x="T2" y="T3"/>
                </a:cxn>
                <a:cxn ang="0">
                  <a:pos x="T4" y="T5"/>
                </a:cxn>
                <a:cxn ang="0">
                  <a:pos x="T6" y="T7"/>
                </a:cxn>
                <a:cxn ang="0">
                  <a:pos x="T8" y="T9"/>
                </a:cxn>
              </a:cxnLst>
              <a:rect l="0" t="0" r="r" b="b"/>
              <a:pathLst>
                <a:path w="521" h="369">
                  <a:moveTo>
                    <a:pt x="0" y="278"/>
                  </a:moveTo>
                  <a:lnTo>
                    <a:pt x="53" y="0"/>
                  </a:lnTo>
                  <a:lnTo>
                    <a:pt x="521" y="91"/>
                  </a:lnTo>
                  <a:lnTo>
                    <a:pt x="467" y="369"/>
                  </a:lnTo>
                  <a:lnTo>
                    <a:pt x="0" y="2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9" name="íṥľïḓe"/>
            <p:cNvSpPr/>
            <p:nvPr/>
          </p:nvSpPr>
          <p:spPr bwMode="auto">
            <a:xfrm>
              <a:off x="7771607" y="2961482"/>
              <a:ext cx="107950" cy="87313"/>
            </a:xfrm>
            <a:custGeom>
              <a:avLst/>
              <a:gdLst>
                <a:gd name="T0" fmla="*/ 8 w 68"/>
                <a:gd name="T1" fmla="*/ 0 h 55"/>
                <a:gd name="T2" fmla="*/ 0 w 68"/>
                <a:gd name="T3" fmla="*/ 43 h 55"/>
                <a:gd name="T4" fmla="*/ 60 w 68"/>
                <a:gd name="T5" fmla="*/ 55 h 55"/>
                <a:gd name="T6" fmla="*/ 68 w 68"/>
                <a:gd name="T7" fmla="*/ 11 h 55"/>
                <a:gd name="T8" fmla="*/ 8 w 68"/>
                <a:gd name="T9" fmla="*/ 0 h 55"/>
              </a:gdLst>
              <a:ahLst/>
              <a:cxnLst>
                <a:cxn ang="0">
                  <a:pos x="T0" y="T1"/>
                </a:cxn>
                <a:cxn ang="0">
                  <a:pos x="T2" y="T3"/>
                </a:cxn>
                <a:cxn ang="0">
                  <a:pos x="T4" y="T5"/>
                </a:cxn>
                <a:cxn ang="0">
                  <a:pos x="T6" y="T7"/>
                </a:cxn>
                <a:cxn ang="0">
                  <a:pos x="T8" y="T9"/>
                </a:cxn>
              </a:cxnLst>
              <a:rect l="0" t="0" r="r" b="b"/>
              <a:pathLst>
                <a:path w="68" h="55">
                  <a:moveTo>
                    <a:pt x="8" y="0"/>
                  </a:moveTo>
                  <a:lnTo>
                    <a:pt x="0" y="43"/>
                  </a:lnTo>
                  <a:lnTo>
                    <a:pt x="60" y="55"/>
                  </a:lnTo>
                  <a:lnTo>
                    <a:pt x="68" y="11"/>
                  </a:lnTo>
                  <a:lnTo>
                    <a:pt x="8" y="0"/>
                  </a:lnTo>
                  <a:close/>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0" name="iṧlîḍê"/>
            <p:cNvSpPr/>
            <p:nvPr/>
          </p:nvSpPr>
          <p:spPr bwMode="auto">
            <a:xfrm>
              <a:off x="7771607" y="2961482"/>
              <a:ext cx="107950" cy="87313"/>
            </a:xfrm>
            <a:custGeom>
              <a:avLst/>
              <a:gdLst>
                <a:gd name="T0" fmla="*/ 8 w 68"/>
                <a:gd name="T1" fmla="*/ 0 h 55"/>
                <a:gd name="T2" fmla="*/ 0 w 68"/>
                <a:gd name="T3" fmla="*/ 43 h 55"/>
                <a:gd name="T4" fmla="*/ 60 w 68"/>
                <a:gd name="T5" fmla="*/ 55 h 55"/>
                <a:gd name="T6" fmla="*/ 68 w 68"/>
                <a:gd name="T7" fmla="*/ 11 h 55"/>
                <a:gd name="T8" fmla="*/ 8 w 68"/>
                <a:gd name="T9" fmla="*/ 0 h 55"/>
              </a:gdLst>
              <a:ahLst/>
              <a:cxnLst>
                <a:cxn ang="0">
                  <a:pos x="T0" y="T1"/>
                </a:cxn>
                <a:cxn ang="0">
                  <a:pos x="T2" y="T3"/>
                </a:cxn>
                <a:cxn ang="0">
                  <a:pos x="T4" y="T5"/>
                </a:cxn>
                <a:cxn ang="0">
                  <a:pos x="T6" y="T7"/>
                </a:cxn>
                <a:cxn ang="0">
                  <a:pos x="T8" y="T9"/>
                </a:cxn>
              </a:cxnLst>
              <a:rect l="0" t="0" r="r" b="b"/>
              <a:pathLst>
                <a:path w="68" h="55">
                  <a:moveTo>
                    <a:pt x="8" y="0"/>
                  </a:moveTo>
                  <a:lnTo>
                    <a:pt x="0" y="43"/>
                  </a:lnTo>
                  <a:lnTo>
                    <a:pt x="60" y="55"/>
                  </a:lnTo>
                  <a:lnTo>
                    <a:pt x="68" y="11"/>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1" name="iSḷïḓê"/>
            <p:cNvSpPr/>
            <p:nvPr/>
          </p:nvSpPr>
          <p:spPr bwMode="auto">
            <a:xfrm>
              <a:off x="7820819" y="3158332"/>
              <a:ext cx="369888" cy="93663"/>
            </a:xfrm>
            <a:custGeom>
              <a:avLst/>
              <a:gdLst>
                <a:gd name="T0" fmla="*/ 4 w 233"/>
                <a:gd name="T1" fmla="*/ 0 h 59"/>
                <a:gd name="T2" fmla="*/ 0 w 233"/>
                <a:gd name="T3" fmla="*/ 15 h 59"/>
                <a:gd name="T4" fmla="*/ 230 w 233"/>
                <a:gd name="T5" fmla="*/ 59 h 59"/>
                <a:gd name="T6" fmla="*/ 233 w 233"/>
                <a:gd name="T7" fmla="*/ 45 h 59"/>
                <a:gd name="T8" fmla="*/ 4 w 233"/>
                <a:gd name="T9" fmla="*/ 0 h 59"/>
              </a:gdLst>
              <a:ahLst/>
              <a:cxnLst>
                <a:cxn ang="0">
                  <a:pos x="T0" y="T1"/>
                </a:cxn>
                <a:cxn ang="0">
                  <a:pos x="T2" y="T3"/>
                </a:cxn>
                <a:cxn ang="0">
                  <a:pos x="T4" y="T5"/>
                </a:cxn>
                <a:cxn ang="0">
                  <a:pos x="T6" y="T7"/>
                </a:cxn>
                <a:cxn ang="0">
                  <a:pos x="T8" y="T9"/>
                </a:cxn>
              </a:cxnLst>
              <a:rect l="0" t="0" r="r" b="b"/>
              <a:pathLst>
                <a:path w="233" h="59">
                  <a:moveTo>
                    <a:pt x="4" y="0"/>
                  </a:moveTo>
                  <a:lnTo>
                    <a:pt x="0" y="15"/>
                  </a:lnTo>
                  <a:lnTo>
                    <a:pt x="230" y="59"/>
                  </a:lnTo>
                  <a:lnTo>
                    <a:pt x="233" y="45"/>
                  </a:lnTo>
                  <a:lnTo>
                    <a:pt x="4" y="0"/>
                  </a:lnTo>
                  <a:close/>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2" name="íŝḷîḋè"/>
            <p:cNvSpPr/>
            <p:nvPr/>
          </p:nvSpPr>
          <p:spPr bwMode="auto">
            <a:xfrm>
              <a:off x="7820819" y="3158332"/>
              <a:ext cx="369888" cy="93663"/>
            </a:xfrm>
            <a:custGeom>
              <a:avLst/>
              <a:gdLst>
                <a:gd name="T0" fmla="*/ 4 w 233"/>
                <a:gd name="T1" fmla="*/ 0 h 59"/>
                <a:gd name="T2" fmla="*/ 0 w 233"/>
                <a:gd name="T3" fmla="*/ 15 h 59"/>
                <a:gd name="T4" fmla="*/ 230 w 233"/>
                <a:gd name="T5" fmla="*/ 59 h 59"/>
                <a:gd name="T6" fmla="*/ 233 w 233"/>
                <a:gd name="T7" fmla="*/ 45 h 59"/>
                <a:gd name="T8" fmla="*/ 4 w 233"/>
                <a:gd name="T9" fmla="*/ 0 h 59"/>
              </a:gdLst>
              <a:ahLst/>
              <a:cxnLst>
                <a:cxn ang="0">
                  <a:pos x="T0" y="T1"/>
                </a:cxn>
                <a:cxn ang="0">
                  <a:pos x="T2" y="T3"/>
                </a:cxn>
                <a:cxn ang="0">
                  <a:pos x="T4" y="T5"/>
                </a:cxn>
                <a:cxn ang="0">
                  <a:pos x="T6" y="T7"/>
                </a:cxn>
                <a:cxn ang="0">
                  <a:pos x="T8" y="T9"/>
                </a:cxn>
              </a:cxnLst>
              <a:rect l="0" t="0" r="r" b="b"/>
              <a:pathLst>
                <a:path w="233" h="59">
                  <a:moveTo>
                    <a:pt x="4" y="0"/>
                  </a:moveTo>
                  <a:lnTo>
                    <a:pt x="0" y="15"/>
                  </a:lnTo>
                  <a:lnTo>
                    <a:pt x="230" y="59"/>
                  </a:lnTo>
                  <a:lnTo>
                    <a:pt x="233" y="4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3" name="işliḓè"/>
            <p:cNvSpPr/>
            <p:nvPr/>
          </p:nvSpPr>
          <p:spPr bwMode="auto">
            <a:xfrm>
              <a:off x="7911307" y="3234532"/>
              <a:ext cx="268288" cy="66675"/>
            </a:xfrm>
            <a:custGeom>
              <a:avLst/>
              <a:gdLst>
                <a:gd name="T0" fmla="*/ 1 w 169"/>
                <a:gd name="T1" fmla="*/ 0 h 42"/>
                <a:gd name="T2" fmla="*/ 0 w 169"/>
                <a:gd name="T3" fmla="*/ 10 h 42"/>
                <a:gd name="T4" fmla="*/ 166 w 169"/>
                <a:gd name="T5" fmla="*/ 42 h 42"/>
                <a:gd name="T6" fmla="*/ 169 w 169"/>
                <a:gd name="T7" fmla="*/ 33 h 42"/>
                <a:gd name="T8" fmla="*/ 1 w 169"/>
                <a:gd name="T9" fmla="*/ 0 h 42"/>
              </a:gdLst>
              <a:ahLst/>
              <a:cxnLst>
                <a:cxn ang="0">
                  <a:pos x="T0" y="T1"/>
                </a:cxn>
                <a:cxn ang="0">
                  <a:pos x="T2" y="T3"/>
                </a:cxn>
                <a:cxn ang="0">
                  <a:pos x="T4" y="T5"/>
                </a:cxn>
                <a:cxn ang="0">
                  <a:pos x="T6" y="T7"/>
                </a:cxn>
                <a:cxn ang="0">
                  <a:pos x="T8" y="T9"/>
                </a:cxn>
              </a:cxnLst>
              <a:rect l="0" t="0" r="r" b="b"/>
              <a:pathLst>
                <a:path w="169" h="42">
                  <a:moveTo>
                    <a:pt x="1" y="0"/>
                  </a:moveTo>
                  <a:lnTo>
                    <a:pt x="0" y="10"/>
                  </a:lnTo>
                  <a:lnTo>
                    <a:pt x="166" y="42"/>
                  </a:lnTo>
                  <a:lnTo>
                    <a:pt x="169" y="33"/>
                  </a:lnTo>
                  <a:lnTo>
                    <a:pt x="1" y="0"/>
                  </a:lnTo>
                  <a:close/>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4" name="ïṥľídé"/>
            <p:cNvSpPr/>
            <p:nvPr/>
          </p:nvSpPr>
          <p:spPr bwMode="auto">
            <a:xfrm>
              <a:off x="7911307" y="3234532"/>
              <a:ext cx="268288" cy="66675"/>
            </a:xfrm>
            <a:custGeom>
              <a:avLst/>
              <a:gdLst>
                <a:gd name="T0" fmla="*/ 1 w 169"/>
                <a:gd name="T1" fmla="*/ 0 h 42"/>
                <a:gd name="T2" fmla="*/ 0 w 169"/>
                <a:gd name="T3" fmla="*/ 10 h 42"/>
                <a:gd name="T4" fmla="*/ 166 w 169"/>
                <a:gd name="T5" fmla="*/ 42 h 42"/>
                <a:gd name="T6" fmla="*/ 169 w 169"/>
                <a:gd name="T7" fmla="*/ 33 h 42"/>
                <a:gd name="T8" fmla="*/ 1 w 169"/>
                <a:gd name="T9" fmla="*/ 0 h 42"/>
              </a:gdLst>
              <a:ahLst/>
              <a:cxnLst>
                <a:cxn ang="0">
                  <a:pos x="T0" y="T1"/>
                </a:cxn>
                <a:cxn ang="0">
                  <a:pos x="T2" y="T3"/>
                </a:cxn>
                <a:cxn ang="0">
                  <a:pos x="T4" y="T5"/>
                </a:cxn>
                <a:cxn ang="0">
                  <a:pos x="T6" y="T7"/>
                </a:cxn>
                <a:cxn ang="0">
                  <a:pos x="T8" y="T9"/>
                </a:cxn>
              </a:cxnLst>
              <a:rect l="0" t="0" r="r" b="b"/>
              <a:pathLst>
                <a:path w="169" h="42">
                  <a:moveTo>
                    <a:pt x="1" y="0"/>
                  </a:moveTo>
                  <a:lnTo>
                    <a:pt x="0" y="10"/>
                  </a:lnTo>
                  <a:lnTo>
                    <a:pt x="166" y="42"/>
                  </a:lnTo>
                  <a:lnTo>
                    <a:pt x="169" y="33"/>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5" name="îṧlíḋé"/>
            <p:cNvSpPr/>
            <p:nvPr/>
          </p:nvSpPr>
          <p:spPr bwMode="auto">
            <a:xfrm>
              <a:off x="7787482" y="3839369"/>
              <a:ext cx="754063" cy="911225"/>
            </a:xfrm>
            <a:custGeom>
              <a:avLst/>
              <a:gdLst>
                <a:gd name="T0" fmla="*/ 0 w 475"/>
                <a:gd name="T1" fmla="*/ 121 h 574"/>
                <a:gd name="T2" fmla="*/ 280 w 475"/>
                <a:gd name="T3" fmla="*/ 0 h 574"/>
                <a:gd name="T4" fmla="*/ 475 w 475"/>
                <a:gd name="T5" fmla="*/ 453 h 574"/>
                <a:gd name="T6" fmla="*/ 197 w 475"/>
                <a:gd name="T7" fmla="*/ 574 h 574"/>
                <a:gd name="T8" fmla="*/ 0 w 475"/>
                <a:gd name="T9" fmla="*/ 121 h 574"/>
              </a:gdLst>
              <a:ahLst/>
              <a:cxnLst>
                <a:cxn ang="0">
                  <a:pos x="T0" y="T1"/>
                </a:cxn>
                <a:cxn ang="0">
                  <a:pos x="T2" y="T3"/>
                </a:cxn>
                <a:cxn ang="0">
                  <a:pos x="T4" y="T5"/>
                </a:cxn>
                <a:cxn ang="0">
                  <a:pos x="T6" y="T7"/>
                </a:cxn>
                <a:cxn ang="0">
                  <a:pos x="T8" y="T9"/>
                </a:cxn>
              </a:cxnLst>
              <a:rect l="0" t="0" r="r" b="b"/>
              <a:pathLst>
                <a:path w="475" h="574">
                  <a:moveTo>
                    <a:pt x="0" y="121"/>
                  </a:moveTo>
                  <a:lnTo>
                    <a:pt x="280" y="0"/>
                  </a:lnTo>
                  <a:lnTo>
                    <a:pt x="475" y="453"/>
                  </a:lnTo>
                  <a:lnTo>
                    <a:pt x="197" y="574"/>
                  </a:lnTo>
                  <a:lnTo>
                    <a:pt x="0" y="121"/>
                  </a:lnTo>
                  <a:close/>
                </a:path>
              </a:pathLst>
            </a:custGeom>
            <a:solidFill>
              <a:srgbClr val="EEEEE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6" name="isḷíḑe"/>
            <p:cNvSpPr/>
            <p:nvPr/>
          </p:nvSpPr>
          <p:spPr bwMode="auto">
            <a:xfrm>
              <a:off x="7787482" y="3839369"/>
              <a:ext cx="754063" cy="911225"/>
            </a:xfrm>
            <a:custGeom>
              <a:avLst/>
              <a:gdLst>
                <a:gd name="T0" fmla="*/ 0 w 475"/>
                <a:gd name="T1" fmla="*/ 121 h 574"/>
                <a:gd name="T2" fmla="*/ 280 w 475"/>
                <a:gd name="T3" fmla="*/ 0 h 574"/>
                <a:gd name="T4" fmla="*/ 475 w 475"/>
                <a:gd name="T5" fmla="*/ 453 h 574"/>
                <a:gd name="T6" fmla="*/ 197 w 475"/>
                <a:gd name="T7" fmla="*/ 574 h 574"/>
                <a:gd name="T8" fmla="*/ 0 w 475"/>
                <a:gd name="T9" fmla="*/ 121 h 574"/>
              </a:gdLst>
              <a:ahLst/>
              <a:cxnLst>
                <a:cxn ang="0">
                  <a:pos x="T0" y="T1"/>
                </a:cxn>
                <a:cxn ang="0">
                  <a:pos x="T2" y="T3"/>
                </a:cxn>
                <a:cxn ang="0">
                  <a:pos x="T4" y="T5"/>
                </a:cxn>
                <a:cxn ang="0">
                  <a:pos x="T6" y="T7"/>
                </a:cxn>
                <a:cxn ang="0">
                  <a:pos x="T8" y="T9"/>
                </a:cxn>
              </a:cxnLst>
              <a:rect l="0" t="0" r="r" b="b"/>
              <a:pathLst>
                <a:path w="475" h="574">
                  <a:moveTo>
                    <a:pt x="0" y="121"/>
                  </a:moveTo>
                  <a:lnTo>
                    <a:pt x="280" y="0"/>
                  </a:lnTo>
                  <a:lnTo>
                    <a:pt x="475" y="453"/>
                  </a:lnTo>
                  <a:lnTo>
                    <a:pt x="197" y="574"/>
                  </a:lnTo>
                  <a:lnTo>
                    <a:pt x="0" y="1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7" name="íṡḷídê"/>
            <p:cNvSpPr/>
            <p:nvPr/>
          </p:nvSpPr>
          <p:spPr bwMode="auto">
            <a:xfrm>
              <a:off x="7809707" y="3852069"/>
              <a:ext cx="715963" cy="873125"/>
            </a:xfrm>
            <a:custGeom>
              <a:avLst/>
              <a:gdLst>
                <a:gd name="T0" fmla="*/ 0 w 451"/>
                <a:gd name="T1" fmla="*/ 113 h 550"/>
                <a:gd name="T2" fmla="*/ 261 w 451"/>
                <a:gd name="T3" fmla="*/ 0 h 550"/>
                <a:gd name="T4" fmla="*/ 451 w 451"/>
                <a:gd name="T5" fmla="*/ 438 h 550"/>
                <a:gd name="T6" fmla="*/ 190 w 451"/>
                <a:gd name="T7" fmla="*/ 550 h 550"/>
                <a:gd name="T8" fmla="*/ 0 w 451"/>
                <a:gd name="T9" fmla="*/ 113 h 550"/>
              </a:gdLst>
              <a:ahLst/>
              <a:cxnLst>
                <a:cxn ang="0">
                  <a:pos x="T0" y="T1"/>
                </a:cxn>
                <a:cxn ang="0">
                  <a:pos x="T2" y="T3"/>
                </a:cxn>
                <a:cxn ang="0">
                  <a:pos x="T4" y="T5"/>
                </a:cxn>
                <a:cxn ang="0">
                  <a:pos x="T6" y="T7"/>
                </a:cxn>
                <a:cxn ang="0">
                  <a:pos x="T8" y="T9"/>
                </a:cxn>
              </a:cxnLst>
              <a:rect l="0" t="0" r="r" b="b"/>
              <a:pathLst>
                <a:path w="451" h="550">
                  <a:moveTo>
                    <a:pt x="0" y="113"/>
                  </a:moveTo>
                  <a:lnTo>
                    <a:pt x="261" y="0"/>
                  </a:lnTo>
                  <a:lnTo>
                    <a:pt x="451" y="438"/>
                  </a:lnTo>
                  <a:lnTo>
                    <a:pt x="190" y="550"/>
                  </a:lnTo>
                  <a:lnTo>
                    <a:pt x="0" y="11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8" name="išlïḑê"/>
            <p:cNvSpPr/>
            <p:nvPr/>
          </p:nvSpPr>
          <p:spPr bwMode="auto">
            <a:xfrm>
              <a:off x="7809707" y="3852069"/>
              <a:ext cx="715963" cy="873125"/>
            </a:xfrm>
            <a:custGeom>
              <a:avLst/>
              <a:gdLst>
                <a:gd name="T0" fmla="*/ 0 w 451"/>
                <a:gd name="T1" fmla="*/ 113 h 550"/>
                <a:gd name="T2" fmla="*/ 261 w 451"/>
                <a:gd name="T3" fmla="*/ 0 h 550"/>
                <a:gd name="T4" fmla="*/ 451 w 451"/>
                <a:gd name="T5" fmla="*/ 438 h 550"/>
                <a:gd name="T6" fmla="*/ 190 w 451"/>
                <a:gd name="T7" fmla="*/ 550 h 550"/>
                <a:gd name="T8" fmla="*/ 0 w 451"/>
                <a:gd name="T9" fmla="*/ 113 h 550"/>
              </a:gdLst>
              <a:ahLst/>
              <a:cxnLst>
                <a:cxn ang="0">
                  <a:pos x="T0" y="T1"/>
                </a:cxn>
                <a:cxn ang="0">
                  <a:pos x="T2" y="T3"/>
                </a:cxn>
                <a:cxn ang="0">
                  <a:pos x="T4" y="T5"/>
                </a:cxn>
                <a:cxn ang="0">
                  <a:pos x="T6" y="T7"/>
                </a:cxn>
                <a:cxn ang="0">
                  <a:pos x="T8" y="T9"/>
                </a:cxn>
              </a:cxnLst>
              <a:rect l="0" t="0" r="r" b="b"/>
              <a:pathLst>
                <a:path w="451" h="550">
                  <a:moveTo>
                    <a:pt x="0" y="113"/>
                  </a:moveTo>
                  <a:lnTo>
                    <a:pt x="261" y="0"/>
                  </a:lnTo>
                  <a:lnTo>
                    <a:pt x="451" y="438"/>
                  </a:lnTo>
                  <a:lnTo>
                    <a:pt x="190" y="550"/>
                  </a:lnTo>
                  <a:lnTo>
                    <a:pt x="0" y="1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9" name="ïšḻïḑê"/>
            <p:cNvSpPr/>
            <p:nvPr/>
          </p:nvSpPr>
          <p:spPr bwMode="auto">
            <a:xfrm>
              <a:off x="8139907" y="3898107"/>
              <a:ext cx="103188" cy="115888"/>
            </a:xfrm>
            <a:custGeom>
              <a:avLst/>
              <a:gdLst>
                <a:gd name="T0" fmla="*/ 41 w 65"/>
                <a:gd name="T1" fmla="*/ 0 h 73"/>
                <a:gd name="T2" fmla="*/ 0 w 65"/>
                <a:gd name="T3" fmla="*/ 17 h 73"/>
                <a:gd name="T4" fmla="*/ 23 w 65"/>
                <a:gd name="T5" fmla="*/ 73 h 73"/>
                <a:gd name="T6" fmla="*/ 65 w 65"/>
                <a:gd name="T7" fmla="*/ 55 h 73"/>
                <a:gd name="T8" fmla="*/ 41 w 65"/>
                <a:gd name="T9" fmla="*/ 0 h 73"/>
              </a:gdLst>
              <a:ahLst/>
              <a:cxnLst>
                <a:cxn ang="0">
                  <a:pos x="T0" y="T1"/>
                </a:cxn>
                <a:cxn ang="0">
                  <a:pos x="T2" y="T3"/>
                </a:cxn>
                <a:cxn ang="0">
                  <a:pos x="T4" y="T5"/>
                </a:cxn>
                <a:cxn ang="0">
                  <a:pos x="T6" y="T7"/>
                </a:cxn>
                <a:cxn ang="0">
                  <a:pos x="T8" y="T9"/>
                </a:cxn>
              </a:cxnLst>
              <a:rect l="0" t="0" r="r" b="b"/>
              <a:pathLst>
                <a:path w="65" h="73">
                  <a:moveTo>
                    <a:pt x="41" y="0"/>
                  </a:moveTo>
                  <a:lnTo>
                    <a:pt x="0" y="17"/>
                  </a:lnTo>
                  <a:lnTo>
                    <a:pt x="23" y="73"/>
                  </a:lnTo>
                  <a:lnTo>
                    <a:pt x="65" y="55"/>
                  </a:lnTo>
                  <a:lnTo>
                    <a:pt x="41" y="0"/>
                  </a:lnTo>
                  <a:close/>
                </a:path>
              </a:pathLst>
            </a:custGeom>
            <a:solidFill>
              <a:srgbClr val="91F0D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0" name="íşḻiḍe"/>
            <p:cNvSpPr/>
            <p:nvPr/>
          </p:nvSpPr>
          <p:spPr bwMode="auto">
            <a:xfrm>
              <a:off x="8139907" y="3898107"/>
              <a:ext cx="103188" cy="115888"/>
            </a:xfrm>
            <a:custGeom>
              <a:avLst/>
              <a:gdLst>
                <a:gd name="T0" fmla="*/ 41 w 65"/>
                <a:gd name="T1" fmla="*/ 0 h 73"/>
                <a:gd name="T2" fmla="*/ 0 w 65"/>
                <a:gd name="T3" fmla="*/ 17 h 73"/>
                <a:gd name="T4" fmla="*/ 23 w 65"/>
                <a:gd name="T5" fmla="*/ 73 h 73"/>
                <a:gd name="T6" fmla="*/ 65 w 65"/>
                <a:gd name="T7" fmla="*/ 55 h 73"/>
                <a:gd name="T8" fmla="*/ 41 w 65"/>
                <a:gd name="T9" fmla="*/ 0 h 73"/>
              </a:gdLst>
              <a:ahLst/>
              <a:cxnLst>
                <a:cxn ang="0">
                  <a:pos x="T0" y="T1"/>
                </a:cxn>
                <a:cxn ang="0">
                  <a:pos x="T2" y="T3"/>
                </a:cxn>
                <a:cxn ang="0">
                  <a:pos x="T4" y="T5"/>
                </a:cxn>
                <a:cxn ang="0">
                  <a:pos x="T6" y="T7"/>
                </a:cxn>
                <a:cxn ang="0">
                  <a:pos x="T8" y="T9"/>
                </a:cxn>
              </a:cxnLst>
              <a:rect l="0" t="0" r="r" b="b"/>
              <a:pathLst>
                <a:path w="65" h="73">
                  <a:moveTo>
                    <a:pt x="41" y="0"/>
                  </a:moveTo>
                  <a:lnTo>
                    <a:pt x="0" y="17"/>
                  </a:lnTo>
                  <a:lnTo>
                    <a:pt x="23" y="73"/>
                  </a:lnTo>
                  <a:lnTo>
                    <a:pt x="65" y="55"/>
                  </a:lnTo>
                  <a:lnTo>
                    <a:pt x="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1" name="î$ľiḍe"/>
            <p:cNvSpPr/>
            <p:nvPr/>
          </p:nvSpPr>
          <p:spPr bwMode="auto">
            <a:xfrm>
              <a:off x="8044657" y="4042569"/>
              <a:ext cx="168275" cy="350838"/>
            </a:xfrm>
            <a:custGeom>
              <a:avLst/>
              <a:gdLst>
                <a:gd name="T0" fmla="*/ 13 w 106"/>
                <a:gd name="T1" fmla="*/ 0 h 221"/>
                <a:gd name="T2" fmla="*/ 0 w 106"/>
                <a:gd name="T3" fmla="*/ 6 h 221"/>
                <a:gd name="T4" fmla="*/ 92 w 106"/>
                <a:gd name="T5" fmla="*/ 221 h 221"/>
                <a:gd name="T6" fmla="*/ 106 w 106"/>
                <a:gd name="T7" fmla="*/ 215 h 221"/>
                <a:gd name="T8" fmla="*/ 13 w 106"/>
                <a:gd name="T9" fmla="*/ 0 h 221"/>
              </a:gdLst>
              <a:ahLst/>
              <a:cxnLst>
                <a:cxn ang="0">
                  <a:pos x="T0" y="T1"/>
                </a:cxn>
                <a:cxn ang="0">
                  <a:pos x="T2" y="T3"/>
                </a:cxn>
                <a:cxn ang="0">
                  <a:pos x="T4" y="T5"/>
                </a:cxn>
                <a:cxn ang="0">
                  <a:pos x="T6" y="T7"/>
                </a:cxn>
                <a:cxn ang="0">
                  <a:pos x="T8" y="T9"/>
                </a:cxn>
              </a:cxnLst>
              <a:rect l="0" t="0" r="r" b="b"/>
              <a:pathLst>
                <a:path w="106" h="221">
                  <a:moveTo>
                    <a:pt x="13" y="0"/>
                  </a:moveTo>
                  <a:lnTo>
                    <a:pt x="0" y="6"/>
                  </a:lnTo>
                  <a:lnTo>
                    <a:pt x="92" y="221"/>
                  </a:lnTo>
                  <a:lnTo>
                    <a:pt x="106" y="215"/>
                  </a:lnTo>
                  <a:lnTo>
                    <a:pt x="13" y="0"/>
                  </a:lnTo>
                  <a:close/>
                </a:path>
              </a:pathLst>
            </a:custGeom>
            <a:solidFill>
              <a:srgbClr val="91F0D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2" name="îšliḓè"/>
            <p:cNvSpPr/>
            <p:nvPr/>
          </p:nvSpPr>
          <p:spPr bwMode="auto">
            <a:xfrm>
              <a:off x="8044657" y="4042569"/>
              <a:ext cx="168275" cy="350838"/>
            </a:xfrm>
            <a:custGeom>
              <a:avLst/>
              <a:gdLst>
                <a:gd name="T0" fmla="*/ 13 w 106"/>
                <a:gd name="T1" fmla="*/ 0 h 221"/>
                <a:gd name="T2" fmla="*/ 0 w 106"/>
                <a:gd name="T3" fmla="*/ 6 h 221"/>
                <a:gd name="T4" fmla="*/ 92 w 106"/>
                <a:gd name="T5" fmla="*/ 221 h 221"/>
                <a:gd name="T6" fmla="*/ 106 w 106"/>
                <a:gd name="T7" fmla="*/ 215 h 221"/>
                <a:gd name="T8" fmla="*/ 13 w 106"/>
                <a:gd name="T9" fmla="*/ 0 h 221"/>
              </a:gdLst>
              <a:ahLst/>
              <a:cxnLst>
                <a:cxn ang="0">
                  <a:pos x="T0" y="T1"/>
                </a:cxn>
                <a:cxn ang="0">
                  <a:pos x="T2" y="T3"/>
                </a:cxn>
                <a:cxn ang="0">
                  <a:pos x="T4" y="T5"/>
                </a:cxn>
                <a:cxn ang="0">
                  <a:pos x="T6" y="T7"/>
                </a:cxn>
                <a:cxn ang="0">
                  <a:pos x="T8" y="T9"/>
                </a:cxn>
              </a:cxnLst>
              <a:rect l="0" t="0" r="r" b="b"/>
              <a:pathLst>
                <a:path w="106" h="221">
                  <a:moveTo>
                    <a:pt x="13" y="0"/>
                  </a:moveTo>
                  <a:lnTo>
                    <a:pt x="0" y="6"/>
                  </a:lnTo>
                  <a:lnTo>
                    <a:pt x="92" y="221"/>
                  </a:lnTo>
                  <a:lnTo>
                    <a:pt x="106" y="215"/>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3" name="îṣľîdè"/>
            <p:cNvSpPr/>
            <p:nvPr/>
          </p:nvSpPr>
          <p:spPr bwMode="auto">
            <a:xfrm>
              <a:off x="8036719" y="4158457"/>
              <a:ext cx="122238" cy="252413"/>
            </a:xfrm>
            <a:custGeom>
              <a:avLst/>
              <a:gdLst>
                <a:gd name="T0" fmla="*/ 9 w 77"/>
                <a:gd name="T1" fmla="*/ 0 h 159"/>
                <a:gd name="T2" fmla="*/ 0 w 77"/>
                <a:gd name="T3" fmla="*/ 4 h 159"/>
                <a:gd name="T4" fmla="*/ 68 w 77"/>
                <a:gd name="T5" fmla="*/ 159 h 159"/>
                <a:gd name="T6" fmla="*/ 77 w 77"/>
                <a:gd name="T7" fmla="*/ 156 h 159"/>
                <a:gd name="T8" fmla="*/ 9 w 77"/>
                <a:gd name="T9" fmla="*/ 0 h 159"/>
              </a:gdLst>
              <a:ahLst/>
              <a:cxnLst>
                <a:cxn ang="0">
                  <a:pos x="T0" y="T1"/>
                </a:cxn>
                <a:cxn ang="0">
                  <a:pos x="T2" y="T3"/>
                </a:cxn>
                <a:cxn ang="0">
                  <a:pos x="T4" y="T5"/>
                </a:cxn>
                <a:cxn ang="0">
                  <a:pos x="T6" y="T7"/>
                </a:cxn>
                <a:cxn ang="0">
                  <a:pos x="T8" y="T9"/>
                </a:cxn>
              </a:cxnLst>
              <a:rect l="0" t="0" r="r" b="b"/>
              <a:pathLst>
                <a:path w="77" h="159">
                  <a:moveTo>
                    <a:pt x="9" y="0"/>
                  </a:moveTo>
                  <a:lnTo>
                    <a:pt x="0" y="4"/>
                  </a:lnTo>
                  <a:lnTo>
                    <a:pt x="68" y="159"/>
                  </a:lnTo>
                  <a:lnTo>
                    <a:pt x="77" y="156"/>
                  </a:lnTo>
                  <a:lnTo>
                    <a:pt x="9" y="0"/>
                  </a:lnTo>
                  <a:close/>
                </a:path>
              </a:pathLst>
            </a:custGeom>
            <a:solidFill>
              <a:srgbClr val="91F0D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4" name="íṥlíḍè"/>
            <p:cNvSpPr/>
            <p:nvPr/>
          </p:nvSpPr>
          <p:spPr bwMode="auto">
            <a:xfrm>
              <a:off x="8036719" y="4158457"/>
              <a:ext cx="122238" cy="252413"/>
            </a:xfrm>
            <a:custGeom>
              <a:avLst/>
              <a:gdLst>
                <a:gd name="T0" fmla="*/ 9 w 77"/>
                <a:gd name="T1" fmla="*/ 0 h 159"/>
                <a:gd name="T2" fmla="*/ 0 w 77"/>
                <a:gd name="T3" fmla="*/ 4 h 159"/>
                <a:gd name="T4" fmla="*/ 68 w 77"/>
                <a:gd name="T5" fmla="*/ 159 h 159"/>
                <a:gd name="T6" fmla="*/ 77 w 77"/>
                <a:gd name="T7" fmla="*/ 156 h 159"/>
                <a:gd name="T8" fmla="*/ 9 w 77"/>
                <a:gd name="T9" fmla="*/ 0 h 159"/>
              </a:gdLst>
              <a:ahLst/>
              <a:cxnLst>
                <a:cxn ang="0">
                  <a:pos x="T0" y="T1"/>
                </a:cxn>
                <a:cxn ang="0">
                  <a:pos x="T2" y="T3"/>
                </a:cxn>
                <a:cxn ang="0">
                  <a:pos x="T4" y="T5"/>
                </a:cxn>
                <a:cxn ang="0">
                  <a:pos x="T6" y="T7"/>
                </a:cxn>
                <a:cxn ang="0">
                  <a:pos x="T8" y="T9"/>
                </a:cxn>
              </a:cxnLst>
              <a:rect l="0" t="0" r="r" b="b"/>
              <a:pathLst>
                <a:path w="77" h="159">
                  <a:moveTo>
                    <a:pt x="9" y="0"/>
                  </a:moveTo>
                  <a:lnTo>
                    <a:pt x="0" y="4"/>
                  </a:lnTo>
                  <a:lnTo>
                    <a:pt x="68" y="159"/>
                  </a:lnTo>
                  <a:lnTo>
                    <a:pt x="77" y="156"/>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5" name="î$ľïdé"/>
            <p:cNvSpPr/>
            <p:nvPr/>
          </p:nvSpPr>
          <p:spPr bwMode="auto">
            <a:xfrm>
              <a:off x="5342732" y="1747044"/>
              <a:ext cx="855663" cy="647700"/>
            </a:xfrm>
            <a:custGeom>
              <a:avLst/>
              <a:gdLst>
                <a:gd name="T0" fmla="*/ 0 w 539"/>
                <a:gd name="T1" fmla="*/ 137 h 408"/>
                <a:gd name="T2" fmla="*/ 457 w 539"/>
                <a:gd name="T3" fmla="*/ 0 h 408"/>
                <a:gd name="T4" fmla="*/ 539 w 539"/>
                <a:gd name="T5" fmla="*/ 271 h 408"/>
                <a:gd name="T6" fmla="*/ 81 w 539"/>
                <a:gd name="T7" fmla="*/ 408 h 408"/>
                <a:gd name="T8" fmla="*/ 0 w 539"/>
                <a:gd name="T9" fmla="*/ 137 h 408"/>
              </a:gdLst>
              <a:ahLst/>
              <a:cxnLst>
                <a:cxn ang="0">
                  <a:pos x="T0" y="T1"/>
                </a:cxn>
                <a:cxn ang="0">
                  <a:pos x="T2" y="T3"/>
                </a:cxn>
                <a:cxn ang="0">
                  <a:pos x="T4" y="T5"/>
                </a:cxn>
                <a:cxn ang="0">
                  <a:pos x="T6" y="T7"/>
                </a:cxn>
                <a:cxn ang="0">
                  <a:pos x="T8" y="T9"/>
                </a:cxn>
              </a:cxnLst>
              <a:rect l="0" t="0" r="r" b="b"/>
              <a:pathLst>
                <a:path w="539" h="408">
                  <a:moveTo>
                    <a:pt x="0" y="137"/>
                  </a:moveTo>
                  <a:lnTo>
                    <a:pt x="457" y="0"/>
                  </a:lnTo>
                  <a:lnTo>
                    <a:pt x="539" y="271"/>
                  </a:lnTo>
                  <a:lnTo>
                    <a:pt x="81" y="408"/>
                  </a:lnTo>
                  <a:lnTo>
                    <a:pt x="0" y="13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6" name="íśḻîḓê"/>
            <p:cNvSpPr/>
            <p:nvPr/>
          </p:nvSpPr>
          <p:spPr bwMode="auto">
            <a:xfrm>
              <a:off x="5342732" y="1747044"/>
              <a:ext cx="855663" cy="647700"/>
            </a:xfrm>
            <a:custGeom>
              <a:avLst/>
              <a:gdLst>
                <a:gd name="T0" fmla="*/ 0 w 539"/>
                <a:gd name="T1" fmla="*/ 137 h 408"/>
                <a:gd name="T2" fmla="*/ 457 w 539"/>
                <a:gd name="T3" fmla="*/ 0 h 408"/>
                <a:gd name="T4" fmla="*/ 539 w 539"/>
                <a:gd name="T5" fmla="*/ 271 h 408"/>
                <a:gd name="T6" fmla="*/ 81 w 539"/>
                <a:gd name="T7" fmla="*/ 408 h 408"/>
                <a:gd name="T8" fmla="*/ 0 w 539"/>
                <a:gd name="T9" fmla="*/ 137 h 408"/>
              </a:gdLst>
              <a:ahLst/>
              <a:cxnLst>
                <a:cxn ang="0">
                  <a:pos x="T0" y="T1"/>
                </a:cxn>
                <a:cxn ang="0">
                  <a:pos x="T2" y="T3"/>
                </a:cxn>
                <a:cxn ang="0">
                  <a:pos x="T4" y="T5"/>
                </a:cxn>
                <a:cxn ang="0">
                  <a:pos x="T6" y="T7"/>
                </a:cxn>
                <a:cxn ang="0">
                  <a:pos x="T8" y="T9"/>
                </a:cxn>
              </a:cxnLst>
              <a:rect l="0" t="0" r="r" b="b"/>
              <a:pathLst>
                <a:path w="539" h="408">
                  <a:moveTo>
                    <a:pt x="0" y="137"/>
                  </a:moveTo>
                  <a:lnTo>
                    <a:pt x="457" y="0"/>
                  </a:lnTo>
                  <a:lnTo>
                    <a:pt x="539" y="271"/>
                  </a:lnTo>
                  <a:lnTo>
                    <a:pt x="81" y="408"/>
                  </a:lnTo>
                  <a:lnTo>
                    <a:pt x="0" y="1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7" name="í$ľiḋé"/>
            <p:cNvSpPr/>
            <p:nvPr/>
          </p:nvSpPr>
          <p:spPr bwMode="auto">
            <a:xfrm>
              <a:off x="7162007" y="637382"/>
              <a:ext cx="862013" cy="622300"/>
            </a:xfrm>
            <a:custGeom>
              <a:avLst/>
              <a:gdLst>
                <a:gd name="T0" fmla="*/ 0 w 543"/>
                <a:gd name="T1" fmla="*/ 298 h 392"/>
                <a:gd name="T2" fmla="*/ 58 w 543"/>
                <a:gd name="T3" fmla="*/ 0 h 392"/>
                <a:gd name="T4" fmla="*/ 543 w 543"/>
                <a:gd name="T5" fmla="*/ 94 h 392"/>
                <a:gd name="T6" fmla="*/ 485 w 543"/>
                <a:gd name="T7" fmla="*/ 392 h 392"/>
                <a:gd name="T8" fmla="*/ 0 w 543"/>
                <a:gd name="T9" fmla="*/ 298 h 392"/>
              </a:gdLst>
              <a:ahLst/>
              <a:cxnLst>
                <a:cxn ang="0">
                  <a:pos x="T0" y="T1"/>
                </a:cxn>
                <a:cxn ang="0">
                  <a:pos x="T2" y="T3"/>
                </a:cxn>
                <a:cxn ang="0">
                  <a:pos x="T4" y="T5"/>
                </a:cxn>
                <a:cxn ang="0">
                  <a:pos x="T6" y="T7"/>
                </a:cxn>
                <a:cxn ang="0">
                  <a:pos x="T8" y="T9"/>
                </a:cxn>
              </a:cxnLst>
              <a:rect l="0" t="0" r="r" b="b"/>
              <a:pathLst>
                <a:path w="543" h="392">
                  <a:moveTo>
                    <a:pt x="0" y="298"/>
                  </a:moveTo>
                  <a:lnTo>
                    <a:pt x="58" y="0"/>
                  </a:lnTo>
                  <a:lnTo>
                    <a:pt x="543" y="94"/>
                  </a:lnTo>
                  <a:lnTo>
                    <a:pt x="485" y="392"/>
                  </a:lnTo>
                  <a:lnTo>
                    <a:pt x="0" y="298"/>
                  </a:lnTo>
                  <a:close/>
                </a:path>
              </a:pathLst>
            </a:custGeom>
            <a:solidFill>
              <a:srgbClr val="EEEEE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8" name="íṧlîḋe"/>
            <p:cNvSpPr/>
            <p:nvPr/>
          </p:nvSpPr>
          <p:spPr bwMode="auto">
            <a:xfrm>
              <a:off x="7162007" y="637382"/>
              <a:ext cx="862013" cy="622300"/>
            </a:xfrm>
            <a:custGeom>
              <a:avLst/>
              <a:gdLst>
                <a:gd name="T0" fmla="*/ 0 w 543"/>
                <a:gd name="T1" fmla="*/ 298 h 392"/>
                <a:gd name="T2" fmla="*/ 58 w 543"/>
                <a:gd name="T3" fmla="*/ 0 h 392"/>
                <a:gd name="T4" fmla="*/ 543 w 543"/>
                <a:gd name="T5" fmla="*/ 94 h 392"/>
                <a:gd name="T6" fmla="*/ 485 w 543"/>
                <a:gd name="T7" fmla="*/ 392 h 392"/>
                <a:gd name="T8" fmla="*/ 0 w 543"/>
                <a:gd name="T9" fmla="*/ 298 h 392"/>
              </a:gdLst>
              <a:ahLst/>
              <a:cxnLst>
                <a:cxn ang="0">
                  <a:pos x="T0" y="T1"/>
                </a:cxn>
                <a:cxn ang="0">
                  <a:pos x="T2" y="T3"/>
                </a:cxn>
                <a:cxn ang="0">
                  <a:pos x="T4" y="T5"/>
                </a:cxn>
                <a:cxn ang="0">
                  <a:pos x="T6" y="T7"/>
                </a:cxn>
                <a:cxn ang="0">
                  <a:pos x="T8" y="T9"/>
                </a:cxn>
              </a:cxnLst>
              <a:rect l="0" t="0" r="r" b="b"/>
              <a:pathLst>
                <a:path w="543" h="392">
                  <a:moveTo>
                    <a:pt x="0" y="298"/>
                  </a:moveTo>
                  <a:lnTo>
                    <a:pt x="58" y="0"/>
                  </a:lnTo>
                  <a:lnTo>
                    <a:pt x="543" y="94"/>
                  </a:lnTo>
                  <a:lnTo>
                    <a:pt x="485" y="392"/>
                  </a:lnTo>
                  <a:lnTo>
                    <a:pt x="0" y="2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9" name="íšḻîďê"/>
            <p:cNvSpPr/>
            <p:nvPr/>
          </p:nvSpPr>
          <p:spPr bwMode="auto">
            <a:xfrm>
              <a:off x="7174707" y="651669"/>
              <a:ext cx="830263" cy="585788"/>
            </a:xfrm>
            <a:custGeom>
              <a:avLst/>
              <a:gdLst>
                <a:gd name="T0" fmla="*/ 0 w 523"/>
                <a:gd name="T1" fmla="*/ 277 h 369"/>
                <a:gd name="T2" fmla="*/ 55 w 523"/>
                <a:gd name="T3" fmla="*/ 0 h 369"/>
                <a:gd name="T4" fmla="*/ 523 w 523"/>
                <a:gd name="T5" fmla="*/ 91 h 369"/>
                <a:gd name="T6" fmla="*/ 469 w 523"/>
                <a:gd name="T7" fmla="*/ 369 h 369"/>
                <a:gd name="T8" fmla="*/ 0 w 523"/>
                <a:gd name="T9" fmla="*/ 277 h 369"/>
              </a:gdLst>
              <a:ahLst/>
              <a:cxnLst>
                <a:cxn ang="0">
                  <a:pos x="T0" y="T1"/>
                </a:cxn>
                <a:cxn ang="0">
                  <a:pos x="T2" y="T3"/>
                </a:cxn>
                <a:cxn ang="0">
                  <a:pos x="T4" y="T5"/>
                </a:cxn>
                <a:cxn ang="0">
                  <a:pos x="T6" y="T7"/>
                </a:cxn>
                <a:cxn ang="0">
                  <a:pos x="T8" y="T9"/>
                </a:cxn>
              </a:cxnLst>
              <a:rect l="0" t="0" r="r" b="b"/>
              <a:pathLst>
                <a:path w="523" h="369">
                  <a:moveTo>
                    <a:pt x="0" y="277"/>
                  </a:moveTo>
                  <a:lnTo>
                    <a:pt x="55" y="0"/>
                  </a:lnTo>
                  <a:lnTo>
                    <a:pt x="523" y="91"/>
                  </a:lnTo>
                  <a:lnTo>
                    <a:pt x="469" y="369"/>
                  </a:lnTo>
                  <a:lnTo>
                    <a:pt x="0" y="27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0" name="ï$ḷïḋe"/>
            <p:cNvSpPr/>
            <p:nvPr/>
          </p:nvSpPr>
          <p:spPr bwMode="auto">
            <a:xfrm>
              <a:off x="7174707" y="651669"/>
              <a:ext cx="830263" cy="585788"/>
            </a:xfrm>
            <a:custGeom>
              <a:avLst/>
              <a:gdLst>
                <a:gd name="T0" fmla="*/ 0 w 523"/>
                <a:gd name="T1" fmla="*/ 277 h 369"/>
                <a:gd name="T2" fmla="*/ 55 w 523"/>
                <a:gd name="T3" fmla="*/ 0 h 369"/>
                <a:gd name="T4" fmla="*/ 523 w 523"/>
                <a:gd name="T5" fmla="*/ 91 h 369"/>
                <a:gd name="T6" fmla="*/ 469 w 523"/>
                <a:gd name="T7" fmla="*/ 369 h 369"/>
                <a:gd name="T8" fmla="*/ 0 w 523"/>
                <a:gd name="T9" fmla="*/ 277 h 369"/>
              </a:gdLst>
              <a:ahLst/>
              <a:cxnLst>
                <a:cxn ang="0">
                  <a:pos x="T0" y="T1"/>
                </a:cxn>
                <a:cxn ang="0">
                  <a:pos x="T2" y="T3"/>
                </a:cxn>
                <a:cxn ang="0">
                  <a:pos x="T4" y="T5"/>
                </a:cxn>
                <a:cxn ang="0">
                  <a:pos x="T6" y="T7"/>
                </a:cxn>
                <a:cxn ang="0">
                  <a:pos x="T8" y="T9"/>
                </a:cxn>
              </a:cxnLst>
              <a:rect l="0" t="0" r="r" b="b"/>
              <a:pathLst>
                <a:path w="523" h="369">
                  <a:moveTo>
                    <a:pt x="0" y="277"/>
                  </a:moveTo>
                  <a:lnTo>
                    <a:pt x="55" y="0"/>
                  </a:lnTo>
                  <a:lnTo>
                    <a:pt x="523" y="91"/>
                  </a:lnTo>
                  <a:lnTo>
                    <a:pt x="469" y="369"/>
                  </a:lnTo>
                  <a:lnTo>
                    <a:pt x="0" y="27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1" name="îŝḷîḓè"/>
            <p:cNvSpPr/>
            <p:nvPr/>
          </p:nvSpPr>
          <p:spPr bwMode="auto">
            <a:xfrm>
              <a:off x="7273132" y="691357"/>
              <a:ext cx="107950" cy="87313"/>
            </a:xfrm>
            <a:custGeom>
              <a:avLst/>
              <a:gdLst>
                <a:gd name="T0" fmla="*/ 8 w 68"/>
                <a:gd name="T1" fmla="*/ 0 h 55"/>
                <a:gd name="T2" fmla="*/ 0 w 68"/>
                <a:gd name="T3" fmla="*/ 44 h 55"/>
                <a:gd name="T4" fmla="*/ 60 w 68"/>
                <a:gd name="T5" fmla="*/ 55 h 55"/>
                <a:gd name="T6" fmla="*/ 68 w 68"/>
                <a:gd name="T7" fmla="*/ 12 h 55"/>
                <a:gd name="T8" fmla="*/ 8 w 68"/>
                <a:gd name="T9" fmla="*/ 0 h 55"/>
              </a:gdLst>
              <a:ahLst/>
              <a:cxnLst>
                <a:cxn ang="0">
                  <a:pos x="T0" y="T1"/>
                </a:cxn>
                <a:cxn ang="0">
                  <a:pos x="T2" y="T3"/>
                </a:cxn>
                <a:cxn ang="0">
                  <a:pos x="T4" y="T5"/>
                </a:cxn>
                <a:cxn ang="0">
                  <a:pos x="T6" y="T7"/>
                </a:cxn>
                <a:cxn ang="0">
                  <a:pos x="T8" y="T9"/>
                </a:cxn>
              </a:cxnLst>
              <a:rect l="0" t="0" r="r" b="b"/>
              <a:pathLst>
                <a:path w="68" h="55">
                  <a:moveTo>
                    <a:pt x="8" y="0"/>
                  </a:moveTo>
                  <a:lnTo>
                    <a:pt x="0" y="44"/>
                  </a:lnTo>
                  <a:lnTo>
                    <a:pt x="60" y="55"/>
                  </a:lnTo>
                  <a:lnTo>
                    <a:pt x="68" y="12"/>
                  </a:lnTo>
                  <a:lnTo>
                    <a:pt x="8" y="0"/>
                  </a:lnTo>
                  <a:close/>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2" name="îşḷídê"/>
            <p:cNvSpPr/>
            <p:nvPr/>
          </p:nvSpPr>
          <p:spPr bwMode="auto">
            <a:xfrm>
              <a:off x="7273132" y="691357"/>
              <a:ext cx="107950" cy="87313"/>
            </a:xfrm>
            <a:custGeom>
              <a:avLst/>
              <a:gdLst>
                <a:gd name="T0" fmla="*/ 8 w 68"/>
                <a:gd name="T1" fmla="*/ 0 h 55"/>
                <a:gd name="T2" fmla="*/ 0 w 68"/>
                <a:gd name="T3" fmla="*/ 44 h 55"/>
                <a:gd name="T4" fmla="*/ 60 w 68"/>
                <a:gd name="T5" fmla="*/ 55 h 55"/>
                <a:gd name="T6" fmla="*/ 68 w 68"/>
                <a:gd name="T7" fmla="*/ 12 h 55"/>
                <a:gd name="T8" fmla="*/ 8 w 68"/>
                <a:gd name="T9" fmla="*/ 0 h 55"/>
              </a:gdLst>
              <a:ahLst/>
              <a:cxnLst>
                <a:cxn ang="0">
                  <a:pos x="T0" y="T1"/>
                </a:cxn>
                <a:cxn ang="0">
                  <a:pos x="T2" y="T3"/>
                </a:cxn>
                <a:cxn ang="0">
                  <a:pos x="T4" y="T5"/>
                </a:cxn>
                <a:cxn ang="0">
                  <a:pos x="T6" y="T7"/>
                </a:cxn>
                <a:cxn ang="0">
                  <a:pos x="T8" y="T9"/>
                </a:cxn>
              </a:cxnLst>
              <a:rect l="0" t="0" r="r" b="b"/>
              <a:pathLst>
                <a:path w="68" h="55">
                  <a:moveTo>
                    <a:pt x="8" y="0"/>
                  </a:moveTo>
                  <a:lnTo>
                    <a:pt x="0" y="44"/>
                  </a:lnTo>
                  <a:lnTo>
                    <a:pt x="60" y="55"/>
                  </a:lnTo>
                  <a:lnTo>
                    <a:pt x="68" y="1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3" name="ïslíďé"/>
            <p:cNvSpPr/>
            <p:nvPr/>
          </p:nvSpPr>
          <p:spPr bwMode="auto">
            <a:xfrm>
              <a:off x="7323932" y="889794"/>
              <a:ext cx="368300" cy="93663"/>
            </a:xfrm>
            <a:custGeom>
              <a:avLst/>
              <a:gdLst>
                <a:gd name="T0" fmla="*/ 3 w 232"/>
                <a:gd name="T1" fmla="*/ 0 h 59"/>
                <a:gd name="T2" fmla="*/ 0 w 232"/>
                <a:gd name="T3" fmla="*/ 14 h 59"/>
                <a:gd name="T4" fmla="*/ 230 w 232"/>
                <a:gd name="T5" fmla="*/ 59 h 59"/>
                <a:gd name="T6" fmla="*/ 232 w 232"/>
                <a:gd name="T7" fmla="*/ 45 h 59"/>
                <a:gd name="T8" fmla="*/ 3 w 232"/>
                <a:gd name="T9" fmla="*/ 0 h 59"/>
              </a:gdLst>
              <a:ahLst/>
              <a:cxnLst>
                <a:cxn ang="0">
                  <a:pos x="T0" y="T1"/>
                </a:cxn>
                <a:cxn ang="0">
                  <a:pos x="T2" y="T3"/>
                </a:cxn>
                <a:cxn ang="0">
                  <a:pos x="T4" y="T5"/>
                </a:cxn>
                <a:cxn ang="0">
                  <a:pos x="T6" y="T7"/>
                </a:cxn>
                <a:cxn ang="0">
                  <a:pos x="T8" y="T9"/>
                </a:cxn>
              </a:cxnLst>
              <a:rect l="0" t="0" r="r" b="b"/>
              <a:pathLst>
                <a:path w="232" h="59">
                  <a:moveTo>
                    <a:pt x="3" y="0"/>
                  </a:moveTo>
                  <a:lnTo>
                    <a:pt x="0" y="14"/>
                  </a:lnTo>
                  <a:lnTo>
                    <a:pt x="230" y="59"/>
                  </a:lnTo>
                  <a:lnTo>
                    <a:pt x="232" y="45"/>
                  </a:lnTo>
                  <a:lnTo>
                    <a:pt x="3" y="0"/>
                  </a:lnTo>
                  <a:close/>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4" name="í$ḻíḑe"/>
            <p:cNvSpPr/>
            <p:nvPr/>
          </p:nvSpPr>
          <p:spPr bwMode="auto">
            <a:xfrm>
              <a:off x="7323932" y="889794"/>
              <a:ext cx="368300" cy="93663"/>
            </a:xfrm>
            <a:custGeom>
              <a:avLst/>
              <a:gdLst>
                <a:gd name="T0" fmla="*/ 3 w 232"/>
                <a:gd name="T1" fmla="*/ 0 h 59"/>
                <a:gd name="T2" fmla="*/ 0 w 232"/>
                <a:gd name="T3" fmla="*/ 14 h 59"/>
                <a:gd name="T4" fmla="*/ 230 w 232"/>
                <a:gd name="T5" fmla="*/ 59 h 59"/>
                <a:gd name="T6" fmla="*/ 232 w 232"/>
                <a:gd name="T7" fmla="*/ 45 h 59"/>
                <a:gd name="T8" fmla="*/ 3 w 232"/>
                <a:gd name="T9" fmla="*/ 0 h 59"/>
              </a:gdLst>
              <a:ahLst/>
              <a:cxnLst>
                <a:cxn ang="0">
                  <a:pos x="T0" y="T1"/>
                </a:cxn>
                <a:cxn ang="0">
                  <a:pos x="T2" y="T3"/>
                </a:cxn>
                <a:cxn ang="0">
                  <a:pos x="T4" y="T5"/>
                </a:cxn>
                <a:cxn ang="0">
                  <a:pos x="T6" y="T7"/>
                </a:cxn>
                <a:cxn ang="0">
                  <a:pos x="T8" y="T9"/>
                </a:cxn>
              </a:cxnLst>
              <a:rect l="0" t="0" r="r" b="b"/>
              <a:pathLst>
                <a:path w="232" h="59">
                  <a:moveTo>
                    <a:pt x="3" y="0"/>
                  </a:moveTo>
                  <a:lnTo>
                    <a:pt x="0" y="14"/>
                  </a:lnTo>
                  <a:lnTo>
                    <a:pt x="230" y="59"/>
                  </a:lnTo>
                  <a:lnTo>
                    <a:pt x="232" y="45"/>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5" name="ïṥľiḓé"/>
            <p:cNvSpPr/>
            <p:nvPr/>
          </p:nvSpPr>
          <p:spPr bwMode="auto">
            <a:xfrm>
              <a:off x="7412832" y="965994"/>
              <a:ext cx="268288" cy="65088"/>
            </a:xfrm>
            <a:custGeom>
              <a:avLst/>
              <a:gdLst>
                <a:gd name="T0" fmla="*/ 3 w 169"/>
                <a:gd name="T1" fmla="*/ 0 h 41"/>
                <a:gd name="T2" fmla="*/ 0 w 169"/>
                <a:gd name="T3" fmla="*/ 10 h 41"/>
                <a:gd name="T4" fmla="*/ 168 w 169"/>
                <a:gd name="T5" fmla="*/ 41 h 41"/>
                <a:gd name="T6" fmla="*/ 169 w 169"/>
                <a:gd name="T7" fmla="*/ 32 h 41"/>
                <a:gd name="T8" fmla="*/ 3 w 169"/>
                <a:gd name="T9" fmla="*/ 0 h 41"/>
              </a:gdLst>
              <a:ahLst/>
              <a:cxnLst>
                <a:cxn ang="0">
                  <a:pos x="T0" y="T1"/>
                </a:cxn>
                <a:cxn ang="0">
                  <a:pos x="T2" y="T3"/>
                </a:cxn>
                <a:cxn ang="0">
                  <a:pos x="T4" y="T5"/>
                </a:cxn>
                <a:cxn ang="0">
                  <a:pos x="T6" y="T7"/>
                </a:cxn>
                <a:cxn ang="0">
                  <a:pos x="T8" y="T9"/>
                </a:cxn>
              </a:cxnLst>
              <a:rect l="0" t="0" r="r" b="b"/>
              <a:pathLst>
                <a:path w="169" h="41">
                  <a:moveTo>
                    <a:pt x="3" y="0"/>
                  </a:moveTo>
                  <a:lnTo>
                    <a:pt x="0" y="10"/>
                  </a:lnTo>
                  <a:lnTo>
                    <a:pt x="168" y="41"/>
                  </a:lnTo>
                  <a:lnTo>
                    <a:pt x="169" y="32"/>
                  </a:lnTo>
                  <a:lnTo>
                    <a:pt x="3" y="0"/>
                  </a:lnTo>
                  <a:close/>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6" name="iṩḻiḑé"/>
            <p:cNvSpPr/>
            <p:nvPr/>
          </p:nvSpPr>
          <p:spPr bwMode="auto">
            <a:xfrm>
              <a:off x="7412832" y="965994"/>
              <a:ext cx="268288" cy="65088"/>
            </a:xfrm>
            <a:custGeom>
              <a:avLst/>
              <a:gdLst>
                <a:gd name="T0" fmla="*/ 3 w 169"/>
                <a:gd name="T1" fmla="*/ 0 h 41"/>
                <a:gd name="T2" fmla="*/ 0 w 169"/>
                <a:gd name="T3" fmla="*/ 10 h 41"/>
                <a:gd name="T4" fmla="*/ 168 w 169"/>
                <a:gd name="T5" fmla="*/ 41 h 41"/>
                <a:gd name="T6" fmla="*/ 169 w 169"/>
                <a:gd name="T7" fmla="*/ 32 h 41"/>
                <a:gd name="T8" fmla="*/ 3 w 169"/>
                <a:gd name="T9" fmla="*/ 0 h 41"/>
              </a:gdLst>
              <a:ahLst/>
              <a:cxnLst>
                <a:cxn ang="0">
                  <a:pos x="T0" y="T1"/>
                </a:cxn>
                <a:cxn ang="0">
                  <a:pos x="T2" y="T3"/>
                </a:cxn>
                <a:cxn ang="0">
                  <a:pos x="T4" y="T5"/>
                </a:cxn>
                <a:cxn ang="0">
                  <a:pos x="T6" y="T7"/>
                </a:cxn>
                <a:cxn ang="0">
                  <a:pos x="T8" y="T9"/>
                </a:cxn>
              </a:cxnLst>
              <a:rect l="0" t="0" r="r" b="b"/>
              <a:pathLst>
                <a:path w="169" h="41">
                  <a:moveTo>
                    <a:pt x="3" y="0"/>
                  </a:moveTo>
                  <a:lnTo>
                    <a:pt x="0" y="10"/>
                  </a:lnTo>
                  <a:lnTo>
                    <a:pt x="168" y="41"/>
                  </a:lnTo>
                  <a:lnTo>
                    <a:pt x="169" y="32"/>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7" name="ïṧḻïďè"/>
            <p:cNvSpPr/>
            <p:nvPr/>
          </p:nvSpPr>
          <p:spPr bwMode="auto">
            <a:xfrm>
              <a:off x="7289007" y="1570832"/>
              <a:ext cx="755650" cy="909638"/>
            </a:xfrm>
            <a:custGeom>
              <a:avLst/>
              <a:gdLst>
                <a:gd name="T0" fmla="*/ 0 w 476"/>
                <a:gd name="T1" fmla="*/ 121 h 573"/>
                <a:gd name="T2" fmla="*/ 280 w 476"/>
                <a:gd name="T3" fmla="*/ 0 h 573"/>
                <a:gd name="T4" fmla="*/ 476 w 476"/>
                <a:gd name="T5" fmla="*/ 453 h 573"/>
                <a:gd name="T6" fmla="*/ 197 w 476"/>
                <a:gd name="T7" fmla="*/ 573 h 573"/>
                <a:gd name="T8" fmla="*/ 0 w 476"/>
                <a:gd name="T9" fmla="*/ 121 h 573"/>
              </a:gdLst>
              <a:ahLst/>
              <a:cxnLst>
                <a:cxn ang="0">
                  <a:pos x="T0" y="T1"/>
                </a:cxn>
                <a:cxn ang="0">
                  <a:pos x="T2" y="T3"/>
                </a:cxn>
                <a:cxn ang="0">
                  <a:pos x="T4" y="T5"/>
                </a:cxn>
                <a:cxn ang="0">
                  <a:pos x="T6" y="T7"/>
                </a:cxn>
                <a:cxn ang="0">
                  <a:pos x="T8" y="T9"/>
                </a:cxn>
              </a:cxnLst>
              <a:rect l="0" t="0" r="r" b="b"/>
              <a:pathLst>
                <a:path w="476" h="573">
                  <a:moveTo>
                    <a:pt x="0" y="121"/>
                  </a:moveTo>
                  <a:lnTo>
                    <a:pt x="280" y="0"/>
                  </a:lnTo>
                  <a:lnTo>
                    <a:pt x="476" y="453"/>
                  </a:lnTo>
                  <a:lnTo>
                    <a:pt x="197" y="573"/>
                  </a:lnTo>
                  <a:lnTo>
                    <a:pt x="0" y="121"/>
                  </a:lnTo>
                  <a:close/>
                </a:path>
              </a:pathLst>
            </a:custGeom>
            <a:solidFill>
              <a:srgbClr val="EEEEE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8" name="işḷïďê"/>
            <p:cNvSpPr/>
            <p:nvPr/>
          </p:nvSpPr>
          <p:spPr bwMode="auto">
            <a:xfrm>
              <a:off x="7289007" y="1570832"/>
              <a:ext cx="755650" cy="909638"/>
            </a:xfrm>
            <a:custGeom>
              <a:avLst/>
              <a:gdLst>
                <a:gd name="T0" fmla="*/ 0 w 476"/>
                <a:gd name="T1" fmla="*/ 121 h 573"/>
                <a:gd name="T2" fmla="*/ 280 w 476"/>
                <a:gd name="T3" fmla="*/ 0 h 573"/>
                <a:gd name="T4" fmla="*/ 476 w 476"/>
                <a:gd name="T5" fmla="*/ 453 h 573"/>
                <a:gd name="T6" fmla="*/ 197 w 476"/>
                <a:gd name="T7" fmla="*/ 573 h 573"/>
                <a:gd name="T8" fmla="*/ 0 w 476"/>
                <a:gd name="T9" fmla="*/ 121 h 573"/>
              </a:gdLst>
              <a:ahLst/>
              <a:cxnLst>
                <a:cxn ang="0">
                  <a:pos x="T0" y="T1"/>
                </a:cxn>
                <a:cxn ang="0">
                  <a:pos x="T2" y="T3"/>
                </a:cxn>
                <a:cxn ang="0">
                  <a:pos x="T4" y="T5"/>
                </a:cxn>
                <a:cxn ang="0">
                  <a:pos x="T6" y="T7"/>
                </a:cxn>
                <a:cxn ang="0">
                  <a:pos x="T8" y="T9"/>
                </a:cxn>
              </a:cxnLst>
              <a:rect l="0" t="0" r="r" b="b"/>
              <a:pathLst>
                <a:path w="476" h="573">
                  <a:moveTo>
                    <a:pt x="0" y="121"/>
                  </a:moveTo>
                  <a:lnTo>
                    <a:pt x="280" y="0"/>
                  </a:lnTo>
                  <a:lnTo>
                    <a:pt x="476" y="453"/>
                  </a:lnTo>
                  <a:lnTo>
                    <a:pt x="197" y="573"/>
                  </a:lnTo>
                  <a:lnTo>
                    <a:pt x="0" y="1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9" name="îṡliḓe"/>
            <p:cNvSpPr/>
            <p:nvPr/>
          </p:nvSpPr>
          <p:spPr bwMode="auto">
            <a:xfrm>
              <a:off x="7312819" y="1585119"/>
              <a:ext cx="714375" cy="873125"/>
            </a:xfrm>
            <a:custGeom>
              <a:avLst/>
              <a:gdLst>
                <a:gd name="T0" fmla="*/ 0 w 450"/>
                <a:gd name="T1" fmla="*/ 112 h 550"/>
                <a:gd name="T2" fmla="*/ 260 w 450"/>
                <a:gd name="T3" fmla="*/ 0 h 550"/>
                <a:gd name="T4" fmla="*/ 450 w 450"/>
                <a:gd name="T5" fmla="*/ 437 h 550"/>
                <a:gd name="T6" fmla="*/ 191 w 450"/>
                <a:gd name="T7" fmla="*/ 550 h 550"/>
                <a:gd name="T8" fmla="*/ 0 w 450"/>
                <a:gd name="T9" fmla="*/ 112 h 550"/>
              </a:gdLst>
              <a:ahLst/>
              <a:cxnLst>
                <a:cxn ang="0">
                  <a:pos x="T0" y="T1"/>
                </a:cxn>
                <a:cxn ang="0">
                  <a:pos x="T2" y="T3"/>
                </a:cxn>
                <a:cxn ang="0">
                  <a:pos x="T4" y="T5"/>
                </a:cxn>
                <a:cxn ang="0">
                  <a:pos x="T6" y="T7"/>
                </a:cxn>
                <a:cxn ang="0">
                  <a:pos x="T8" y="T9"/>
                </a:cxn>
              </a:cxnLst>
              <a:rect l="0" t="0" r="r" b="b"/>
              <a:pathLst>
                <a:path w="450" h="550">
                  <a:moveTo>
                    <a:pt x="0" y="112"/>
                  </a:moveTo>
                  <a:lnTo>
                    <a:pt x="260" y="0"/>
                  </a:lnTo>
                  <a:lnTo>
                    <a:pt x="450" y="437"/>
                  </a:lnTo>
                  <a:lnTo>
                    <a:pt x="191" y="550"/>
                  </a:lnTo>
                  <a:lnTo>
                    <a:pt x="0" y="11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0" name="í$lîḓe"/>
            <p:cNvSpPr/>
            <p:nvPr/>
          </p:nvSpPr>
          <p:spPr bwMode="auto">
            <a:xfrm>
              <a:off x="7312819" y="1585119"/>
              <a:ext cx="714375" cy="873125"/>
            </a:xfrm>
            <a:custGeom>
              <a:avLst/>
              <a:gdLst>
                <a:gd name="T0" fmla="*/ 0 w 450"/>
                <a:gd name="T1" fmla="*/ 112 h 550"/>
                <a:gd name="T2" fmla="*/ 260 w 450"/>
                <a:gd name="T3" fmla="*/ 0 h 550"/>
                <a:gd name="T4" fmla="*/ 450 w 450"/>
                <a:gd name="T5" fmla="*/ 437 h 550"/>
                <a:gd name="T6" fmla="*/ 191 w 450"/>
                <a:gd name="T7" fmla="*/ 550 h 550"/>
                <a:gd name="T8" fmla="*/ 0 w 450"/>
                <a:gd name="T9" fmla="*/ 112 h 550"/>
              </a:gdLst>
              <a:ahLst/>
              <a:cxnLst>
                <a:cxn ang="0">
                  <a:pos x="T0" y="T1"/>
                </a:cxn>
                <a:cxn ang="0">
                  <a:pos x="T2" y="T3"/>
                </a:cxn>
                <a:cxn ang="0">
                  <a:pos x="T4" y="T5"/>
                </a:cxn>
                <a:cxn ang="0">
                  <a:pos x="T6" y="T7"/>
                </a:cxn>
                <a:cxn ang="0">
                  <a:pos x="T8" y="T9"/>
                </a:cxn>
              </a:cxnLst>
              <a:rect l="0" t="0" r="r" b="b"/>
              <a:pathLst>
                <a:path w="450" h="550">
                  <a:moveTo>
                    <a:pt x="0" y="112"/>
                  </a:moveTo>
                  <a:lnTo>
                    <a:pt x="260" y="0"/>
                  </a:lnTo>
                  <a:lnTo>
                    <a:pt x="450" y="437"/>
                  </a:lnTo>
                  <a:lnTo>
                    <a:pt x="191" y="550"/>
                  </a:lnTo>
                  <a:lnTo>
                    <a:pt x="0" y="1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1" name="ïṩ1íḋé"/>
            <p:cNvSpPr/>
            <p:nvPr/>
          </p:nvSpPr>
          <p:spPr bwMode="auto">
            <a:xfrm>
              <a:off x="7641432" y="1627982"/>
              <a:ext cx="104775" cy="115888"/>
            </a:xfrm>
            <a:custGeom>
              <a:avLst/>
              <a:gdLst>
                <a:gd name="T0" fmla="*/ 41 w 66"/>
                <a:gd name="T1" fmla="*/ 0 h 73"/>
                <a:gd name="T2" fmla="*/ 0 w 66"/>
                <a:gd name="T3" fmla="*/ 18 h 73"/>
                <a:gd name="T4" fmla="*/ 25 w 66"/>
                <a:gd name="T5" fmla="*/ 73 h 73"/>
                <a:gd name="T6" fmla="*/ 66 w 66"/>
                <a:gd name="T7" fmla="*/ 55 h 73"/>
                <a:gd name="T8" fmla="*/ 41 w 66"/>
                <a:gd name="T9" fmla="*/ 0 h 73"/>
              </a:gdLst>
              <a:ahLst/>
              <a:cxnLst>
                <a:cxn ang="0">
                  <a:pos x="T0" y="T1"/>
                </a:cxn>
                <a:cxn ang="0">
                  <a:pos x="T2" y="T3"/>
                </a:cxn>
                <a:cxn ang="0">
                  <a:pos x="T4" y="T5"/>
                </a:cxn>
                <a:cxn ang="0">
                  <a:pos x="T6" y="T7"/>
                </a:cxn>
                <a:cxn ang="0">
                  <a:pos x="T8" y="T9"/>
                </a:cxn>
              </a:cxnLst>
              <a:rect l="0" t="0" r="r" b="b"/>
              <a:pathLst>
                <a:path w="66" h="73">
                  <a:moveTo>
                    <a:pt x="41" y="0"/>
                  </a:moveTo>
                  <a:lnTo>
                    <a:pt x="0" y="18"/>
                  </a:lnTo>
                  <a:lnTo>
                    <a:pt x="25" y="73"/>
                  </a:lnTo>
                  <a:lnTo>
                    <a:pt x="66" y="55"/>
                  </a:lnTo>
                  <a:lnTo>
                    <a:pt x="41" y="0"/>
                  </a:lnTo>
                  <a:close/>
                </a:path>
              </a:pathLst>
            </a:custGeom>
            <a:solidFill>
              <a:srgbClr val="91F0D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2" name="iṣļîḑe"/>
            <p:cNvSpPr/>
            <p:nvPr/>
          </p:nvSpPr>
          <p:spPr bwMode="auto">
            <a:xfrm>
              <a:off x="7641432" y="1627982"/>
              <a:ext cx="104775" cy="115888"/>
            </a:xfrm>
            <a:custGeom>
              <a:avLst/>
              <a:gdLst>
                <a:gd name="T0" fmla="*/ 41 w 66"/>
                <a:gd name="T1" fmla="*/ 0 h 73"/>
                <a:gd name="T2" fmla="*/ 0 w 66"/>
                <a:gd name="T3" fmla="*/ 18 h 73"/>
                <a:gd name="T4" fmla="*/ 25 w 66"/>
                <a:gd name="T5" fmla="*/ 73 h 73"/>
                <a:gd name="T6" fmla="*/ 66 w 66"/>
                <a:gd name="T7" fmla="*/ 55 h 73"/>
                <a:gd name="T8" fmla="*/ 41 w 66"/>
                <a:gd name="T9" fmla="*/ 0 h 73"/>
              </a:gdLst>
              <a:ahLst/>
              <a:cxnLst>
                <a:cxn ang="0">
                  <a:pos x="T0" y="T1"/>
                </a:cxn>
                <a:cxn ang="0">
                  <a:pos x="T2" y="T3"/>
                </a:cxn>
                <a:cxn ang="0">
                  <a:pos x="T4" y="T5"/>
                </a:cxn>
                <a:cxn ang="0">
                  <a:pos x="T6" y="T7"/>
                </a:cxn>
                <a:cxn ang="0">
                  <a:pos x="T8" y="T9"/>
                </a:cxn>
              </a:cxnLst>
              <a:rect l="0" t="0" r="r" b="b"/>
              <a:pathLst>
                <a:path w="66" h="73">
                  <a:moveTo>
                    <a:pt x="41" y="0"/>
                  </a:moveTo>
                  <a:lnTo>
                    <a:pt x="0" y="18"/>
                  </a:lnTo>
                  <a:lnTo>
                    <a:pt x="25" y="73"/>
                  </a:lnTo>
                  <a:lnTo>
                    <a:pt x="66" y="55"/>
                  </a:lnTo>
                  <a:lnTo>
                    <a:pt x="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3" name="îṩlîḋé"/>
            <p:cNvSpPr/>
            <p:nvPr/>
          </p:nvSpPr>
          <p:spPr bwMode="auto">
            <a:xfrm>
              <a:off x="7546182" y="1775619"/>
              <a:ext cx="168275" cy="347663"/>
            </a:xfrm>
            <a:custGeom>
              <a:avLst/>
              <a:gdLst>
                <a:gd name="T0" fmla="*/ 13 w 106"/>
                <a:gd name="T1" fmla="*/ 0 h 219"/>
                <a:gd name="T2" fmla="*/ 0 w 106"/>
                <a:gd name="T3" fmla="*/ 5 h 219"/>
                <a:gd name="T4" fmla="*/ 93 w 106"/>
                <a:gd name="T5" fmla="*/ 219 h 219"/>
                <a:gd name="T6" fmla="*/ 106 w 106"/>
                <a:gd name="T7" fmla="*/ 213 h 219"/>
                <a:gd name="T8" fmla="*/ 13 w 106"/>
                <a:gd name="T9" fmla="*/ 0 h 219"/>
              </a:gdLst>
              <a:ahLst/>
              <a:cxnLst>
                <a:cxn ang="0">
                  <a:pos x="T0" y="T1"/>
                </a:cxn>
                <a:cxn ang="0">
                  <a:pos x="T2" y="T3"/>
                </a:cxn>
                <a:cxn ang="0">
                  <a:pos x="T4" y="T5"/>
                </a:cxn>
                <a:cxn ang="0">
                  <a:pos x="T6" y="T7"/>
                </a:cxn>
                <a:cxn ang="0">
                  <a:pos x="T8" y="T9"/>
                </a:cxn>
              </a:cxnLst>
              <a:rect l="0" t="0" r="r" b="b"/>
              <a:pathLst>
                <a:path w="106" h="219">
                  <a:moveTo>
                    <a:pt x="13" y="0"/>
                  </a:moveTo>
                  <a:lnTo>
                    <a:pt x="0" y="5"/>
                  </a:lnTo>
                  <a:lnTo>
                    <a:pt x="93" y="219"/>
                  </a:lnTo>
                  <a:lnTo>
                    <a:pt x="106" y="213"/>
                  </a:lnTo>
                  <a:lnTo>
                    <a:pt x="13" y="0"/>
                  </a:lnTo>
                  <a:close/>
                </a:path>
              </a:pathLst>
            </a:custGeom>
            <a:solidFill>
              <a:srgbClr val="91F0D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4" name="íşḷîḑè"/>
            <p:cNvSpPr/>
            <p:nvPr/>
          </p:nvSpPr>
          <p:spPr bwMode="auto">
            <a:xfrm>
              <a:off x="7546182" y="1775619"/>
              <a:ext cx="168275" cy="347663"/>
            </a:xfrm>
            <a:custGeom>
              <a:avLst/>
              <a:gdLst>
                <a:gd name="T0" fmla="*/ 13 w 106"/>
                <a:gd name="T1" fmla="*/ 0 h 219"/>
                <a:gd name="T2" fmla="*/ 0 w 106"/>
                <a:gd name="T3" fmla="*/ 5 h 219"/>
                <a:gd name="T4" fmla="*/ 93 w 106"/>
                <a:gd name="T5" fmla="*/ 219 h 219"/>
                <a:gd name="T6" fmla="*/ 106 w 106"/>
                <a:gd name="T7" fmla="*/ 213 h 219"/>
                <a:gd name="T8" fmla="*/ 13 w 106"/>
                <a:gd name="T9" fmla="*/ 0 h 219"/>
              </a:gdLst>
              <a:ahLst/>
              <a:cxnLst>
                <a:cxn ang="0">
                  <a:pos x="T0" y="T1"/>
                </a:cxn>
                <a:cxn ang="0">
                  <a:pos x="T2" y="T3"/>
                </a:cxn>
                <a:cxn ang="0">
                  <a:pos x="T4" y="T5"/>
                </a:cxn>
                <a:cxn ang="0">
                  <a:pos x="T6" y="T7"/>
                </a:cxn>
                <a:cxn ang="0">
                  <a:pos x="T8" y="T9"/>
                </a:cxn>
              </a:cxnLst>
              <a:rect l="0" t="0" r="r" b="b"/>
              <a:pathLst>
                <a:path w="106" h="219">
                  <a:moveTo>
                    <a:pt x="13" y="0"/>
                  </a:moveTo>
                  <a:lnTo>
                    <a:pt x="0" y="5"/>
                  </a:lnTo>
                  <a:lnTo>
                    <a:pt x="93" y="219"/>
                  </a:lnTo>
                  <a:lnTo>
                    <a:pt x="106" y="213"/>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5" name="í$ḷïďè"/>
            <p:cNvSpPr/>
            <p:nvPr/>
          </p:nvSpPr>
          <p:spPr bwMode="auto">
            <a:xfrm>
              <a:off x="7539832" y="1889919"/>
              <a:ext cx="120650" cy="254000"/>
            </a:xfrm>
            <a:custGeom>
              <a:avLst/>
              <a:gdLst>
                <a:gd name="T0" fmla="*/ 9 w 76"/>
                <a:gd name="T1" fmla="*/ 0 h 160"/>
                <a:gd name="T2" fmla="*/ 0 w 76"/>
                <a:gd name="T3" fmla="*/ 3 h 160"/>
                <a:gd name="T4" fmla="*/ 68 w 76"/>
                <a:gd name="T5" fmla="*/ 160 h 160"/>
                <a:gd name="T6" fmla="*/ 76 w 76"/>
                <a:gd name="T7" fmla="*/ 155 h 160"/>
                <a:gd name="T8" fmla="*/ 9 w 76"/>
                <a:gd name="T9" fmla="*/ 0 h 160"/>
              </a:gdLst>
              <a:ahLst/>
              <a:cxnLst>
                <a:cxn ang="0">
                  <a:pos x="T0" y="T1"/>
                </a:cxn>
                <a:cxn ang="0">
                  <a:pos x="T2" y="T3"/>
                </a:cxn>
                <a:cxn ang="0">
                  <a:pos x="T4" y="T5"/>
                </a:cxn>
                <a:cxn ang="0">
                  <a:pos x="T6" y="T7"/>
                </a:cxn>
                <a:cxn ang="0">
                  <a:pos x="T8" y="T9"/>
                </a:cxn>
              </a:cxnLst>
              <a:rect l="0" t="0" r="r" b="b"/>
              <a:pathLst>
                <a:path w="76" h="160">
                  <a:moveTo>
                    <a:pt x="9" y="0"/>
                  </a:moveTo>
                  <a:lnTo>
                    <a:pt x="0" y="3"/>
                  </a:lnTo>
                  <a:lnTo>
                    <a:pt x="68" y="160"/>
                  </a:lnTo>
                  <a:lnTo>
                    <a:pt x="76" y="155"/>
                  </a:lnTo>
                  <a:lnTo>
                    <a:pt x="9" y="0"/>
                  </a:lnTo>
                  <a:close/>
                </a:path>
              </a:pathLst>
            </a:custGeom>
            <a:solidFill>
              <a:srgbClr val="91F0D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6" name="íś1ïḓé"/>
            <p:cNvSpPr/>
            <p:nvPr/>
          </p:nvSpPr>
          <p:spPr bwMode="auto">
            <a:xfrm>
              <a:off x="7539832" y="1889919"/>
              <a:ext cx="120650" cy="254000"/>
            </a:xfrm>
            <a:custGeom>
              <a:avLst/>
              <a:gdLst>
                <a:gd name="T0" fmla="*/ 9 w 76"/>
                <a:gd name="T1" fmla="*/ 0 h 160"/>
                <a:gd name="T2" fmla="*/ 0 w 76"/>
                <a:gd name="T3" fmla="*/ 3 h 160"/>
                <a:gd name="T4" fmla="*/ 68 w 76"/>
                <a:gd name="T5" fmla="*/ 160 h 160"/>
                <a:gd name="T6" fmla="*/ 76 w 76"/>
                <a:gd name="T7" fmla="*/ 155 h 160"/>
                <a:gd name="T8" fmla="*/ 9 w 76"/>
                <a:gd name="T9" fmla="*/ 0 h 160"/>
              </a:gdLst>
              <a:ahLst/>
              <a:cxnLst>
                <a:cxn ang="0">
                  <a:pos x="T0" y="T1"/>
                </a:cxn>
                <a:cxn ang="0">
                  <a:pos x="T2" y="T3"/>
                </a:cxn>
                <a:cxn ang="0">
                  <a:pos x="T4" y="T5"/>
                </a:cxn>
                <a:cxn ang="0">
                  <a:pos x="T6" y="T7"/>
                </a:cxn>
                <a:cxn ang="0">
                  <a:pos x="T8" y="T9"/>
                </a:cxn>
              </a:cxnLst>
              <a:rect l="0" t="0" r="r" b="b"/>
              <a:pathLst>
                <a:path w="76" h="160">
                  <a:moveTo>
                    <a:pt x="9" y="0"/>
                  </a:moveTo>
                  <a:lnTo>
                    <a:pt x="0" y="3"/>
                  </a:lnTo>
                  <a:lnTo>
                    <a:pt x="68" y="160"/>
                  </a:lnTo>
                  <a:lnTo>
                    <a:pt x="76" y="155"/>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7" name="işḷiďe"/>
            <p:cNvSpPr/>
            <p:nvPr/>
          </p:nvSpPr>
          <p:spPr bwMode="auto">
            <a:xfrm>
              <a:off x="3217069" y="3439319"/>
              <a:ext cx="892175" cy="684213"/>
            </a:xfrm>
            <a:custGeom>
              <a:avLst/>
              <a:gdLst>
                <a:gd name="T0" fmla="*/ 0 w 562"/>
                <a:gd name="T1" fmla="*/ 141 h 431"/>
                <a:gd name="T2" fmla="*/ 474 w 562"/>
                <a:gd name="T3" fmla="*/ 0 h 431"/>
                <a:gd name="T4" fmla="*/ 562 w 562"/>
                <a:gd name="T5" fmla="*/ 291 h 431"/>
                <a:gd name="T6" fmla="*/ 88 w 562"/>
                <a:gd name="T7" fmla="*/ 431 h 431"/>
                <a:gd name="T8" fmla="*/ 0 w 562"/>
                <a:gd name="T9" fmla="*/ 141 h 431"/>
              </a:gdLst>
              <a:ahLst/>
              <a:cxnLst>
                <a:cxn ang="0">
                  <a:pos x="T0" y="T1"/>
                </a:cxn>
                <a:cxn ang="0">
                  <a:pos x="T2" y="T3"/>
                </a:cxn>
                <a:cxn ang="0">
                  <a:pos x="T4" y="T5"/>
                </a:cxn>
                <a:cxn ang="0">
                  <a:pos x="T6" y="T7"/>
                </a:cxn>
                <a:cxn ang="0">
                  <a:pos x="T8" y="T9"/>
                </a:cxn>
              </a:cxnLst>
              <a:rect l="0" t="0" r="r" b="b"/>
              <a:pathLst>
                <a:path w="562" h="431">
                  <a:moveTo>
                    <a:pt x="0" y="141"/>
                  </a:moveTo>
                  <a:lnTo>
                    <a:pt x="474" y="0"/>
                  </a:lnTo>
                  <a:lnTo>
                    <a:pt x="562" y="291"/>
                  </a:lnTo>
                  <a:lnTo>
                    <a:pt x="88" y="431"/>
                  </a:lnTo>
                  <a:lnTo>
                    <a:pt x="0" y="141"/>
                  </a:lnTo>
                  <a:close/>
                </a:path>
              </a:pathLst>
            </a:custGeom>
            <a:solidFill>
              <a:srgbClr val="E0E0E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8" name="işḷiḋe"/>
            <p:cNvSpPr/>
            <p:nvPr/>
          </p:nvSpPr>
          <p:spPr bwMode="auto">
            <a:xfrm>
              <a:off x="3217069" y="3439319"/>
              <a:ext cx="892175" cy="684213"/>
            </a:xfrm>
            <a:custGeom>
              <a:avLst/>
              <a:gdLst>
                <a:gd name="T0" fmla="*/ 0 w 562"/>
                <a:gd name="T1" fmla="*/ 141 h 431"/>
                <a:gd name="T2" fmla="*/ 474 w 562"/>
                <a:gd name="T3" fmla="*/ 0 h 431"/>
                <a:gd name="T4" fmla="*/ 562 w 562"/>
                <a:gd name="T5" fmla="*/ 291 h 431"/>
                <a:gd name="T6" fmla="*/ 88 w 562"/>
                <a:gd name="T7" fmla="*/ 431 h 431"/>
                <a:gd name="T8" fmla="*/ 0 w 562"/>
                <a:gd name="T9" fmla="*/ 141 h 431"/>
              </a:gdLst>
              <a:ahLst/>
              <a:cxnLst>
                <a:cxn ang="0">
                  <a:pos x="T0" y="T1"/>
                </a:cxn>
                <a:cxn ang="0">
                  <a:pos x="T2" y="T3"/>
                </a:cxn>
                <a:cxn ang="0">
                  <a:pos x="T4" y="T5"/>
                </a:cxn>
                <a:cxn ang="0">
                  <a:pos x="T6" y="T7"/>
                </a:cxn>
                <a:cxn ang="0">
                  <a:pos x="T8" y="T9"/>
                </a:cxn>
              </a:cxnLst>
              <a:rect l="0" t="0" r="r" b="b"/>
              <a:pathLst>
                <a:path w="562" h="431">
                  <a:moveTo>
                    <a:pt x="0" y="141"/>
                  </a:moveTo>
                  <a:lnTo>
                    <a:pt x="474" y="0"/>
                  </a:lnTo>
                  <a:lnTo>
                    <a:pt x="562" y="291"/>
                  </a:lnTo>
                  <a:lnTo>
                    <a:pt x="88" y="431"/>
                  </a:lnTo>
                  <a:lnTo>
                    <a:pt x="0" y="14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9" name="ïṣ1îḋê"/>
            <p:cNvSpPr/>
            <p:nvPr/>
          </p:nvSpPr>
          <p:spPr bwMode="auto">
            <a:xfrm>
              <a:off x="3231357" y="3456782"/>
              <a:ext cx="855663" cy="646113"/>
            </a:xfrm>
            <a:custGeom>
              <a:avLst/>
              <a:gdLst>
                <a:gd name="T0" fmla="*/ 0 w 539"/>
                <a:gd name="T1" fmla="*/ 135 h 407"/>
                <a:gd name="T2" fmla="*/ 457 w 539"/>
                <a:gd name="T3" fmla="*/ 0 h 407"/>
                <a:gd name="T4" fmla="*/ 539 w 539"/>
                <a:gd name="T5" fmla="*/ 271 h 407"/>
                <a:gd name="T6" fmla="*/ 81 w 539"/>
                <a:gd name="T7" fmla="*/ 407 h 407"/>
                <a:gd name="T8" fmla="*/ 0 w 539"/>
                <a:gd name="T9" fmla="*/ 135 h 407"/>
              </a:gdLst>
              <a:ahLst/>
              <a:cxnLst>
                <a:cxn ang="0">
                  <a:pos x="T0" y="T1"/>
                </a:cxn>
                <a:cxn ang="0">
                  <a:pos x="T2" y="T3"/>
                </a:cxn>
                <a:cxn ang="0">
                  <a:pos x="T4" y="T5"/>
                </a:cxn>
                <a:cxn ang="0">
                  <a:pos x="T6" y="T7"/>
                </a:cxn>
                <a:cxn ang="0">
                  <a:pos x="T8" y="T9"/>
                </a:cxn>
              </a:cxnLst>
              <a:rect l="0" t="0" r="r" b="b"/>
              <a:pathLst>
                <a:path w="539" h="407">
                  <a:moveTo>
                    <a:pt x="0" y="135"/>
                  </a:moveTo>
                  <a:lnTo>
                    <a:pt x="457" y="0"/>
                  </a:lnTo>
                  <a:lnTo>
                    <a:pt x="539" y="271"/>
                  </a:lnTo>
                  <a:lnTo>
                    <a:pt x="81" y="407"/>
                  </a:lnTo>
                  <a:lnTo>
                    <a:pt x="0" y="13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0" name="í$ḻîďe"/>
            <p:cNvSpPr/>
            <p:nvPr/>
          </p:nvSpPr>
          <p:spPr bwMode="auto">
            <a:xfrm>
              <a:off x="3231357" y="3456782"/>
              <a:ext cx="855663" cy="646113"/>
            </a:xfrm>
            <a:custGeom>
              <a:avLst/>
              <a:gdLst>
                <a:gd name="T0" fmla="*/ 0 w 539"/>
                <a:gd name="T1" fmla="*/ 135 h 407"/>
                <a:gd name="T2" fmla="*/ 457 w 539"/>
                <a:gd name="T3" fmla="*/ 0 h 407"/>
                <a:gd name="T4" fmla="*/ 539 w 539"/>
                <a:gd name="T5" fmla="*/ 271 h 407"/>
                <a:gd name="T6" fmla="*/ 81 w 539"/>
                <a:gd name="T7" fmla="*/ 407 h 407"/>
                <a:gd name="T8" fmla="*/ 0 w 539"/>
                <a:gd name="T9" fmla="*/ 135 h 407"/>
              </a:gdLst>
              <a:ahLst/>
              <a:cxnLst>
                <a:cxn ang="0">
                  <a:pos x="T0" y="T1"/>
                </a:cxn>
                <a:cxn ang="0">
                  <a:pos x="T2" y="T3"/>
                </a:cxn>
                <a:cxn ang="0">
                  <a:pos x="T4" y="T5"/>
                </a:cxn>
                <a:cxn ang="0">
                  <a:pos x="T6" y="T7"/>
                </a:cxn>
                <a:cxn ang="0">
                  <a:pos x="T8" y="T9"/>
                </a:cxn>
              </a:cxnLst>
              <a:rect l="0" t="0" r="r" b="b"/>
              <a:pathLst>
                <a:path w="539" h="407">
                  <a:moveTo>
                    <a:pt x="0" y="135"/>
                  </a:moveTo>
                  <a:lnTo>
                    <a:pt x="457" y="0"/>
                  </a:lnTo>
                  <a:lnTo>
                    <a:pt x="539" y="271"/>
                  </a:lnTo>
                  <a:lnTo>
                    <a:pt x="81" y="407"/>
                  </a:lnTo>
                  <a:lnTo>
                    <a:pt x="0" y="1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1" name="ï$ḷiḋè"/>
            <p:cNvSpPr/>
            <p:nvPr/>
          </p:nvSpPr>
          <p:spPr bwMode="auto">
            <a:xfrm>
              <a:off x="3274219" y="3667919"/>
              <a:ext cx="111125" cy="95250"/>
            </a:xfrm>
            <a:custGeom>
              <a:avLst/>
              <a:gdLst>
                <a:gd name="T0" fmla="*/ 58 w 70"/>
                <a:gd name="T1" fmla="*/ 0 h 60"/>
                <a:gd name="T2" fmla="*/ 0 w 70"/>
                <a:gd name="T3" fmla="*/ 16 h 60"/>
                <a:gd name="T4" fmla="*/ 12 w 70"/>
                <a:gd name="T5" fmla="*/ 60 h 60"/>
                <a:gd name="T6" fmla="*/ 70 w 70"/>
                <a:gd name="T7" fmla="*/ 42 h 60"/>
                <a:gd name="T8" fmla="*/ 58 w 70"/>
                <a:gd name="T9" fmla="*/ 0 h 60"/>
              </a:gdLst>
              <a:ahLst/>
              <a:cxnLst>
                <a:cxn ang="0">
                  <a:pos x="T0" y="T1"/>
                </a:cxn>
                <a:cxn ang="0">
                  <a:pos x="T2" y="T3"/>
                </a:cxn>
                <a:cxn ang="0">
                  <a:pos x="T4" y="T5"/>
                </a:cxn>
                <a:cxn ang="0">
                  <a:pos x="T6" y="T7"/>
                </a:cxn>
                <a:cxn ang="0">
                  <a:pos x="T8" y="T9"/>
                </a:cxn>
              </a:cxnLst>
              <a:rect l="0" t="0" r="r" b="b"/>
              <a:pathLst>
                <a:path w="70" h="60">
                  <a:moveTo>
                    <a:pt x="58" y="0"/>
                  </a:moveTo>
                  <a:lnTo>
                    <a:pt x="0" y="16"/>
                  </a:lnTo>
                  <a:lnTo>
                    <a:pt x="12" y="60"/>
                  </a:lnTo>
                  <a:lnTo>
                    <a:pt x="70" y="42"/>
                  </a:lnTo>
                  <a:lnTo>
                    <a:pt x="58" y="0"/>
                  </a:lnTo>
                  <a:close/>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2" name="işḷîḑe"/>
            <p:cNvSpPr/>
            <p:nvPr/>
          </p:nvSpPr>
          <p:spPr bwMode="auto">
            <a:xfrm>
              <a:off x="3274219" y="3667919"/>
              <a:ext cx="111125" cy="95250"/>
            </a:xfrm>
            <a:custGeom>
              <a:avLst/>
              <a:gdLst>
                <a:gd name="T0" fmla="*/ 58 w 70"/>
                <a:gd name="T1" fmla="*/ 0 h 60"/>
                <a:gd name="T2" fmla="*/ 0 w 70"/>
                <a:gd name="T3" fmla="*/ 16 h 60"/>
                <a:gd name="T4" fmla="*/ 12 w 70"/>
                <a:gd name="T5" fmla="*/ 60 h 60"/>
                <a:gd name="T6" fmla="*/ 70 w 70"/>
                <a:gd name="T7" fmla="*/ 42 h 60"/>
                <a:gd name="T8" fmla="*/ 58 w 70"/>
                <a:gd name="T9" fmla="*/ 0 h 60"/>
              </a:gdLst>
              <a:ahLst/>
              <a:cxnLst>
                <a:cxn ang="0">
                  <a:pos x="T0" y="T1"/>
                </a:cxn>
                <a:cxn ang="0">
                  <a:pos x="T2" y="T3"/>
                </a:cxn>
                <a:cxn ang="0">
                  <a:pos x="T4" y="T5"/>
                </a:cxn>
                <a:cxn ang="0">
                  <a:pos x="T6" y="T7"/>
                </a:cxn>
                <a:cxn ang="0">
                  <a:pos x="T8" y="T9"/>
                </a:cxn>
              </a:cxnLst>
              <a:rect l="0" t="0" r="r" b="b"/>
              <a:pathLst>
                <a:path w="70" h="60">
                  <a:moveTo>
                    <a:pt x="58" y="0"/>
                  </a:moveTo>
                  <a:lnTo>
                    <a:pt x="0" y="16"/>
                  </a:lnTo>
                  <a:lnTo>
                    <a:pt x="12" y="60"/>
                  </a:lnTo>
                  <a:lnTo>
                    <a:pt x="70" y="42"/>
                  </a:lnTo>
                  <a:lnTo>
                    <a:pt x="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3" name="ïś1îḍé"/>
            <p:cNvSpPr/>
            <p:nvPr/>
          </p:nvSpPr>
          <p:spPr bwMode="auto">
            <a:xfrm>
              <a:off x="3402807" y="3745707"/>
              <a:ext cx="361950" cy="127000"/>
            </a:xfrm>
            <a:custGeom>
              <a:avLst/>
              <a:gdLst>
                <a:gd name="T0" fmla="*/ 223 w 228"/>
                <a:gd name="T1" fmla="*/ 0 h 80"/>
                <a:gd name="T2" fmla="*/ 0 w 228"/>
                <a:gd name="T3" fmla="*/ 66 h 80"/>
                <a:gd name="T4" fmla="*/ 4 w 228"/>
                <a:gd name="T5" fmla="*/ 80 h 80"/>
                <a:gd name="T6" fmla="*/ 228 w 228"/>
                <a:gd name="T7" fmla="*/ 13 h 80"/>
                <a:gd name="T8" fmla="*/ 223 w 228"/>
                <a:gd name="T9" fmla="*/ 0 h 80"/>
              </a:gdLst>
              <a:ahLst/>
              <a:cxnLst>
                <a:cxn ang="0">
                  <a:pos x="T0" y="T1"/>
                </a:cxn>
                <a:cxn ang="0">
                  <a:pos x="T2" y="T3"/>
                </a:cxn>
                <a:cxn ang="0">
                  <a:pos x="T4" y="T5"/>
                </a:cxn>
                <a:cxn ang="0">
                  <a:pos x="T6" y="T7"/>
                </a:cxn>
                <a:cxn ang="0">
                  <a:pos x="T8" y="T9"/>
                </a:cxn>
              </a:cxnLst>
              <a:rect l="0" t="0" r="r" b="b"/>
              <a:pathLst>
                <a:path w="228" h="80">
                  <a:moveTo>
                    <a:pt x="223" y="0"/>
                  </a:moveTo>
                  <a:lnTo>
                    <a:pt x="0" y="66"/>
                  </a:lnTo>
                  <a:lnTo>
                    <a:pt x="4" y="80"/>
                  </a:lnTo>
                  <a:lnTo>
                    <a:pt x="228" y="13"/>
                  </a:lnTo>
                  <a:lnTo>
                    <a:pt x="223" y="0"/>
                  </a:lnTo>
                  <a:close/>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4" name="î$ḻîde"/>
            <p:cNvSpPr/>
            <p:nvPr/>
          </p:nvSpPr>
          <p:spPr bwMode="auto">
            <a:xfrm>
              <a:off x="3402807" y="3745707"/>
              <a:ext cx="361950" cy="127000"/>
            </a:xfrm>
            <a:custGeom>
              <a:avLst/>
              <a:gdLst>
                <a:gd name="T0" fmla="*/ 223 w 228"/>
                <a:gd name="T1" fmla="*/ 0 h 80"/>
                <a:gd name="T2" fmla="*/ 0 w 228"/>
                <a:gd name="T3" fmla="*/ 66 h 80"/>
                <a:gd name="T4" fmla="*/ 4 w 228"/>
                <a:gd name="T5" fmla="*/ 80 h 80"/>
                <a:gd name="T6" fmla="*/ 228 w 228"/>
                <a:gd name="T7" fmla="*/ 13 h 80"/>
                <a:gd name="T8" fmla="*/ 223 w 228"/>
                <a:gd name="T9" fmla="*/ 0 h 80"/>
              </a:gdLst>
              <a:ahLst/>
              <a:cxnLst>
                <a:cxn ang="0">
                  <a:pos x="T0" y="T1"/>
                </a:cxn>
                <a:cxn ang="0">
                  <a:pos x="T2" y="T3"/>
                </a:cxn>
                <a:cxn ang="0">
                  <a:pos x="T4" y="T5"/>
                </a:cxn>
                <a:cxn ang="0">
                  <a:pos x="T6" y="T7"/>
                </a:cxn>
                <a:cxn ang="0">
                  <a:pos x="T8" y="T9"/>
                </a:cxn>
              </a:cxnLst>
              <a:rect l="0" t="0" r="r" b="b"/>
              <a:pathLst>
                <a:path w="228" h="80">
                  <a:moveTo>
                    <a:pt x="223" y="0"/>
                  </a:moveTo>
                  <a:lnTo>
                    <a:pt x="0" y="66"/>
                  </a:lnTo>
                  <a:lnTo>
                    <a:pt x="4" y="80"/>
                  </a:lnTo>
                  <a:lnTo>
                    <a:pt x="228" y="13"/>
                  </a:lnTo>
                  <a:lnTo>
                    <a:pt x="2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5" name="íṧ1iḋé"/>
            <p:cNvSpPr/>
            <p:nvPr/>
          </p:nvSpPr>
          <p:spPr bwMode="auto">
            <a:xfrm>
              <a:off x="3515519" y="3799682"/>
              <a:ext cx="261938" cy="92075"/>
            </a:xfrm>
            <a:custGeom>
              <a:avLst/>
              <a:gdLst>
                <a:gd name="T0" fmla="*/ 163 w 165"/>
                <a:gd name="T1" fmla="*/ 0 h 58"/>
                <a:gd name="T2" fmla="*/ 0 w 165"/>
                <a:gd name="T3" fmla="*/ 49 h 58"/>
                <a:gd name="T4" fmla="*/ 2 w 165"/>
                <a:gd name="T5" fmla="*/ 58 h 58"/>
                <a:gd name="T6" fmla="*/ 165 w 165"/>
                <a:gd name="T7" fmla="*/ 10 h 58"/>
                <a:gd name="T8" fmla="*/ 163 w 165"/>
                <a:gd name="T9" fmla="*/ 0 h 58"/>
              </a:gdLst>
              <a:ahLst/>
              <a:cxnLst>
                <a:cxn ang="0">
                  <a:pos x="T0" y="T1"/>
                </a:cxn>
                <a:cxn ang="0">
                  <a:pos x="T2" y="T3"/>
                </a:cxn>
                <a:cxn ang="0">
                  <a:pos x="T4" y="T5"/>
                </a:cxn>
                <a:cxn ang="0">
                  <a:pos x="T6" y="T7"/>
                </a:cxn>
                <a:cxn ang="0">
                  <a:pos x="T8" y="T9"/>
                </a:cxn>
              </a:cxnLst>
              <a:rect l="0" t="0" r="r" b="b"/>
              <a:pathLst>
                <a:path w="165" h="58">
                  <a:moveTo>
                    <a:pt x="163" y="0"/>
                  </a:moveTo>
                  <a:lnTo>
                    <a:pt x="0" y="49"/>
                  </a:lnTo>
                  <a:lnTo>
                    <a:pt x="2" y="58"/>
                  </a:lnTo>
                  <a:lnTo>
                    <a:pt x="165" y="10"/>
                  </a:lnTo>
                  <a:lnTo>
                    <a:pt x="163" y="0"/>
                  </a:lnTo>
                  <a:close/>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6" name="îṩ1îḋé"/>
            <p:cNvSpPr/>
            <p:nvPr/>
          </p:nvSpPr>
          <p:spPr bwMode="auto">
            <a:xfrm>
              <a:off x="3515519" y="3799682"/>
              <a:ext cx="261938" cy="92075"/>
            </a:xfrm>
            <a:custGeom>
              <a:avLst/>
              <a:gdLst>
                <a:gd name="T0" fmla="*/ 163 w 165"/>
                <a:gd name="T1" fmla="*/ 0 h 58"/>
                <a:gd name="T2" fmla="*/ 0 w 165"/>
                <a:gd name="T3" fmla="*/ 49 h 58"/>
                <a:gd name="T4" fmla="*/ 2 w 165"/>
                <a:gd name="T5" fmla="*/ 58 h 58"/>
                <a:gd name="T6" fmla="*/ 165 w 165"/>
                <a:gd name="T7" fmla="*/ 10 h 58"/>
                <a:gd name="T8" fmla="*/ 163 w 165"/>
                <a:gd name="T9" fmla="*/ 0 h 58"/>
              </a:gdLst>
              <a:ahLst/>
              <a:cxnLst>
                <a:cxn ang="0">
                  <a:pos x="T0" y="T1"/>
                </a:cxn>
                <a:cxn ang="0">
                  <a:pos x="T2" y="T3"/>
                </a:cxn>
                <a:cxn ang="0">
                  <a:pos x="T4" y="T5"/>
                </a:cxn>
                <a:cxn ang="0">
                  <a:pos x="T6" y="T7"/>
                </a:cxn>
                <a:cxn ang="0">
                  <a:pos x="T8" y="T9"/>
                </a:cxn>
              </a:cxnLst>
              <a:rect l="0" t="0" r="r" b="b"/>
              <a:pathLst>
                <a:path w="165" h="58">
                  <a:moveTo>
                    <a:pt x="163" y="0"/>
                  </a:moveTo>
                  <a:lnTo>
                    <a:pt x="0" y="49"/>
                  </a:lnTo>
                  <a:lnTo>
                    <a:pt x="2" y="58"/>
                  </a:lnTo>
                  <a:lnTo>
                    <a:pt x="165" y="10"/>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7" name="íSḷîdè"/>
            <p:cNvSpPr/>
            <p:nvPr/>
          </p:nvSpPr>
          <p:spPr bwMode="auto">
            <a:xfrm>
              <a:off x="5050632" y="2345532"/>
              <a:ext cx="860425" cy="622300"/>
            </a:xfrm>
            <a:custGeom>
              <a:avLst/>
              <a:gdLst>
                <a:gd name="T0" fmla="*/ 0 w 542"/>
                <a:gd name="T1" fmla="*/ 298 h 392"/>
                <a:gd name="T2" fmla="*/ 58 w 542"/>
                <a:gd name="T3" fmla="*/ 0 h 392"/>
                <a:gd name="T4" fmla="*/ 542 w 542"/>
                <a:gd name="T5" fmla="*/ 94 h 392"/>
                <a:gd name="T6" fmla="*/ 485 w 542"/>
                <a:gd name="T7" fmla="*/ 392 h 392"/>
                <a:gd name="T8" fmla="*/ 0 w 542"/>
                <a:gd name="T9" fmla="*/ 298 h 392"/>
              </a:gdLst>
              <a:ahLst/>
              <a:cxnLst>
                <a:cxn ang="0">
                  <a:pos x="T0" y="T1"/>
                </a:cxn>
                <a:cxn ang="0">
                  <a:pos x="T2" y="T3"/>
                </a:cxn>
                <a:cxn ang="0">
                  <a:pos x="T4" y="T5"/>
                </a:cxn>
                <a:cxn ang="0">
                  <a:pos x="T6" y="T7"/>
                </a:cxn>
                <a:cxn ang="0">
                  <a:pos x="T8" y="T9"/>
                </a:cxn>
              </a:cxnLst>
              <a:rect l="0" t="0" r="r" b="b"/>
              <a:pathLst>
                <a:path w="542" h="392">
                  <a:moveTo>
                    <a:pt x="0" y="298"/>
                  </a:moveTo>
                  <a:lnTo>
                    <a:pt x="58" y="0"/>
                  </a:lnTo>
                  <a:lnTo>
                    <a:pt x="542" y="94"/>
                  </a:lnTo>
                  <a:lnTo>
                    <a:pt x="485" y="392"/>
                  </a:lnTo>
                  <a:lnTo>
                    <a:pt x="0" y="298"/>
                  </a:lnTo>
                  <a:close/>
                </a:path>
              </a:pathLst>
            </a:custGeom>
            <a:solidFill>
              <a:srgbClr val="EEEEE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8" name="îS1ïḓê"/>
            <p:cNvSpPr/>
            <p:nvPr/>
          </p:nvSpPr>
          <p:spPr bwMode="auto">
            <a:xfrm>
              <a:off x="5050632" y="2345532"/>
              <a:ext cx="860425" cy="622300"/>
            </a:xfrm>
            <a:custGeom>
              <a:avLst/>
              <a:gdLst>
                <a:gd name="T0" fmla="*/ 0 w 542"/>
                <a:gd name="T1" fmla="*/ 298 h 392"/>
                <a:gd name="T2" fmla="*/ 58 w 542"/>
                <a:gd name="T3" fmla="*/ 0 h 392"/>
                <a:gd name="T4" fmla="*/ 542 w 542"/>
                <a:gd name="T5" fmla="*/ 94 h 392"/>
                <a:gd name="T6" fmla="*/ 485 w 542"/>
                <a:gd name="T7" fmla="*/ 392 h 392"/>
                <a:gd name="T8" fmla="*/ 0 w 542"/>
                <a:gd name="T9" fmla="*/ 298 h 392"/>
              </a:gdLst>
              <a:ahLst/>
              <a:cxnLst>
                <a:cxn ang="0">
                  <a:pos x="T0" y="T1"/>
                </a:cxn>
                <a:cxn ang="0">
                  <a:pos x="T2" y="T3"/>
                </a:cxn>
                <a:cxn ang="0">
                  <a:pos x="T4" y="T5"/>
                </a:cxn>
                <a:cxn ang="0">
                  <a:pos x="T6" y="T7"/>
                </a:cxn>
                <a:cxn ang="0">
                  <a:pos x="T8" y="T9"/>
                </a:cxn>
              </a:cxnLst>
              <a:rect l="0" t="0" r="r" b="b"/>
              <a:pathLst>
                <a:path w="542" h="392">
                  <a:moveTo>
                    <a:pt x="0" y="298"/>
                  </a:moveTo>
                  <a:lnTo>
                    <a:pt x="58" y="0"/>
                  </a:lnTo>
                  <a:lnTo>
                    <a:pt x="542" y="94"/>
                  </a:lnTo>
                  <a:lnTo>
                    <a:pt x="485" y="392"/>
                  </a:lnTo>
                  <a:lnTo>
                    <a:pt x="0" y="2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9" name="ïşḷídé"/>
            <p:cNvSpPr/>
            <p:nvPr/>
          </p:nvSpPr>
          <p:spPr bwMode="auto">
            <a:xfrm>
              <a:off x="5055394" y="2362994"/>
              <a:ext cx="828675" cy="584200"/>
            </a:xfrm>
            <a:custGeom>
              <a:avLst/>
              <a:gdLst>
                <a:gd name="T0" fmla="*/ 0 w 522"/>
                <a:gd name="T1" fmla="*/ 278 h 368"/>
                <a:gd name="T2" fmla="*/ 54 w 522"/>
                <a:gd name="T3" fmla="*/ 0 h 368"/>
                <a:gd name="T4" fmla="*/ 522 w 522"/>
                <a:gd name="T5" fmla="*/ 90 h 368"/>
                <a:gd name="T6" fmla="*/ 467 w 522"/>
                <a:gd name="T7" fmla="*/ 368 h 368"/>
                <a:gd name="T8" fmla="*/ 0 w 522"/>
                <a:gd name="T9" fmla="*/ 278 h 368"/>
              </a:gdLst>
              <a:ahLst/>
              <a:cxnLst>
                <a:cxn ang="0">
                  <a:pos x="T0" y="T1"/>
                </a:cxn>
                <a:cxn ang="0">
                  <a:pos x="T2" y="T3"/>
                </a:cxn>
                <a:cxn ang="0">
                  <a:pos x="T4" y="T5"/>
                </a:cxn>
                <a:cxn ang="0">
                  <a:pos x="T6" y="T7"/>
                </a:cxn>
                <a:cxn ang="0">
                  <a:pos x="T8" y="T9"/>
                </a:cxn>
              </a:cxnLst>
              <a:rect l="0" t="0" r="r" b="b"/>
              <a:pathLst>
                <a:path w="522" h="368">
                  <a:moveTo>
                    <a:pt x="0" y="278"/>
                  </a:moveTo>
                  <a:lnTo>
                    <a:pt x="54" y="0"/>
                  </a:lnTo>
                  <a:lnTo>
                    <a:pt x="522" y="90"/>
                  </a:lnTo>
                  <a:lnTo>
                    <a:pt x="467" y="368"/>
                  </a:lnTo>
                  <a:lnTo>
                    <a:pt x="0" y="27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0" name="iṡlîďè"/>
            <p:cNvSpPr/>
            <p:nvPr/>
          </p:nvSpPr>
          <p:spPr bwMode="auto">
            <a:xfrm>
              <a:off x="5055394" y="2362994"/>
              <a:ext cx="828675" cy="584200"/>
            </a:xfrm>
            <a:custGeom>
              <a:avLst/>
              <a:gdLst>
                <a:gd name="T0" fmla="*/ 0 w 522"/>
                <a:gd name="T1" fmla="*/ 278 h 368"/>
                <a:gd name="T2" fmla="*/ 54 w 522"/>
                <a:gd name="T3" fmla="*/ 0 h 368"/>
                <a:gd name="T4" fmla="*/ 522 w 522"/>
                <a:gd name="T5" fmla="*/ 90 h 368"/>
                <a:gd name="T6" fmla="*/ 467 w 522"/>
                <a:gd name="T7" fmla="*/ 368 h 368"/>
                <a:gd name="T8" fmla="*/ 0 w 522"/>
                <a:gd name="T9" fmla="*/ 278 h 368"/>
              </a:gdLst>
              <a:ahLst/>
              <a:cxnLst>
                <a:cxn ang="0">
                  <a:pos x="T0" y="T1"/>
                </a:cxn>
                <a:cxn ang="0">
                  <a:pos x="T2" y="T3"/>
                </a:cxn>
                <a:cxn ang="0">
                  <a:pos x="T4" y="T5"/>
                </a:cxn>
                <a:cxn ang="0">
                  <a:pos x="T6" y="T7"/>
                </a:cxn>
                <a:cxn ang="0">
                  <a:pos x="T8" y="T9"/>
                </a:cxn>
              </a:cxnLst>
              <a:rect l="0" t="0" r="r" b="b"/>
              <a:pathLst>
                <a:path w="522" h="368">
                  <a:moveTo>
                    <a:pt x="0" y="278"/>
                  </a:moveTo>
                  <a:lnTo>
                    <a:pt x="54" y="0"/>
                  </a:lnTo>
                  <a:lnTo>
                    <a:pt x="522" y="90"/>
                  </a:lnTo>
                  <a:lnTo>
                    <a:pt x="467" y="368"/>
                  </a:lnTo>
                  <a:lnTo>
                    <a:pt x="0" y="2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1" name="işḷide"/>
            <p:cNvSpPr/>
            <p:nvPr/>
          </p:nvSpPr>
          <p:spPr bwMode="auto">
            <a:xfrm>
              <a:off x="5177632" y="3278982"/>
              <a:ext cx="754063" cy="909638"/>
            </a:xfrm>
            <a:custGeom>
              <a:avLst/>
              <a:gdLst>
                <a:gd name="T0" fmla="*/ 0 w 475"/>
                <a:gd name="T1" fmla="*/ 120 h 573"/>
                <a:gd name="T2" fmla="*/ 280 w 475"/>
                <a:gd name="T3" fmla="*/ 0 h 573"/>
                <a:gd name="T4" fmla="*/ 475 w 475"/>
                <a:gd name="T5" fmla="*/ 452 h 573"/>
                <a:gd name="T6" fmla="*/ 197 w 475"/>
                <a:gd name="T7" fmla="*/ 573 h 573"/>
                <a:gd name="T8" fmla="*/ 0 w 475"/>
                <a:gd name="T9" fmla="*/ 120 h 573"/>
              </a:gdLst>
              <a:ahLst/>
              <a:cxnLst>
                <a:cxn ang="0">
                  <a:pos x="T0" y="T1"/>
                </a:cxn>
                <a:cxn ang="0">
                  <a:pos x="T2" y="T3"/>
                </a:cxn>
                <a:cxn ang="0">
                  <a:pos x="T4" y="T5"/>
                </a:cxn>
                <a:cxn ang="0">
                  <a:pos x="T6" y="T7"/>
                </a:cxn>
                <a:cxn ang="0">
                  <a:pos x="T8" y="T9"/>
                </a:cxn>
              </a:cxnLst>
              <a:rect l="0" t="0" r="r" b="b"/>
              <a:pathLst>
                <a:path w="475" h="573">
                  <a:moveTo>
                    <a:pt x="0" y="120"/>
                  </a:moveTo>
                  <a:lnTo>
                    <a:pt x="280" y="0"/>
                  </a:lnTo>
                  <a:lnTo>
                    <a:pt x="475" y="452"/>
                  </a:lnTo>
                  <a:lnTo>
                    <a:pt x="197" y="573"/>
                  </a:lnTo>
                  <a:lnTo>
                    <a:pt x="0" y="120"/>
                  </a:lnTo>
                  <a:close/>
                </a:path>
              </a:pathLst>
            </a:custGeom>
            <a:solidFill>
              <a:srgbClr val="EEEEE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2" name="isḻídè"/>
            <p:cNvSpPr/>
            <p:nvPr/>
          </p:nvSpPr>
          <p:spPr bwMode="auto">
            <a:xfrm>
              <a:off x="5177632" y="3278982"/>
              <a:ext cx="754063" cy="909638"/>
            </a:xfrm>
            <a:custGeom>
              <a:avLst/>
              <a:gdLst>
                <a:gd name="T0" fmla="*/ 0 w 475"/>
                <a:gd name="T1" fmla="*/ 120 h 573"/>
                <a:gd name="T2" fmla="*/ 280 w 475"/>
                <a:gd name="T3" fmla="*/ 0 h 573"/>
                <a:gd name="T4" fmla="*/ 475 w 475"/>
                <a:gd name="T5" fmla="*/ 452 h 573"/>
                <a:gd name="T6" fmla="*/ 197 w 475"/>
                <a:gd name="T7" fmla="*/ 573 h 573"/>
                <a:gd name="T8" fmla="*/ 0 w 475"/>
                <a:gd name="T9" fmla="*/ 120 h 573"/>
              </a:gdLst>
              <a:ahLst/>
              <a:cxnLst>
                <a:cxn ang="0">
                  <a:pos x="T0" y="T1"/>
                </a:cxn>
                <a:cxn ang="0">
                  <a:pos x="T2" y="T3"/>
                </a:cxn>
                <a:cxn ang="0">
                  <a:pos x="T4" y="T5"/>
                </a:cxn>
                <a:cxn ang="0">
                  <a:pos x="T6" y="T7"/>
                </a:cxn>
                <a:cxn ang="0">
                  <a:pos x="T8" y="T9"/>
                </a:cxn>
              </a:cxnLst>
              <a:rect l="0" t="0" r="r" b="b"/>
              <a:pathLst>
                <a:path w="475" h="573">
                  <a:moveTo>
                    <a:pt x="0" y="120"/>
                  </a:moveTo>
                  <a:lnTo>
                    <a:pt x="280" y="0"/>
                  </a:lnTo>
                  <a:lnTo>
                    <a:pt x="475" y="452"/>
                  </a:lnTo>
                  <a:lnTo>
                    <a:pt x="197" y="573"/>
                  </a:lnTo>
                  <a:lnTo>
                    <a:pt x="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3" name="ïSlîďê"/>
            <p:cNvSpPr/>
            <p:nvPr/>
          </p:nvSpPr>
          <p:spPr bwMode="auto">
            <a:xfrm>
              <a:off x="5199857" y="3291682"/>
              <a:ext cx="715963" cy="873125"/>
            </a:xfrm>
            <a:custGeom>
              <a:avLst/>
              <a:gdLst>
                <a:gd name="T0" fmla="*/ 0 w 451"/>
                <a:gd name="T1" fmla="*/ 113 h 550"/>
                <a:gd name="T2" fmla="*/ 261 w 451"/>
                <a:gd name="T3" fmla="*/ 0 h 550"/>
                <a:gd name="T4" fmla="*/ 451 w 451"/>
                <a:gd name="T5" fmla="*/ 438 h 550"/>
                <a:gd name="T6" fmla="*/ 190 w 451"/>
                <a:gd name="T7" fmla="*/ 550 h 550"/>
                <a:gd name="T8" fmla="*/ 0 w 451"/>
                <a:gd name="T9" fmla="*/ 113 h 550"/>
              </a:gdLst>
              <a:ahLst/>
              <a:cxnLst>
                <a:cxn ang="0">
                  <a:pos x="T0" y="T1"/>
                </a:cxn>
                <a:cxn ang="0">
                  <a:pos x="T2" y="T3"/>
                </a:cxn>
                <a:cxn ang="0">
                  <a:pos x="T4" y="T5"/>
                </a:cxn>
                <a:cxn ang="0">
                  <a:pos x="T6" y="T7"/>
                </a:cxn>
                <a:cxn ang="0">
                  <a:pos x="T8" y="T9"/>
                </a:cxn>
              </a:cxnLst>
              <a:rect l="0" t="0" r="r" b="b"/>
              <a:pathLst>
                <a:path w="451" h="550">
                  <a:moveTo>
                    <a:pt x="0" y="113"/>
                  </a:moveTo>
                  <a:lnTo>
                    <a:pt x="261" y="0"/>
                  </a:lnTo>
                  <a:lnTo>
                    <a:pt x="451" y="438"/>
                  </a:lnTo>
                  <a:lnTo>
                    <a:pt x="190" y="550"/>
                  </a:lnTo>
                  <a:lnTo>
                    <a:pt x="0" y="11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4" name="iṡḻiḋè"/>
            <p:cNvSpPr/>
            <p:nvPr/>
          </p:nvSpPr>
          <p:spPr bwMode="auto">
            <a:xfrm>
              <a:off x="5199857" y="3291682"/>
              <a:ext cx="715963" cy="873125"/>
            </a:xfrm>
            <a:custGeom>
              <a:avLst/>
              <a:gdLst>
                <a:gd name="T0" fmla="*/ 0 w 451"/>
                <a:gd name="T1" fmla="*/ 113 h 550"/>
                <a:gd name="T2" fmla="*/ 261 w 451"/>
                <a:gd name="T3" fmla="*/ 0 h 550"/>
                <a:gd name="T4" fmla="*/ 451 w 451"/>
                <a:gd name="T5" fmla="*/ 438 h 550"/>
                <a:gd name="T6" fmla="*/ 190 w 451"/>
                <a:gd name="T7" fmla="*/ 550 h 550"/>
                <a:gd name="T8" fmla="*/ 0 w 451"/>
                <a:gd name="T9" fmla="*/ 113 h 550"/>
              </a:gdLst>
              <a:ahLst/>
              <a:cxnLst>
                <a:cxn ang="0">
                  <a:pos x="T0" y="T1"/>
                </a:cxn>
                <a:cxn ang="0">
                  <a:pos x="T2" y="T3"/>
                </a:cxn>
                <a:cxn ang="0">
                  <a:pos x="T4" y="T5"/>
                </a:cxn>
                <a:cxn ang="0">
                  <a:pos x="T6" y="T7"/>
                </a:cxn>
                <a:cxn ang="0">
                  <a:pos x="T8" y="T9"/>
                </a:cxn>
              </a:cxnLst>
              <a:rect l="0" t="0" r="r" b="b"/>
              <a:pathLst>
                <a:path w="451" h="550">
                  <a:moveTo>
                    <a:pt x="0" y="113"/>
                  </a:moveTo>
                  <a:lnTo>
                    <a:pt x="261" y="0"/>
                  </a:lnTo>
                  <a:lnTo>
                    <a:pt x="451" y="438"/>
                  </a:lnTo>
                  <a:lnTo>
                    <a:pt x="190" y="550"/>
                  </a:lnTo>
                  <a:lnTo>
                    <a:pt x="0" y="1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5" name="ïṡľíḍê"/>
            <p:cNvSpPr/>
            <p:nvPr/>
          </p:nvSpPr>
          <p:spPr bwMode="auto">
            <a:xfrm>
              <a:off x="5530057" y="3336132"/>
              <a:ext cx="103188" cy="115888"/>
            </a:xfrm>
            <a:custGeom>
              <a:avLst/>
              <a:gdLst>
                <a:gd name="T0" fmla="*/ 41 w 65"/>
                <a:gd name="T1" fmla="*/ 0 h 73"/>
                <a:gd name="T2" fmla="*/ 0 w 65"/>
                <a:gd name="T3" fmla="*/ 18 h 73"/>
                <a:gd name="T4" fmla="*/ 23 w 65"/>
                <a:gd name="T5" fmla="*/ 73 h 73"/>
                <a:gd name="T6" fmla="*/ 65 w 65"/>
                <a:gd name="T7" fmla="*/ 56 h 73"/>
                <a:gd name="T8" fmla="*/ 41 w 65"/>
                <a:gd name="T9" fmla="*/ 0 h 73"/>
              </a:gdLst>
              <a:ahLst/>
              <a:cxnLst>
                <a:cxn ang="0">
                  <a:pos x="T0" y="T1"/>
                </a:cxn>
                <a:cxn ang="0">
                  <a:pos x="T2" y="T3"/>
                </a:cxn>
                <a:cxn ang="0">
                  <a:pos x="T4" y="T5"/>
                </a:cxn>
                <a:cxn ang="0">
                  <a:pos x="T6" y="T7"/>
                </a:cxn>
                <a:cxn ang="0">
                  <a:pos x="T8" y="T9"/>
                </a:cxn>
              </a:cxnLst>
              <a:rect l="0" t="0" r="r" b="b"/>
              <a:pathLst>
                <a:path w="65" h="73">
                  <a:moveTo>
                    <a:pt x="41" y="0"/>
                  </a:moveTo>
                  <a:lnTo>
                    <a:pt x="0" y="18"/>
                  </a:lnTo>
                  <a:lnTo>
                    <a:pt x="23" y="73"/>
                  </a:lnTo>
                  <a:lnTo>
                    <a:pt x="65" y="56"/>
                  </a:lnTo>
                  <a:lnTo>
                    <a:pt x="41" y="0"/>
                  </a:lnTo>
                  <a:close/>
                </a:path>
              </a:pathLst>
            </a:custGeom>
            <a:solidFill>
              <a:srgbClr val="91F0D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6" name="íṧ1íḍe"/>
            <p:cNvSpPr/>
            <p:nvPr/>
          </p:nvSpPr>
          <p:spPr bwMode="auto">
            <a:xfrm>
              <a:off x="5530057" y="3336132"/>
              <a:ext cx="103188" cy="115888"/>
            </a:xfrm>
            <a:custGeom>
              <a:avLst/>
              <a:gdLst>
                <a:gd name="T0" fmla="*/ 41 w 65"/>
                <a:gd name="T1" fmla="*/ 0 h 73"/>
                <a:gd name="T2" fmla="*/ 0 w 65"/>
                <a:gd name="T3" fmla="*/ 18 h 73"/>
                <a:gd name="T4" fmla="*/ 23 w 65"/>
                <a:gd name="T5" fmla="*/ 73 h 73"/>
                <a:gd name="T6" fmla="*/ 65 w 65"/>
                <a:gd name="T7" fmla="*/ 56 h 73"/>
                <a:gd name="T8" fmla="*/ 41 w 65"/>
                <a:gd name="T9" fmla="*/ 0 h 73"/>
              </a:gdLst>
              <a:ahLst/>
              <a:cxnLst>
                <a:cxn ang="0">
                  <a:pos x="T0" y="T1"/>
                </a:cxn>
                <a:cxn ang="0">
                  <a:pos x="T2" y="T3"/>
                </a:cxn>
                <a:cxn ang="0">
                  <a:pos x="T4" y="T5"/>
                </a:cxn>
                <a:cxn ang="0">
                  <a:pos x="T6" y="T7"/>
                </a:cxn>
                <a:cxn ang="0">
                  <a:pos x="T8" y="T9"/>
                </a:cxn>
              </a:cxnLst>
              <a:rect l="0" t="0" r="r" b="b"/>
              <a:pathLst>
                <a:path w="65" h="73">
                  <a:moveTo>
                    <a:pt x="41" y="0"/>
                  </a:moveTo>
                  <a:lnTo>
                    <a:pt x="0" y="18"/>
                  </a:lnTo>
                  <a:lnTo>
                    <a:pt x="23" y="73"/>
                  </a:lnTo>
                  <a:lnTo>
                    <a:pt x="65" y="56"/>
                  </a:lnTo>
                  <a:lnTo>
                    <a:pt x="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7" name="îṩ1iḓé"/>
            <p:cNvSpPr/>
            <p:nvPr/>
          </p:nvSpPr>
          <p:spPr bwMode="auto">
            <a:xfrm>
              <a:off x="5434807" y="3482182"/>
              <a:ext cx="168275" cy="347663"/>
            </a:xfrm>
            <a:custGeom>
              <a:avLst/>
              <a:gdLst>
                <a:gd name="T0" fmla="*/ 13 w 106"/>
                <a:gd name="T1" fmla="*/ 0 h 219"/>
                <a:gd name="T2" fmla="*/ 0 w 106"/>
                <a:gd name="T3" fmla="*/ 6 h 219"/>
                <a:gd name="T4" fmla="*/ 92 w 106"/>
                <a:gd name="T5" fmla="*/ 219 h 219"/>
                <a:gd name="T6" fmla="*/ 106 w 106"/>
                <a:gd name="T7" fmla="*/ 215 h 219"/>
                <a:gd name="T8" fmla="*/ 13 w 106"/>
                <a:gd name="T9" fmla="*/ 0 h 219"/>
              </a:gdLst>
              <a:ahLst/>
              <a:cxnLst>
                <a:cxn ang="0">
                  <a:pos x="T0" y="T1"/>
                </a:cxn>
                <a:cxn ang="0">
                  <a:pos x="T2" y="T3"/>
                </a:cxn>
                <a:cxn ang="0">
                  <a:pos x="T4" y="T5"/>
                </a:cxn>
                <a:cxn ang="0">
                  <a:pos x="T6" y="T7"/>
                </a:cxn>
                <a:cxn ang="0">
                  <a:pos x="T8" y="T9"/>
                </a:cxn>
              </a:cxnLst>
              <a:rect l="0" t="0" r="r" b="b"/>
              <a:pathLst>
                <a:path w="106" h="219">
                  <a:moveTo>
                    <a:pt x="13" y="0"/>
                  </a:moveTo>
                  <a:lnTo>
                    <a:pt x="0" y="6"/>
                  </a:lnTo>
                  <a:lnTo>
                    <a:pt x="92" y="219"/>
                  </a:lnTo>
                  <a:lnTo>
                    <a:pt x="106" y="215"/>
                  </a:lnTo>
                  <a:lnTo>
                    <a:pt x="13" y="0"/>
                  </a:lnTo>
                  <a:close/>
                </a:path>
              </a:pathLst>
            </a:custGeom>
            <a:solidFill>
              <a:srgbClr val="91F0D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8" name="ïṩḻíḍê"/>
            <p:cNvSpPr/>
            <p:nvPr/>
          </p:nvSpPr>
          <p:spPr bwMode="auto">
            <a:xfrm>
              <a:off x="5434807" y="3482182"/>
              <a:ext cx="168275" cy="347663"/>
            </a:xfrm>
            <a:custGeom>
              <a:avLst/>
              <a:gdLst>
                <a:gd name="T0" fmla="*/ 13 w 106"/>
                <a:gd name="T1" fmla="*/ 0 h 219"/>
                <a:gd name="T2" fmla="*/ 0 w 106"/>
                <a:gd name="T3" fmla="*/ 6 h 219"/>
                <a:gd name="T4" fmla="*/ 92 w 106"/>
                <a:gd name="T5" fmla="*/ 219 h 219"/>
                <a:gd name="T6" fmla="*/ 106 w 106"/>
                <a:gd name="T7" fmla="*/ 215 h 219"/>
                <a:gd name="T8" fmla="*/ 13 w 106"/>
                <a:gd name="T9" fmla="*/ 0 h 219"/>
              </a:gdLst>
              <a:ahLst/>
              <a:cxnLst>
                <a:cxn ang="0">
                  <a:pos x="T0" y="T1"/>
                </a:cxn>
                <a:cxn ang="0">
                  <a:pos x="T2" y="T3"/>
                </a:cxn>
                <a:cxn ang="0">
                  <a:pos x="T4" y="T5"/>
                </a:cxn>
                <a:cxn ang="0">
                  <a:pos x="T6" y="T7"/>
                </a:cxn>
                <a:cxn ang="0">
                  <a:pos x="T8" y="T9"/>
                </a:cxn>
              </a:cxnLst>
              <a:rect l="0" t="0" r="r" b="b"/>
              <a:pathLst>
                <a:path w="106" h="219">
                  <a:moveTo>
                    <a:pt x="13" y="0"/>
                  </a:moveTo>
                  <a:lnTo>
                    <a:pt x="0" y="6"/>
                  </a:lnTo>
                  <a:lnTo>
                    <a:pt x="92" y="219"/>
                  </a:lnTo>
                  <a:lnTo>
                    <a:pt x="106" y="215"/>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9" name="íṣľíḑé"/>
            <p:cNvSpPr/>
            <p:nvPr/>
          </p:nvSpPr>
          <p:spPr bwMode="auto">
            <a:xfrm>
              <a:off x="5426869" y="3598069"/>
              <a:ext cx="122238" cy="252413"/>
            </a:xfrm>
            <a:custGeom>
              <a:avLst/>
              <a:gdLst>
                <a:gd name="T0" fmla="*/ 9 w 77"/>
                <a:gd name="T1" fmla="*/ 0 h 159"/>
                <a:gd name="T2" fmla="*/ 0 w 77"/>
                <a:gd name="T3" fmla="*/ 4 h 159"/>
                <a:gd name="T4" fmla="*/ 68 w 77"/>
                <a:gd name="T5" fmla="*/ 159 h 159"/>
                <a:gd name="T6" fmla="*/ 77 w 77"/>
                <a:gd name="T7" fmla="*/ 156 h 159"/>
                <a:gd name="T8" fmla="*/ 9 w 77"/>
                <a:gd name="T9" fmla="*/ 0 h 159"/>
              </a:gdLst>
              <a:ahLst/>
              <a:cxnLst>
                <a:cxn ang="0">
                  <a:pos x="T0" y="T1"/>
                </a:cxn>
                <a:cxn ang="0">
                  <a:pos x="T2" y="T3"/>
                </a:cxn>
                <a:cxn ang="0">
                  <a:pos x="T4" y="T5"/>
                </a:cxn>
                <a:cxn ang="0">
                  <a:pos x="T6" y="T7"/>
                </a:cxn>
                <a:cxn ang="0">
                  <a:pos x="T8" y="T9"/>
                </a:cxn>
              </a:cxnLst>
              <a:rect l="0" t="0" r="r" b="b"/>
              <a:pathLst>
                <a:path w="77" h="159">
                  <a:moveTo>
                    <a:pt x="9" y="0"/>
                  </a:moveTo>
                  <a:lnTo>
                    <a:pt x="0" y="4"/>
                  </a:lnTo>
                  <a:lnTo>
                    <a:pt x="68" y="159"/>
                  </a:lnTo>
                  <a:lnTo>
                    <a:pt x="77" y="156"/>
                  </a:lnTo>
                  <a:lnTo>
                    <a:pt x="9" y="0"/>
                  </a:lnTo>
                  <a:close/>
                </a:path>
              </a:pathLst>
            </a:custGeom>
            <a:solidFill>
              <a:srgbClr val="91F0D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0" name="íSļíḍé"/>
            <p:cNvSpPr/>
            <p:nvPr/>
          </p:nvSpPr>
          <p:spPr bwMode="auto">
            <a:xfrm>
              <a:off x="5426869" y="3598069"/>
              <a:ext cx="122238" cy="252413"/>
            </a:xfrm>
            <a:custGeom>
              <a:avLst/>
              <a:gdLst>
                <a:gd name="T0" fmla="*/ 9 w 77"/>
                <a:gd name="T1" fmla="*/ 0 h 159"/>
                <a:gd name="T2" fmla="*/ 0 w 77"/>
                <a:gd name="T3" fmla="*/ 4 h 159"/>
                <a:gd name="T4" fmla="*/ 68 w 77"/>
                <a:gd name="T5" fmla="*/ 159 h 159"/>
                <a:gd name="T6" fmla="*/ 77 w 77"/>
                <a:gd name="T7" fmla="*/ 156 h 159"/>
                <a:gd name="T8" fmla="*/ 9 w 77"/>
                <a:gd name="T9" fmla="*/ 0 h 159"/>
              </a:gdLst>
              <a:ahLst/>
              <a:cxnLst>
                <a:cxn ang="0">
                  <a:pos x="T0" y="T1"/>
                </a:cxn>
                <a:cxn ang="0">
                  <a:pos x="T2" y="T3"/>
                </a:cxn>
                <a:cxn ang="0">
                  <a:pos x="T4" y="T5"/>
                </a:cxn>
                <a:cxn ang="0">
                  <a:pos x="T6" y="T7"/>
                </a:cxn>
                <a:cxn ang="0">
                  <a:pos x="T8" y="T9"/>
                </a:cxn>
              </a:cxnLst>
              <a:rect l="0" t="0" r="r" b="b"/>
              <a:pathLst>
                <a:path w="77" h="159">
                  <a:moveTo>
                    <a:pt x="9" y="0"/>
                  </a:moveTo>
                  <a:lnTo>
                    <a:pt x="0" y="4"/>
                  </a:lnTo>
                  <a:lnTo>
                    <a:pt x="68" y="159"/>
                  </a:lnTo>
                  <a:lnTo>
                    <a:pt x="77" y="156"/>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1" name="îṧḷiďè"/>
            <p:cNvSpPr/>
            <p:nvPr/>
          </p:nvSpPr>
          <p:spPr bwMode="auto">
            <a:xfrm>
              <a:off x="3307557" y="2083594"/>
              <a:ext cx="889000" cy="684213"/>
            </a:xfrm>
            <a:custGeom>
              <a:avLst/>
              <a:gdLst>
                <a:gd name="T0" fmla="*/ 0 w 560"/>
                <a:gd name="T1" fmla="*/ 142 h 431"/>
                <a:gd name="T2" fmla="*/ 473 w 560"/>
                <a:gd name="T3" fmla="*/ 0 h 431"/>
                <a:gd name="T4" fmla="*/ 560 w 560"/>
                <a:gd name="T5" fmla="*/ 291 h 431"/>
                <a:gd name="T6" fmla="*/ 86 w 560"/>
                <a:gd name="T7" fmla="*/ 431 h 431"/>
                <a:gd name="T8" fmla="*/ 0 w 560"/>
                <a:gd name="T9" fmla="*/ 142 h 431"/>
              </a:gdLst>
              <a:ahLst/>
              <a:cxnLst>
                <a:cxn ang="0">
                  <a:pos x="T0" y="T1"/>
                </a:cxn>
                <a:cxn ang="0">
                  <a:pos x="T2" y="T3"/>
                </a:cxn>
                <a:cxn ang="0">
                  <a:pos x="T4" y="T5"/>
                </a:cxn>
                <a:cxn ang="0">
                  <a:pos x="T6" y="T7"/>
                </a:cxn>
                <a:cxn ang="0">
                  <a:pos x="T8" y="T9"/>
                </a:cxn>
              </a:cxnLst>
              <a:rect l="0" t="0" r="r" b="b"/>
              <a:pathLst>
                <a:path w="560" h="431">
                  <a:moveTo>
                    <a:pt x="0" y="142"/>
                  </a:moveTo>
                  <a:lnTo>
                    <a:pt x="473" y="0"/>
                  </a:lnTo>
                  <a:lnTo>
                    <a:pt x="560" y="291"/>
                  </a:lnTo>
                  <a:lnTo>
                    <a:pt x="86" y="431"/>
                  </a:lnTo>
                  <a:lnTo>
                    <a:pt x="0" y="142"/>
                  </a:lnTo>
                  <a:close/>
                </a:path>
              </a:pathLst>
            </a:custGeom>
            <a:solidFill>
              <a:srgbClr val="EEEEE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2" name="íṣḷiďé"/>
            <p:cNvSpPr/>
            <p:nvPr/>
          </p:nvSpPr>
          <p:spPr bwMode="auto">
            <a:xfrm>
              <a:off x="3307557" y="2083594"/>
              <a:ext cx="889000" cy="684213"/>
            </a:xfrm>
            <a:custGeom>
              <a:avLst/>
              <a:gdLst>
                <a:gd name="T0" fmla="*/ 0 w 560"/>
                <a:gd name="T1" fmla="*/ 142 h 431"/>
                <a:gd name="T2" fmla="*/ 473 w 560"/>
                <a:gd name="T3" fmla="*/ 0 h 431"/>
                <a:gd name="T4" fmla="*/ 560 w 560"/>
                <a:gd name="T5" fmla="*/ 291 h 431"/>
                <a:gd name="T6" fmla="*/ 86 w 560"/>
                <a:gd name="T7" fmla="*/ 431 h 431"/>
                <a:gd name="T8" fmla="*/ 0 w 560"/>
                <a:gd name="T9" fmla="*/ 142 h 431"/>
              </a:gdLst>
              <a:ahLst/>
              <a:cxnLst>
                <a:cxn ang="0">
                  <a:pos x="T0" y="T1"/>
                </a:cxn>
                <a:cxn ang="0">
                  <a:pos x="T2" y="T3"/>
                </a:cxn>
                <a:cxn ang="0">
                  <a:pos x="T4" y="T5"/>
                </a:cxn>
                <a:cxn ang="0">
                  <a:pos x="T6" y="T7"/>
                </a:cxn>
                <a:cxn ang="0">
                  <a:pos x="T8" y="T9"/>
                </a:cxn>
              </a:cxnLst>
              <a:rect l="0" t="0" r="r" b="b"/>
              <a:pathLst>
                <a:path w="560" h="431">
                  <a:moveTo>
                    <a:pt x="0" y="142"/>
                  </a:moveTo>
                  <a:lnTo>
                    <a:pt x="473" y="0"/>
                  </a:lnTo>
                  <a:lnTo>
                    <a:pt x="560" y="291"/>
                  </a:lnTo>
                  <a:lnTo>
                    <a:pt x="86" y="431"/>
                  </a:lnTo>
                  <a:lnTo>
                    <a:pt x="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3" name="ïşḷíḋê"/>
            <p:cNvSpPr/>
            <p:nvPr/>
          </p:nvSpPr>
          <p:spPr bwMode="auto">
            <a:xfrm>
              <a:off x="3331369" y="2093119"/>
              <a:ext cx="857250" cy="650875"/>
            </a:xfrm>
            <a:custGeom>
              <a:avLst/>
              <a:gdLst>
                <a:gd name="T0" fmla="*/ 0 w 540"/>
                <a:gd name="T1" fmla="*/ 138 h 410"/>
                <a:gd name="T2" fmla="*/ 459 w 540"/>
                <a:gd name="T3" fmla="*/ 0 h 410"/>
                <a:gd name="T4" fmla="*/ 540 w 540"/>
                <a:gd name="T5" fmla="*/ 271 h 410"/>
                <a:gd name="T6" fmla="*/ 83 w 540"/>
                <a:gd name="T7" fmla="*/ 410 h 410"/>
                <a:gd name="T8" fmla="*/ 0 w 540"/>
                <a:gd name="T9" fmla="*/ 138 h 410"/>
              </a:gdLst>
              <a:ahLst/>
              <a:cxnLst>
                <a:cxn ang="0">
                  <a:pos x="T0" y="T1"/>
                </a:cxn>
                <a:cxn ang="0">
                  <a:pos x="T2" y="T3"/>
                </a:cxn>
                <a:cxn ang="0">
                  <a:pos x="T4" y="T5"/>
                </a:cxn>
                <a:cxn ang="0">
                  <a:pos x="T6" y="T7"/>
                </a:cxn>
                <a:cxn ang="0">
                  <a:pos x="T8" y="T9"/>
                </a:cxn>
              </a:cxnLst>
              <a:rect l="0" t="0" r="r" b="b"/>
              <a:pathLst>
                <a:path w="540" h="410">
                  <a:moveTo>
                    <a:pt x="0" y="138"/>
                  </a:moveTo>
                  <a:lnTo>
                    <a:pt x="459" y="0"/>
                  </a:lnTo>
                  <a:lnTo>
                    <a:pt x="540" y="271"/>
                  </a:lnTo>
                  <a:lnTo>
                    <a:pt x="83" y="410"/>
                  </a:lnTo>
                  <a:lnTo>
                    <a:pt x="0" y="13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4" name="íṡḻíďê"/>
            <p:cNvSpPr/>
            <p:nvPr/>
          </p:nvSpPr>
          <p:spPr bwMode="auto">
            <a:xfrm>
              <a:off x="3331369" y="2093119"/>
              <a:ext cx="857250" cy="650875"/>
            </a:xfrm>
            <a:custGeom>
              <a:avLst/>
              <a:gdLst>
                <a:gd name="T0" fmla="*/ 0 w 540"/>
                <a:gd name="T1" fmla="*/ 138 h 410"/>
                <a:gd name="T2" fmla="*/ 459 w 540"/>
                <a:gd name="T3" fmla="*/ 0 h 410"/>
                <a:gd name="T4" fmla="*/ 540 w 540"/>
                <a:gd name="T5" fmla="*/ 271 h 410"/>
                <a:gd name="T6" fmla="*/ 83 w 540"/>
                <a:gd name="T7" fmla="*/ 410 h 410"/>
                <a:gd name="T8" fmla="*/ 0 w 540"/>
                <a:gd name="T9" fmla="*/ 138 h 410"/>
              </a:gdLst>
              <a:ahLst/>
              <a:cxnLst>
                <a:cxn ang="0">
                  <a:pos x="T0" y="T1"/>
                </a:cxn>
                <a:cxn ang="0">
                  <a:pos x="T2" y="T3"/>
                </a:cxn>
                <a:cxn ang="0">
                  <a:pos x="T4" y="T5"/>
                </a:cxn>
                <a:cxn ang="0">
                  <a:pos x="T6" y="T7"/>
                </a:cxn>
                <a:cxn ang="0">
                  <a:pos x="T8" y="T9"/>
                </a:cxn>
              </a:cxnLst>
              <a:rect l="0" t="0" r="r" b="b"/>
              <a:pathLst>
                <a:path w="540" h="410">
                  <a:moveTo>
                    <a:pt x="0" y="138"/>
                  </a:moveTo>
                  <a:lnTo>
                    <a:pt x="459" y="0"/>
                  </a:lnTo>
                  <a:lnTo>
                    <a:pt x="540" y="271"/>
                  </a:lnTo>
                  <a:lnTo>
                    <a:pt x="83" y="410"/>
                  </a:lnTo>
                  <a:lnTo>
                    <a:pt x="0" y="1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5" name="îslîḓè"/>
            <p:cNvSpPr/>
            <p:nvPr/>
          </p:nvSpPr>
          <p:spPr bwMode="auto">
            <a:xfrm>
              <a:off x="3361532" y="2312194"/>
              <a:ext cx="112713" cy="95250"/>
            </a:xfrm>
            <a:custGeom>
              <a:avLst/>
              <a:gdLst>
                <a:gd name="T0" fmla="*/ 58 w 71"/>
                <a:gd name="T1" fmla="*/ 0 h 60"/>
                <a:gd name="T2" fmla="*/ 0 w 71"/>
                <a:gd name="T3" fmla="*/ 18 h 60"/>
                <a:gd name="T4" fmla="*/ 13 w 71"/>
                <a:gd name="T5" fmla="*/ 60 h 60"/>
                <a:gd name="T6" fmla="*/ 71 w 71"/>
                <a:gd name="T7" fmla="*/ 42 h 60"/>
                <a:gd name="T8" fmla="*/ 58 w 71"/>
                <a:gd name="T9" fmla="*/ 0 h 60"/>
              </a:gdLst>
              <a:ahLst/>
              <a:cxnLst>
                <a:cxn ang="0">
                  <a:pos x="T0" y="T1"/>
                </a:cxn>
                <a:cxn ang="0">
                  <a:pos x="T2" y="T3"/>
                </a:cxn>
                <a:cxn ang="0">
                  <a:pos x="T4" y="T5"/>
                </a:cxn>
                <a:cxn ang="0">
                  <a:pos x="T6" y="T7"/>
                </a:cxn>
                <a:cxn ang="0">
                  <a:pos x="T8" y="T9"/>
                </a:cxn>
              </a:cxnLst>
              <a:rect l="0" t="0" r="r" b="b"/>
              <a:pathLst>
                <a:path w="71" h="60">
                  <a:moveTo>
                    <a:pt x="58" y="0"/>
                  </a:moveTo>
                  <a:lnTo>
                    <a:pt x="0" y="18"/>
                  </a:lnTo>
                  <a:lnTo>
                    <a:pt x="13" y="60"/>
                  </a:lnTo>
                  <a:lnTo>
                    <a:pt x="71" y="42"/>
                  </a:lnTo>
                  <a:lnTo>
                    <a:pt x="58" y="0"/>
                  </a:lnTo>
                  <a:close/>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6" name="í$1íḍê"/>
            <p:cNvSpPr/>
            <p:nvPr/>
          </p:nvSpPr>
          <p:spPr bwMode="auto">
            <a:xfrm>
              <a:off x="3361532" y="2312194"/>
              <a:ext cx="112713" cy="95250"/>
            </a:xfrm>
            <a:custGeom>
              <a:avLst/>
              <a:gdLst>
                <a:gd name="T0" fmla="*/ 58 w 71"/>
                <a:gd name="T1" fmla="*/ 0 h 60"/>
                <a:gd name="T2" fmla="*/ 0 w 71"/>
                <a:gd name="T3" fmla="*/ 18 h 60"/>
                <a:gd name="T4" fmla="*/ 13 w 71"/>
                <a:gd name="T5" fmla="*/ 60 h 60"/>
                <a:gd name="T6" fmla="*/ 71 w 71"/>
                <a:gd name="T7" fmla="*/ 42 h 60"/>
                <a:gd name="T8" fmla="*/ 58 w 71"/>
                <a:gd name="T9" fmla="*/ 0 h 60"/>
              </a:gdLst>
              <a:ahLst/>
              <a:cxnLst>
                <a:cxn ang="0">
                  <a:pos x="T0" y="T1"/>
                </a:cxn>
                <a:cxn ang="0">
                  <a:pos x="T2" y="T3"/>
                </a:cxn>
                <a:cxn ang="0">
                  <a:pos x="T4" y="T5"/>
                </a:cxn>
                <a:cxn ang="0">
                  <a:pos x="T6" y="T7"/>
                </a:cxn>
                <a:cxn ang="0">
                  <a:pos x="T8" y="T9"/>
                </a:cxn>
              </a:cxnLst>
              <a:rect l="0" t="0" r="r" b="b"/>
              <a:pathLst>
                <a:path w="71" h="60">
                  <a:moveTo>
                    <a:pt x="58" y="0"/>
                  </a:moveTo>
                  <a:lnTo>
                    <a:pt x="0" y="18"/>
                  </a:lnTo>
                  <a:lnTo>
                    <a:pt x="13" y="60"/>
                  </a:lnTo>
                  <a:lnTo>
                    <a:pt x="71" y="42"/>
                  </a:lnTo>
                  <a:lnTo>
                    <a:pt x="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7" name="ïšľîdê"/>
            <p:cNvSpPr/>
            <p:nvPr/>
          </p:nvSpPr>
          <p:spPr bwMode="auto">
            <a:xfrm>
              <a:off x="3491707" y="2389982"/>
              <a:ext cx="360363" cy="128588"/>
            </a:xfrm>
            <a:custGeom>
              <a:avLst/>
              <a:gdLst>
                <a:gd name="T0" fmla="*/ 222 w 227"/>
                <a:gd name="T1" fmla="*/ 0 h 81"/>
                <a:gd name="T2" fmla="*/ 0 w 227"/>
                <a:gd name="T3" fmla="*/ 66 h 81"/>
                <a:gd name="T4" fmla="*/ 3 w 227"/>
                <a:gd name="T5" fmla="*/ 81 h 81"/>
                <a:gd name="T6" fmla="*/ 227 w 227"/>
                <a:gd name="T7" fmla="*/ 15 h 81"/>
                <a:gd name="T8" fmla="*/ 222 w 227"/>
                <a:gd name="T9" fmla="*/ 0 h 81"/>
              </a:gdLst>
              <a:ahLst/>
              <a:cxnLst>
                <a:cxn ang="0">
                  <a:pos x="T0" y="T1"/>
                </a:cxn>
                <a:cxn ang="0">
                  <a:pos x="T2" y="T3"/>
                </a:cxn>
                <a:cxn ang="0">
                  <a:pos x="T4" y="T5"/>
                </a:cxn>
                <a:cxn ang="0">
                  <a:pos x="T6" y="T7"/>
                </a:cxn>
                <a:cxn ang="0">
                  <a:pos x="T8" y="T9"/>
                </a:cxn>
              </a:cxnLst>
              <a:rect l="0" t="0" r="r" b="b"/>
              <a:pathLst>
                <a:path w="227" h="81">
                  <a:moveTo>
                    <a:pt x="222" y="0"/>
                  </a:moveTo>
                  <a:lnTo>
                    <a:pt x="0" y="66"/>
                  </a:lnTo>
                  <a:lnTo>
                    <a:pt x="3" y="81"/>
                  </a:lnTo>
                  <a:lnTo>
                    <a:pt x="227" y="15"/>
                  </a:lnTo>
                  <a:lnTo>
                    <a:pt x="222" y="0"/>
                  </a:lnTo>
                  <a:close/>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8" name="íśḷïḍé"/>
            <p:cNvSpPr/>
            <p:nvPr/>
          </p:nvSpPr>
          <p:spPr bwMode="auto">
            <a:xfrm>
              <a:off x="3491707" y="2389982"/>
              <a:ext cx="360363" cy="128588"/>
            </a:xfrm>
            <a:custGeom>
              <a:avLst/>
              <a:gdLst>
                <a:gd name="T0" fmla="*/ 222 w 227"/>
                <a:gd name="T1" fmla="*/ 0 h 81"/>
                <a:gd name="T2" fmla="*/ 0 w 227"/>
                <a:gd name="T3" fmla="*/ 66 h 81"/>
                <a:gd name="T4" fmla="*/ 3 w 227"/>
                <a:gd name="T5" fmla="*/ 81 h 81"/>
                <a:gd name="T6" fmla="*/ 227 w 227"/>
                <a:gd name="T7" fmla="*/ 15 h 81"/>
                <a:gd name="T8" fmla="*/ 222 w 227"/>
                <a:gd name="T9" fmla="*/ 0 h 81"/>
              </a:gdLst>
              <a:ahLst/>
              <a:cxnLst>
                <a:cxn ang="0">
                  <a:pos x="T0" y="T1"/>
                </a:cxn>
                <a:cxn ang="0">
                  <a:pos x="T2" y="T3"/>
                </a:cxn>
                <a:cxn ang="0">
                  <a:pos x="T4" y="T5"/>
                </a:cxn>
                <a:cxn ang="0">
                  <a:pos x="T6" y="T7"/>
                </a:cxn>
                <a:cxn ang="0">
                  <a:pos x="T8" y="T9"/>
                </a:cxn>
              </a:cxnLst>
              <a:rect l="0" t="0" r="r" b="b"/>
              <a:pathLst>
                <a:path w="227" h="81">
                  <a:moveTo>
                    <a:pt x="222" y="0"/>
                  </a:moveTo>
                  <a:lnTo>
                    <a:pt x="0" y="66"/>
                  </a:lnTo>
                  <a:lnTo>
                    <a:pt x="3" y="81"/>
                  </a:lnTo>
                  <a:lnTo>
                    <a:pt x="227" y="15"/>
                  </a:lnTo>
                  <a:lnTo>
                    <a:pt x="2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9" name="ïsḷîďê"/>
            <p:cNvSpPr/>
            <p:nvPr/>
          </p:nvSpPr>
          <p:spPr bwMode="auto">
            <a:xfrm>
              <a:off x="3602832" y="2445544"/>
              <a:ext cx="261938" cy="90488"/>
            </a:xfrm>
            <a:custGeom>
              <a:avLst/>
              <a:gdLst>
                <a:gd name="T0" fmla="*/ 163 w 165"/>
                <a:gd name="T1" fmla="*/ 0 h 57"/>
                <a:gd name="T2" fmla="*/ 0 w 165"/>
                <a:gd name="T3" fmla="*/ 49 h 57"/>
                <a:gd name="T4" fmla="*/ 3 w 165"/>
                <a:gd name="T5" fmla="*/ 57 h 57"/>
                <a:gd name="T6" fmla="*/ 165 w 165"/>
                <a:gd name="T7" fmla="*/ 9 h 57"/>
                <a:gd name="T8" fmla="*/ 163 w 165"/>
                <a:gd name="T9" fmla="*/ 0 h 57"/>
              </a:gdLst>
              <a:ahLst/>
              <a:cxnLst>
                <a:cxn ang="0">
                  <a:pos x="T0" y="T1"/>
                </a:cxn>
                <a:cxn ang="0">
                  <a:pos x="T2" y="T3"/>
                </a:cxn>
                <a:cxn ang="0">
                  <a:pos x="T4" y="T5"/>
                </a:cxn>
                <a:cxn ang="0">
                  <a:pos x="T6" y="T7"/>
                </a:cxn>
                <a:cxn ang="0">
                  <a:pos x="T8" y="T9"/>
                </a:cxn>
              </a:cxnLst>
              <a:rect l="0" t="0" r="r" b="b"/>
              <a:pathLst>
                <a:path w="165" h="57">
                  <a:moveTo>
                    <a:pt x="163" y="0"/>
                  </a:moveTo>
                  <a:lnTo>
                    <a:pt x="0" y="49"/>
                  </a:lnTo>
                  <a:lnTo>
                    <a:pt x="3" y="57"/>
                  </a:lnTo>
                  <a:lnTo>
                    <a:pt x="165" y="9"/>
                  </a:lnTo>
                  <a:lnTo>
                    <a:pt x="163" y="0"/>
                  </a:lnTo>
                  <a:close/>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0" name="î$ḻïḍê"/>
            <p:cNvSpPr/>
            <p:nvPr/>
          </p:nvSpPr>
          <p:spPr bwMode="auto">
            <a:xfrm>
              <a:off x="3602832" y="2445544"/>
              <a:ext cx="261938" cy="90488"/>
            </a:xfrm>
            <a:custGeom>
              <a:avLst/>
              <a:gdLst>
                <a:gd name="T0" fmla="*/ 163 w 165"/>
                <a:gd name="T1" fmla="*/ 0 h 57"/>
                <a:gd name="T2" fmla="*/ 0 w 165"/>
                <a:gd name="T3" fmla="*/ 49 h 57"/>
                <a:gd name="T4" fmla="*/ 3 w 165"/>
                <a:gd name="T5" fmla="*/ 57 h 57"/>
                <a:gd name="T6" fmla="*/ 165 w 165"/>
                <a:gd name="T7" fmla="*/ 9 h 57"/>
                <a:gd name="T8" fmla="*/ 163 w 165"/>
                <a:gd name="T9" fmla="*/ 0 h 57"/>
              </a:gdLst>
              <a:ahLst/>
              <a:cxnLst>
                <a:cxn ang="0">
                  <a:pos x="T0" y="T1"/>
                </a:cxn>
                <a:cxn ang="0">
                  <a:pos x="T2" y="T3"/>
                </a:cxn>
                <a:cxn ang="0">
                  <a:pos x="T4" y="T5"/>
                </a:cxn>
                <a:cxn ang="0">
                  <a:pos x="T6" y="T7"/>
                </a:cxn>
                <a:cxn ang="0">
                  <a:pos x="T8" y="T9"/>
                </a:cxn>
              </a:cxnLst>
              <a:rect l="0" t="0" r="r" b="b"/>
              <a:pathLst>
                <a:path w="165" h="57">
                  <a:moveTo>
                    <a:pt x="163" y="0"/>
                  </a:moveTo>
                  <a:lnTo>
                    <a:pt x="0" y="49"/>
                  </a:lnTo>
                  <a:lnTo>
                    <a:pt x="3" y="57"/>
                  </a:lnTo>
                  <a:lnTo>
                    <a:pt x="165" y="9"/>
                  </a:lnTo>
                  <a:lnTo>
                    <a:pt x="1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1" name="iṧḷíḓé"/>
            <p:cNvSpPr/>
            <p:nvPr/>
          </p:nvSpPr>
          <p:spPr bwMode="auto">
            <a:xfrm>
              <a:off x="5133182" y="996157"/>
              <a:ext cx="858838" cy="620713"/>
            </a:xfrm>
            <a:custGeom>
              <a:avLst/>
              <a:gdLst>
                <a:gd name="T0" fmla="*/ 0 w 541"/>
                <a:gd name="T1" fmla="*/ 297 h 391"/>
                <a:gd name="T2" fmla="*/ 58 w 541"/>
                <a:gd name="T3" fmla="*/ 0 h 391"/>
                <a:gd name="T4" fmla="*/ 541 w 541"/>
                <a:gd name="T5" fmla="*/ 94 h 391"/>
                <a:gd name="T6" fmla="*/ 483 w 541"/>
                <a:gd name="T7" fmla="*/ 391 h 391"/>
                <a:gd name="T8" fmla="*/ 0 w 541"/>
                <a:gd name="T9" fmla="*/ 297 h 391"/>
              </a:gdLst>
              <a:ahLst/>
              <a:cxnLst>
                <a:cxn ang="0">
                  <a:pos x="T0" y="T1"/>
                </a:cxn>
                <a:cxn ang="0">
                  <a:pos x="T2" y="T3"/>
                </a:cxn>
                <a:cxn ang="0">
                  <a:pos x="T4" y="T5"/>
                </a:cxn>
                <a:cxn ang="0">
                  <a:pos x="T6" y="T7"/>
                </a:cxn>
                <a:cxn ang="0">
                  <a:pos x="T8" y="T9"/>
                </a:cxn>
              </a:cxnLst>
              <a:rect l="0" t="0" r="r" b="b"/>
              <a:pathLst>
                <a:path w="541" h="391">
                  <a:moveTo>
                    <a:pt x="0" y="297"/>
                  </a:moveTo>
                  <a:lnTo>
                    <a:pt x="58" y="0"/>
                  </a:lnTo>
                  <a:lnTo>
                    <a:pt x="541" y="94"/>
                  </a:lnTo>
                  <a:lnTo>
                    <a:pt x="483" y="391"/>
                  </a:lnTo>
                  <a:lnTo>
                    <a:pt x="0" y="297"/>
                  </a:lnTo>
                  <a:close/>
                </a:path>
              </a:pathLst>
            </a:custGeom>
            <a:solidFill>
              <a:srgbClr val="EEEEE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2" name="íṣľïḋè"/>
            <p:cNvSpPr/>
            <p:nvPr/>
          </p:nvSpPr>
          <p:spPr bwMode="auto">
            <a:xfrm>
              <a:off x="5133182" y="996157"/>
              <a:ext cx="858838" cy="620713"/>
            </a:xfrm>
            <a:custGeom>
              <a:avLst/>
              <a:gdLst>
                <a:gd name="T0" fmla="*/ 0 w 541"/>
                <a:gd name="T1" fmla="*/ 297 h 391"/>
                <a:gd name="T2" fmla="*/ 58 w 541"/>
                <a:gd name="T3" fmla="*/ 0 h 391"/>
                <a:gd name="T4" fmla="*/ 541 w 541"/>
                <a:gd name="T5" fmla="*/ 94 h 391"/>
                <a:gd name="T6" fmla="*/ 483 w 541"/>
                <a:gd name="T7" fmla="*/ 391 h 391"/>
                <a:gd name="T8" fmla="*/ 0 w 541"/>
                <a:gd name="T9" fmla="*/ 297 h 391"/>
              </a:gdLst>
              <a:ahLst/>
              <a:cxnLst>
                <a:cxn ang="0">
                  <a:pos x="T0" y="T1"/>
                </a:cxn>
                <a:cxn ang="0">
                  <a:pos x="T2" y="T3"/>
                </a:cxn>
                <a:cxn ang="0">
                  <a:pos x="T4" y="T5"/>
                </a:cxn>
                <a:cxn ang="0">
                  <a:pos x="T6" y="T7"/>
                </a:cxn>
                <a:cxn ang="0">
                  <a:pos x="T8" y="T9"/>
                </a:cxn>
              </a:cxnLst>
              <a:rect l="0" t="0" r="r" b="b"/>
              <a:pathLst>
                <a:path w="541" h="391">
                  <a:moveTo>
                    <a:pt x="0" y="297"/>
                  </a:moveTo>
                  <a:lnTo>
                    <a:pt x="58" y="0"/>
                  </a:lnTo>
                  <a:lnTo>
                    <a:pt x="541" y="94"/>
                  </a:lnTo>
                  <a:lnTo>
                    <a:pt x="483" y="391"/>
                  </a:lnTo>
                  <a:lnTo>
                    <a:pt x="0" y="29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3" name="íşľidé"/>
            <p:cNvSpPr/>
            <p:nvPr/>
          </p:nvSpPr>
          <p:spPr bwMode="auto">
            <a:xfrm>
              <a:off x="5152232" y="1004094"/>
              <a:ext cx="828675" cy="585788"/>
            </a:xfrm>
            <a:custGeom>
              <a:avLst/>
              <a:gdLst>
                <a:gd name="T0" fmla="*/ 0 w 522"/>
                <a:gd name="T1" fmla="*/ 278 h 369"/>
                <a:gd name="T2" fmla="*/ 54 w 522"/>
                <a:gd name="T3" fmla="*/ 0 h 369"/>
                <a:gd name="T4" fmla="*/ 522 w 522"/>
                <a:gd name="T5" fmla="*/ 92 h 369"/>
                <a:gd name="T6" fmla="*/ 468 w 522"/>
                <a:gd name="T7" fmla="*/ 369 h 369"/>
                <a:gd name="T8" fmla="*/ 0 w 522"/>
                <a:gd name="T9" fmla="*/ 278 h 369"/>
              </a:gdLst>
              <a:ahLst/>
              <a:cxnLst>
                <a:cxn ang="0">
                  <a:pos x="T0" y="T1"/>
                </a:cxn>
                <a:cxn ang="0">
                  <a:pos x="T2" y="T3"/>
                </a:cxn>
                <a:cxn ang="0">
                  <a:pos x="T4" y="T5"/>
                </a:cxn>
                <a:cxn ang="0">
                  <a:pos x="T6" y="T7"/>
                </a:cxn>
                <a:cxn ang="0">
                  <a:pos x="T8" y="T9"/>
                </a:cxn>
              </a:cxnLst>
              <a:rect l="0" t="0" r="r" b="b"/>
              <a:pathLst>
                <a:path w="522" h="369">
                  <a:moveTo>
                    <a:pt x="0" y="278"/>
                  </a:moveTo>
                  <a:lnTo>
                    <a:pt x="54" y="0"/>
                  </a:lnTo>
                  <a:lnTo>
                    <a:pt x="522" y="92"/>
                  </a:lnTo>
                  <a:lnTo>
                    <a:pt x="468" y="369"/>
                  </a:lnTo>
                  <a:lnTo>
                    <a:pt x="0" y="27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4" name="iṧḷîḓé"/>
            <p:cNvSpPr/>
            <p:nvPr/>
          </p:nvSpPr>
          <p:spPr bwMode="auto">
            <a:xfrm>
              <a:off x="5152232" y="1004094"/>
              <a:ext cx="828675" cy="585788"/>
            </a:xfrm>
            <a:custGeom>
              <a:avLst/>
              <a:gdLst>
                <a:gd name="T0" fmla="*/ 0 w 522"/>
                <a:gd name="T1" fmla="*/ 278 h 369"/>
                <a:gd name="T2" fmla="*/ 54 w 522"/>
                <a:gd name="T3" fmla="*/ 0 h 369"/>
                <a:gd name="T4" fmla="*/ 522 w 522"/>
                <a:gd name="T5" fmla="*/ 92 h 369"/>
                <a:gd name="T6" fmla="*/ 468 w 522"/>
                <a:gd name="T7" fmla="*/ 369 h 369"/>
                <a:gd name="T8" fmla="*/ 0 w 522"/>
                <a:gd name="T9" fmla="*/ 278 h 369"/>
              </a:gdLst>
              <a:ahLst/>
              <a:cxnLst>
                <a:cxn ang="0">
                  <a:pos x="T0" y="T1"/>
                </a:cxn>
                <a:cxn ang="0">
                  <a:pos x="T2" y="T3"/>
                </a:cxn>
                <a:cxn ang="0">
                  <a:pos x="T4" y="T5"/>
                </a:cxn>
                <a:cxn ang="0">
                  <a:pos x="T6" y="T7"/>
                </a:cxn>
                <a:cxn ang="0">
                  <a:pos x="T8" y="T9"/>
                </a:cxn>
              </a:cxnLst>
              <a:rect l="0" t="0" r="r" b="b"/>
              <a:pathLst>
                <a:path w="522" h="369">
                  <a:moveTo>
                    <a:pt x="0" y="278"/>
                  </a:moveTo>
                  <a:lnTo>
                    <a:pt x="54" y="0"/>
                  </a:lnTo>
                  <a:lnTo>
                    <a:pt x="522" y="92"/>
                  </a:lnTo>
                  <a:lnTo>
                    <a:pt x="468" y="369"/>
                  </a:lnTo>
                  <a:lnTo>
                    <a:pt x="0" y="2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5" name="îŝliḑe"/>
            <p:cNvSpPr/>
            <p:nvPr/>
          </p:nvSpPr>
          <p:spPr bwMode="auto">
            <a:xfrm>
              <a:off x="5249069" y="1045369"/>
              <a:ext cx="107950" cy="87313"/>
            </a:xfrm>
            <a:custGeom>
              <a:avLst/>
              <a:gdLst>
                <a:gd name="T0" fmla="*/ 9 w 68"/>
                <a:gd name="T1" fmla="*/ 0 h 55"/>
                <a:gd name="T2" fmla="*/ 0 w 68"/>
                <a:gd name="T3" fmla="*/ 43 h 55"/>
                <a:gd name="T4" fmla="*/ 60 w 68"/>
                <a:gd name="T5" fmla="*/ 55 h 55"/>
                <a:gd name="T6" fmla="*/ 68 w 68"/>
                <a:gd name="T7" fmla="*/ 10 h 55"/>
                <a:gd name="T8" fmla="*/ 9 w 68"/>
                <a:gd name="T9" fmla="*/ 0 h 55"/>
              </a:gdLst>
              <a:ahLst/>
              <a:cxnLst>
                <a:cxn ang="0">
                  <a:pos x="T0" y="T1"/>
                </a:cxn>
                <a:cxn ang="0">
                  <a:pos x="T2" y="T3"/>
                </a:cxn>
                <a:cxn ang="0">
                  <a:pos x="T4" y="T5"/>
                </a:cxn>
                <a:cxn ang="0">
                  <a:pos x="T6" y="T7"/>
                </a:cxn>
                <a:cxn ang="0">
                  <a:pos x="T8" y="T9"/>
                </a:cxn>
              </a:cxnLst>
              <a:rect l="0" t="0" r="r" b="b"/>
              <a:pathLst>
                <a:path w="68" h="55">
                  <a:moveTo>
                    <a:pt x="9" y="0"/>
                  </a:moveTo>
                  <a:lnTo>
                    <a:pt x="0" y="43"/>
                  </a:lnTo>
                  <a:lnTo>
                    <a:pt x="60" y="55"/>
                  </a:lnTo>
                  <a:lnTo>
                    <a:pt x="68" y="10"/>
                  </a:lnTo>
                  <a:lnTo>
                    <a:pt x="9" y="0"/>
                  </a:lnTo>
                  <a:close/>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6" name="ï$ľîḑe"/>
            <p:cNvSpPr/>
            <p:nvPr/>
          </p:nvSpPr>
          <p:spPr bwMode="auto">
            <a:xfrm>
              <a:off x="5249069" y="1045369"/>
              <a:ext cx="107950" cy="87313"/>
            </a:xfrm>
            <a:custGeom>
              <a:avLst/>
              <a:gdLst>
                <a:gd name="T0" fmla="*/ 9 w 68"/>
                <a:gd name="T1" fmla="*/ 0 h 55"/>
                <a:gd name="T2" fmla="*/ 0 w 68"/>
                <a:gd name="T3" fmla="*/ 43 h 55"/>
                <a:gd name="T4" fmla="*/ 60 w 68"/>
                <a:gd name="T5" fmla="*/ 55 h 55"/>
                <a:gd name="T6" fmla="*/ 68 w 68"/>
                <a:gd name="T7" fmla="*/ 10 h 55"/>
                <a:gd name="T8" fmla="*/ 9 w 68"/>
                <a:gd name="T9" fmla="*/ 0 h 55"/>
              </a:gdLst>
              <a:ahLst/>
              <a:cxnLst>
                <a:cxn ang="0">
                  <a:pos x="T0" y="T1"/>
                </a:cxn>
                <a:cxn ang="0">
                  <a:pos x="T2" y="T3"/>
                </a:cxn>
                <a:cxn ang="0">
                  <a:pos x="T4" y="T5"/>
                </a:cxn>
                <a:cxn ang="0">
                  <a:pos x="T6" y="T7"/>
                </a:cxn>
                <a:cxn ang="0">
                  <a:pos x="T8" y="T9"/>
                </a:cxn>
              </a:cxnLst>
              <a:rect l="0" t="0" r="r" b="b"/>
              <a:pathLst>
                <a:path w="68" h="55">
                  <a:moveTo>
                    <a:pt x="9" y="0"/>
                  </a:moveTo>
                  <a:lnTo>
                    <a:pt x="0" y="43"/>
                  </a:lnTo>
                  <a:lnTo>
                    <a:pt x="60" y="55"/>
                  </a:lnTo>
                  <a:lnTo>
                    <a:pt x="68" y="10"/>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7" name="išļïḍê"/>
            <p:cNvSpPr/>
            <p:nvPr/>
          </p:nvSpPr>
          <p:spPr bwMode="auto">
            <a:xfrm>
              <a:off x="5301457" y="1242219"/>
              <a:ext cx="165100" cy="49213"/>
            </a:xfrm>
            <a:custGeom>
              <a:avLst/>
              <a:gdLst>
                <a:gd name="T0" fmla="*/ 2 w 88"/>
                <a:gd name="T1" fmla="*/ 0 h 26"/>
                <a:gd name="T2" fmla="*/ 0 w 88"/>
                <a:gd name="T3" fmla="*/ 12 h 26"/>
                <a:gd name="T4" fmla="*/ 74 w 88"/>
                <a:gd name="T5" fmla="*/ 26 h 26"/>
                <a:gd name="T6" fmla="*/ 88 w 88"/>
                <a:gd name="T7" fmla="*/ 16 h 26"/>
                <a:gd name="T8" fmla="*/ 2 w 88"/>
                <a:gd name="T9" fmla="*/ 0 h 26"/>
              </a:gdLst>
              <a:ahLst/>
              <a:cxnLst>
                <a:cxn ang="0">
                  <a:pos x="T0" y="T1"/>
                </a:cxn>
                <a:cxn ang="0">
                  <a:pos x="T2" y="T3"/>
                </a:cxn>
                <a:cxn ang="0">
                  <a:pos x="T4" y="T5"/>
                </a:cxn>
                <a:cxn ang="0">
                  <a:pos x="T6" y="T7"/>
                </a:cxn>
                <a:cxn ang="0">
                  <a:pos x="T8" y="T9"/>
                </a:cxn>
              </a:cxnLst>
              <a:rect l="0" t="0" r="r" b="b"/>
              <a:pathLst>
                <a:path w="88" h="26">
                  <a:moveTo>
                    <a:pt x="2" y="0"/>
                  </a:moveTo>
                  <a:cubicBezTo>
                    <a:pt x="0" y="12"/>
                    <a:pt x="0" y="12"/>
                    <a:pt x="0" y="12"/>
                  </a:cubicBezTo>
                  <a:cubicBezTo>
                    <a:pt x="74" y="26"/>
                    <a:pt x="74" y="26"/>
                    <a:pt x="74" y="26"/>
                  </a:cubicBezTo>
                  <a:cubicBezTo>
                    <a:pt x="78" y="23"/>
                    <a:pt x="83" y="20"/>
                    <a:pt x="88" y="16"/>
                  </a:cubicBezTo>
                  <a:cubicBezTo>
                    <a:pt x="2" y="0"/>
                    <a:pt x="2" y="0"/>
                    <a:pt x="2" y="0"/>
                  </a:cubicBezTo>
                </a:path>
              </a:pathLst>
            </a:custGeom>
            <a:solidFill>
              <a:srgbClr val="8EB6F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8" name="iSḷíḋe"/>
            <p:cNvSpPr/>
            <p:nvPr/>
          </p:nvSpPr>
          <p:spPr bwMode="auto">
            <a:xfrm>
              <a:off x="5388769" y="1318419"/>
              <a:ext cx="15875" cy="14288"/>
            </a:xfrm>
            <a:custGeom>
              <a:avLst/>
              <a:gdLst>
                <a:gd name="T0" fmla="*/ 2 w 8"/>
                <a:gd name="T1" fmla="*/ 0 h 8"/>
                <a:gd name="T2" fmla="*/ 0 w 8"/>
                <a:gd name="T3" fmla="*/ 8 h 8"/>
                <a:gd name="T4" fmla="*/ 1 w 8"/>
                <a:gd name="T5" fmla="*/ 8 h 8"/>
                <a:gd name="T6" fmla="*/ 8 w 8"/>
                <a:gd name="T7" fmla="*/ 2 h 8"/>
                <a:gd name="T8" fmla="*/ 2 w 8"/>
                <a:gd name="T9" fmla="*/ 0 h 8"/>
              </a:gdLst>
              <a:ahLst/>
              <a:cxnLst>
                <a:cxn ang="0">
                  <a:pos x="T0" y="T1"/>
                </a:cxn>
                <a:cxn ang="0">
                  <a:pos x="T2" y="T3"/>
                </a:cxn>
                <a:cxn ang="0">
                  <a:pos x="T4" y="T5"/>
                </a:cxn>
                <a:cxn ang="0">
                  <a:pos x="T6" y="T7"/>
                </a:cxn>
                <a:cxn ang="0">
                  <a:pos x="T8" y="T9"/>
                </a:cxn>
              </a:cxnLst>
              <a:rect l="0" t="0" r="r" b="b"/>
              <a:pathLst>
                <a:path w="8" h="8">
                  <a:moveTo>
                    <a:pt x="2" y="0"/>
                  </a:moveTo>
                  <a:cubicBezTo>
                    <a:pt x="0" y="8"/>
                    <a:pt x="0" y="8"/>
                    <a:pt x="0" y="8"/>
                  </a:cubicBezTo>
                  <a:cubicBezTo>
                    <a:pt x="1" y="8"/>
                    <a:pt x="1" y="8"/>
                    <a:pt x="1" y="8"/>
                  </a:cubicBezTo>
                  <a:cubicBezTo>
                    <a:pt x="3" y="6"/>
                    <a:pt x="6" y="4"/>
                    <a:pt x="8" y="2"/>
                  </a:cubicBezTo>
                  <a:cubicBezTo>
                    <a:pt x="2" y="0"/>
                    <a:pt x="2" y="0"/>
                    <a:pt x="2" y="0"/>
                  </a:cubicBezTo>
                </a:path>
              </a:pathLst>
            </a:custGeom>
            <a:solidFill>
              <a:srgbClr val="F99F8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pic>
          <p:nvPicPr>
            <p:cNvPr id="559" name="图片 558"/>
            <p:cNvPicPr>
              <a:picLocks noChangeAspect="1" noChangeArrowheads="1"/>
            </p:cNvPicPr>
            <p:nvPr/>
          </p:nvPicPr>
          <p:blipFill>
            <a:blip/>
            <a:srcRect/>
            <a:stretch>
              <a:fillRect/>
            </a:stretch>
          </p:blipFill>
          <p:spPr bwMode="auto">
            <a:xfrm>
              <a:off x="5601494" y="2786857"/>
              <a:ext cx="55563"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0" name="îṥ1íḑé"/>
            <p:cNvSpPr/>
            <p:nvPr/>
          </p:nvSpPr>
          <p:spPr bwMode="auto">
            <a:xfrm>
              <a:off x="5290344" y="1935957"/>
              <a:ext cx="712788" cy="873125"/>
            </a:xfrm>
            <a:custGeom>
              <a:avLst/>
              <a:gdLst>
                <a:gd name="T0" fmla="*/ 0 w 449"/>
                <a:gd name="T1" fmla="*/ 113 h 550"/>
                <a:gd name="T2" fmla="*/ 259 w 449"/>
                <a:gd name="T3" fmla="*/ 0 h 550"/>
                <a:gd name="T4" fmla="*/ 449 w 449"/>
                <a:gd name="T5" fmla="*/ 438 h 550"/>
                <a:gd name="T6" fmla="*/ 190 w 449"/>
                <a:gd name="T7" fmla="*/ 550 h 550"/>
                <a:gd name="T8" fmla="*/ 0 w 449"/>
                <a:gd name="T9" fmla="*/ 113 h 550"/>
              </a:gdLst>
              <a:ahLst/>
              <a:cxnLst>
                <a:cxn ang="0">
                  <a:pos x="T0" y="T1"/>
                </a:cxn>
                <a:cxn ang="0">
                  <a:pos x="T2" y="T3"/>
                </a:cxn>
                <a:cxn ang="0">
                  <a:pos x="T4" y="T5"/>
                </a:cxn>
                <a:cxn ang="0">
                  <a:pos x="T6" y="T7"/>
                </a:cxn>
                <a:cxn ang="0">
                  <a:pos x="T8" y="T9"/>
                </a:cxn>
              </a:cxnLst>
              <a:rect l="0" t="0" r="r" b="b"/>
              <a:pathLst>
                <a:path w="449" h="550">
                  <a:moveTo>
                    <a:pt x="0" y="113"/>
                  </a:moveTo>
                  <a:lnTo>
                    <a:pt x="259" y="0"/>
                  </a:lnTo>
                  <a:lnTo>
                    <a:pt x="449" y="438"/>
                  </a:lnTo>
                  <a:lnTo>
                    <a:pt x="190" y="550"/>
                  </a:lnTo>
                  <a:lnTo>
                    <a:pt x="0" y="11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1" name="iś1iďê"/>
            <p:cNvSpPr/>
            <p:nvPr/>
          </p:nvSpPr>
          <p:spPr bwMode="auto">
            <a:xfrm>
              <a:off x="5290344" y="1935957"/>
              <a:ext cx="712788" cy="873125"/>
            </a:xfrm>
            <a:custGeom>
              <a:avLst/>
              <a:gdLst>
                <a:gd name="T0" fmla="*/ 0 w 449"/>
                <a:gd name="T1" fmla="*/ 113 h 550"/>
                <a:gd name="T2" fmla="*/ 259 w 449"/>
                <a:gd name="T3" fmla="*/ 0 h 550"/>
                <a:gd name="T4" fmla="*/ 449 w 449"/>
                <a:gd name="T5" fmla="*/ 438 h 550"/>
                <a:gd name="T6" fmla="*/ 190 w 449"/>
                <a:gd name="T7" fmla="*/ 550 h 550"/>
                <a:gd name="T8" fmla="*/ 0 w 449"/>
                <a:gd name="T9" fmla="*/ 113 h 550"/>
              </a:gdLst>
              <a:ahLst/>
              <a:cxnLst>
                <a:cxn ang="0">
                  <a:pos x="T0" y="T1"/>
                </a:cxn>
                <a:cxn ang="0">
                  <a:pos x="T2" y="T3"/>
                </a:cxn>
                <a:cxn ang="0">
                  <a:pos x="T4" y="T5"/>
                </a:cxn>
                <a:cxn ang="0">
                  <a:pos x="T6" y="T7"/>
                </a:cxn>
                <a:cxn ang="0">
                  <a:pos x="T8" y="T9"/>
                </a:cxn>
              </a:cxnLst>
              <a:rect l="0" t="0" r="r" b="b"/>
              <a:pathLst>
                <a:path w="449" h="550">
                  <a:moveTo>
                    <a:pt x="0" y="113"/>
                  </a:moveTo>
                  <a:lnTo>
                    <a:pt x="259" y="0"/>
                  </a:lnTo>
                  <a:lnTo>
                    <a:pt x="449" y="438"/>
                  </a:lnTo>
                  <a:lnTo>
                    <a:pt x="190" y="550"/>
                  </a:lnTo>
                  <a:lnTo>
                    <a:pt x="0" y="1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2" name="îś1íďe"/>
            <p:cNvSpPr/>
            <p:nvPr/>
          </p:nvSpPr>
          <p:spPr bwMode="auto">
            <a:xfrm>
              <a:off x="3286919" y="1026319"/>
              <a:ext cx="80963" cy="82550"/>
            </a:xfrm>
            <a:prstGeom prst="ellipse">
              <a:avLst/>
            </a:prstGeom>
            <a:solidFill>
              <a:srgbClr val="D4D4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3" name="ïšľidè"/>
            <p:cNvSpPr/>
            <p:nvPr/>
          </p:nvSpPr>
          <p:spPr bwMode="auto">
            <a:xfrm>
              <a:off x="7563644" y="4609307"/>
              <a:ext cx="82550" cy="80963"/>
            </a:xfrm>
            <a:prstGeom prst="ellipse">
              <a:avLst/>
            </a:prstGeom>
            <a:solidFill>
              <a:srgbClr val="D4D4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4" name="ïśľïḑé"/>
            <p:cNvSpPr/>
            <p:nvPr/>
          </p:nvSpPr>
          <p:spPr bwMode="auto">
            <a:xfrm>
              <a:off x="3944144" y="4406107"/>
              <a:ext cx="82550" cy="82550"/>
            </a:xfrm>
            <a:prstGeom prst="ellipse">
              <a:avLst/>
            </a:prstGeom>
            <a:solidFill>
              <a:srgbClr val="D4D4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5" name="ïSľiḑe"/>
            <p:cNvSpPr/>
            <p:nvPr/>
          </p:nvSpPr>
          <p:spPr bwMode="auto">
            <a:xfrm>
              <a:off x="7943057" y="3836194"/>
              <a:ext cx="82550" cy="82550"/>
            </a:xfrm>
            <a:prstGeom prst="ellipse">
              <a:avLst/>
            </a:prstGeom>
            <a:solidFill>
              <a:srgbClr val="D4D4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6" name="iṣļîḍe"/>
            <p:cNvSpPr/>
            <p:nvPr/>
          </p:nvSpPr>
          <p:spPr bwMode="auto">
            <a:xfrm>
              <a:off x="8328819" y="1961357"/>
              <a:ext cx="82550" cy="79375"/>
            </a:xfrm>
            <a:prstGeom prst="ellipse">
              <a:avLst/>
            </a:prstGeom>
            <a:solidFill>
              <a:srgbClr val="D4D4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7" name="iş1îḍe"/>
            <p:cNvSpPr/>
            <p:nvPr/>
          </p:nvSpPr>
          <p:spPr bwMode="auto">
            <a:xfrm>
              <a:off x="5258594" y="608807"/>
              <a:ext cx="87313" cy="88900"/>
            </a:xfrm>
            <a:custGeom>
              <a:avLst/>
              <a:gdLst>
                <a:gd name="T0" fmla="*/ 32 w 55"/>
                <a:gd name="T1" fmla="*/ 0 h 56"/>
                <a:gd name="T2" fmla="*/ 22 w 55"/>
                <a:gd name="T3" fmla="*/ 0 h 56"/>
                <a:gd name="T4" fmla="*/ 22 w 55"/>
                <a:gd name="T5" fmla="*/ 24 h 56"/>
                <a:gd name="T6" fmla="*/ 0 w 55"/>
                <a:gd name="T7" fmla="*/ 24 h 56"/>
                <a:gd name="T8" fmla="*/ 0 w 55"/>
                <a:gd name="T9" fmla="*/ 33 h 56"/>
                <a:gd name="T10" fmla="*/ 22 w 55"/>
                <a:gd name="T11" fmla="*/ 33 h 56"/>
                <a:gd name="T12" fmla="*/ 22 w 55"/>
                <a:gd name="T13" fmla="*/ 56 h 56"/>
                <a:gd name="T14" fmla="*/ 32 w 55"/>
                <a:gd name="T15" fmla="*/ 56 h 56"/>
                <a:gd name="T16" fmla="*/ 32 w 55"/>
                <a:gd name="T17" fmla="*/ 33 h 56"/>
                <a:gd name="T18" fmla="*/ 55 w 55"/>
                <a:gd name="T19" fmla="*/ 33 h 56"/>
                <a:gd name="T20" fmla="*/ 55 w 55"/>
                <a:gd name="T21" fmla="*/ 24 h 56"/>
                <a:gd name="T22" fmla="*/ 32 w 55"/>
                <a:gd name="T23" fmla="*/ 24 h 56"/>
                <a:gd name="T24" fmla="*/ 32 w 55"/>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56">
                  <a:moveTo>
                    <a:pt x="32" y="0"/>
                  </a:moveTo>
                  <a:lnTo>
                    <a:pt x="22" y="0"/>
                  </a:lnTo>
                  <a:lnTo>
                    <a:pt x="22" y="24"/>
                  </a:lnTo>
                  <a:lnTo>
                    <a:pt x="0" y="24"/>
                  </a:lnTo>
                  <a:lnTo>
                    <a:pt x="0" y="33"/>
                  </a:lnTo>
                  <a:lnTo>
                    <a:pt x="22" y="33"/>
                  </a:lnTo>
                  <a:lnTo>
                    <a:pt x="22" y="56"/>
                  </a:lnTo>
                  <a:lnTo>
                    <a:pt x="32" y="56"/>
                  </a:lnTo>
                  <a:lnTo>
                    <a:pt x="32" y="33"/>
                  </a:lnTo>
                  <a:lnTo>
                    <a:pt x="55" y="33"/>
                  </a:lnTo>
                  <a:lnTo>
                    <a:pt x="55" y="24"/>
                  </a:lnTo>
                  <a:lnTo>
                    <a:pt x="32" y="24"/>
                  </a:lnTo>
                  <a:lnTo>
                    <a:pt x="32" y="0"/>
                  </a:lnTo>
                  <a:close/>
                </a:path>
              </a:pathLst>
            </a:custGeom>
            <a:solidFill>
              <a:srgbClr val="D4D4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8" name="ïṧlîḑè"/>
            <p:cNvSpPr/>
            <p:nvPr/>
          </p:nvSpPr>
          <p:spPr bwMode="auto">
            <a:xfrm>
              <a:off x="5258594" y="608807"/>
              <a:ext cx="87313" cy="88900"/>
            </a:xfrm>
            <a:custGeom>
              <a:avLst/>
              <a:gdLst>
                <a:gd name="T0" fmla="*/ 32 w 55"/>
                <a:gd name="T1" fmla="*/ 0 h 56"/>
                <a:gd name="T2" fmla="*/ 22 w 55"/>
                <a:gd name="T3" fmla="*/ 0 h 56"/>
                <a:gd name="T4" fmla="*/ 22 w 55"/>
                <a:gd name="T5" fmla="*/ 24 h 56"/>
                <a:gd name="T6" fmla="*/ 0 w 55"/>
                <a:gd name="T7" fmla="*/ 24 h 56"/>
                <a:gd name="T8" fmla="*/ 0 w 55"/>
                <a:gd name="T9" fmla="*/ 33 h 56"/>
                <a:gd name="T10" fmla="*/ 22 w 55"/>
                <a:gd name="T11" fmla="*/ 33 h 56"/>
                <a:gd name="T12" fmla="*/ 22 w 55"/>
                <a:gd name="T13" fmla="*/ 56 h 56"/>
                <a:gd name="T14" fmla="*/ 32 w 55"/>
                <a:gd name="T15" fmla="*/ 56 h 56"/>
                <a:gd name="T16" fmla="*/ 32 w 55"/>
                <a:gd name="T17" fmla="*/ 33 h 56"/>
                <a:gd name="T18" fmla="*/ 55 w 55"/>
                <a:gd name="T19" fmla="*/ 33 h 56"/>
                <a:gd name="T20" fmla="*/ 55 w 55"/>
                <a:gd name="T21" fmla="*/ 24 h 56"/>
                <a:gd name="T22" fmla="*/ 32 w 55"/>
                <a:gd name="T23" fmla="*/ 24 h 56"/>
                <a:gd name="T24" fmla="*/ 32 w 55"/>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56">
                  <a:moveTo>
                    <a:pt x="32" y="0"/>
                  </a:moveTo>
                  <a:lnTo>
                    <a:pt x="22" y="0"/>
                  </a:lnTo>
                  <a:lnTo>
                    <a:pt x="22" y="24"/>
                  </a:lnTo>
                  <a:lnTo>
                    <a:pt x="0" y="24"/>
                  </a:lnTo>
                  <a:lnTo>
                    <a:pt x="0" y="33"/>
                  </a:lnTo>
                  <a:lnTo>
                    <a:pt x="22" y="33"/>
                  </a:lnTo>
                  <a:lnTo>
                    <a:pt x="22" y="56"/>
                  </a:lnTo>
                  <a:lnTo>
                    <a:pt x="32" y="56"/>
                  </a:lnTo>
                  <a:lnTo>
                    <a:pt x="32" y="33"/>
                  </a:lnTo>
                  <a:lnTo>
                    <a:pt x="55" y="33"/>
                  </a:lnTo>
                  <a:lnTo>
                    <a:pt x="55" y="24"/>
                  </a:lnTo>
                  <a:lnTo>
                    <a:pt x="32" y="24"/>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9" name="îṡľïḍè"/>
            <p:cNvSpPr/>
            <p:nvPr/>
          </p:nvSpPr>
          <p:spPr bwMode="auto">
            <a:xfrm>
              <a:off x="3855244" y="1166019"/>
              <a:ext cx="88900" cy="88900"/>
            </a:xfrm>
            <a:custGeom>
              <a:avLst/>
              <a:gdLst>
                <a:gd name="T0" fmla="*/ 34 w 56"/>
                <a:gd name="T1" fmla="*/ 0 h 56"/>
                <a:gd name="T2" fmla="*/ 24 w 56"/>
                <a:gd name="T3" fmla="*/ 0 h 56"/>
                <a:gd name="T4" fmla="*/ 24 w 56"/>
                <a:gd name="T5" fmla="*/ 24 h 56"/>
                <a:gd name="T6" fmla="*/ 0 w 56"/>
                <a:gd name="T7" fmla="*/ 24 h 56"/>
                <a:gd name="T8" fmla="*/ 0 w 56"/>
                <a:gd name="T9" fmla="*/ 33 h 56"/>
                <a:gd name="T10" fmla="*/ 24 w 56"/>
                <a:gd name="T11" fmla="*/ 33 h 56"/>
                <a:gd name="T12" fmla="*/ 24 w 56"/>
                <a:gd name="T13" fmla="*/ 56 h 56"/>
                <a:gd name="T14" fmla="*/ 34 w 56"/>
                <a:gd name="T15" fmla="*/ 56 h 56"/>
                <a:gd name="T16" fmla="*/ 34 w 56"/>
                <a:gd name="T17" fmla="*/ 33 h 56"/>
                <a:gd name="T18" fmla="*/ 56 w 56"/>
                <a:gd name="T19" fmla="*/ 33 h 56"/>
                <a:gd name="T20" fmla="*/ 56 w 56"/>
                <a:gd name="T21" fmla="*/ 24 h 56"/>
                <a:gd name="T22" fmla="*/ 34 w 56"/>
                <a:gd name="T23" fmla="*/ 24 h 56"/>
                <a:gd name="T24" fmla="*/ 34 w 56"/>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6">
                  <a:moveTo>
                    <a:pt x="34" y="0"/>
                  </a:moveTo>
                  <a:lnTo>
                    <a:pt x="24" y="0"/>
                  </a:lnTo>
                  <a:lnTo>
                    <a:pt x="24" y="24"/>
                  </a:lnTo>
                  <a:lnTo>
                    <a:pt x="0" y="24"/>
                  </a:lnTo>
                  <a:lnTo>
                    <a:pt x="0" y="33"/>
                  </a:lnTo>
                  <a:lnTo>
                    <a:pt x="24" y="33"/>
                  </a:lnTo>
                  <a:lnTo>
                    <a:pt x="24" y="56"/>
                  </a:lnTo>
                  <a:lnTo>
                    <a:pt x="34" y="56"/>
                  </a:lnTo>
                  <a:lnTo>
                    <a:pt x="34" y="33"/>
                  </a:lnTo>
                  <a:lnTo>
                    <a:pt x="56" y="33"/>
                  </a:lnTo>
                  <a:lnTo>
                    <a:pt x="56" y="24"/>
                  </a:lnTo>
                  <a:lnTo>
                    <a:pt x="34" y="24"/>
                  </a:lnTo>
                  <a:lnTo>
                    <a:pt x="34" y="0"/>
                  </a:lnTo>
                  <a:close/>
                </a:path>
              </a:pathLst>
            </a:custGeom>
            <a:solidFill>
              <a:srgbClr val="D4D4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0" name="íśḷîḋê"/>
            <p:cNvSpPr/>
            <p:nvPr/>
          </p:nvSpPr>
          <p:spPr bwMode="auto">
            <a:xfrm>
              <a:off x="3855244" y="1166019"/>
              <a:ext cx="88900" cy="88900"/>
            </a:xfrm>
            <a:custGeom>
              <a:avLst/>
              <a:gdLst>
                <a:gd name="T0" fmla="*/ 34 w 56"/>
                <a:gd name="T1" fmla="*/ 0 h 56"/>
                <a:gd name="T2" fmla="*/ 24 w 56"/>
                <a:gd name="T3" fmla="*/ 0 h 56"/>
                <a:gd name="T4" fmla="*/ 24 w 56"/>
                <a:gd name="T5" fmla="*/ 24 h 56"/>
                <a:gd name="T6" fmla="*/ 0 w 56"/>
                <a:gd name="T7" fmla="*/ 24 h 56"/>
                <a:gd name="T8" fmla="*/ 0 w 56"/>
                <a:gd name="T9" fmla="*/ 33 h 56"/>
                <a:gd name="T10" fmla="*/ 24 w 56"/>
                <a:gd name="T11" fmla="*/ 33 h 56"/>
                <a:gd name="T12" fmla="*/ 24 w 56"/>
                <a:gd name="T13" fmla="*/ 56 h 56"/>
                <a:gd name="T14" fmla="*/ 34 w 56"/>
                <a:gd name="T15" fmla="*/ 56 h 56"/>
                <a:gd name="T16" fmla="*/ 34 w 56"/>
                <a:gd name="T17" fmla="*/ 33 h 56"/>
                <a:gd name="T18" fmla="*/ 56 w 56"/>
                <a:gd name="T19" fmla="*/ 33 h 56"/>
                <a:gd name="T20" fmla="*/ 56 w 56"/>
                <a:gd name="T21" fmla="*/ 24 h 56"/>
                <a:gd name="T22" fmla="*/ 34 w 56"/>
                <a:gd name="T23" fmla="*/ 24 h 56"/>
                <a:gd name="T24" fmla="*/ 34 w 56"/>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6">
                  <a:moveTo>
                    <a:pt x="34" y="0"/>
                  </a:moveTo>
                  <a:lnTo>
                    <a:pt x="24" y="0"/>
                  </a:lnTo>
                  <a:lnTo>
                    <a:pt x="24" y="24"/>
                  </a:lnTo>
                  <a:lnTo>
                    <a:pt x="0" y="24"/>
                  </a:lnTo>
                  <a:lnTo>
                    <a:pt x="0" y="33"/>
                  </a:lnTo>
                  <a:lnTo>
                    <a:pt x="24" y="33"/>
                  </a:lnTo>
                  <a:lnTo>
                    <a:pt x="24" y="56"/>
                  </a:lnTo>
                  <a:lnTo>
                    <a:pt x="34" y="56"/>
                  </a:lnTo>
                  <a:lnTo>
                    <a:pt x="34" y="33"/>
                  </a:lnTo>
                  <a:lnTo>
                    <a:pt x="56" y="33"/>
                  </a:lnTo>
                  <a:lnTo>
                    <a:pt x="56" y="24"/>
                  </a:lnTo>
                  <a:lnTo>
                    <a:pt x="34" y="24"/>
                  </a:lnTo>
                  <a:lnTo>
                    <a:pt x="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1" name="îśḷidè"/>
            <p:cNvSpPr/>
            <p:nvPr/>
          </p:nvSpPr>
          <p:spPr bwMode="auto">
            <a:xfrm>
              <a:off x="3286919" y="3242469"/>
              <a:ext cx="87313" cy="88900"/>
            </a:xfrm>
            <a:custGeom>
              <a:avLst/>
              <a:gdLst>
                <a:gd name="T0" fmla="*/ 32 w 55"/>
                <a:gd name="T1" fmla="*/ 0 h 56"/>
                <a:gd name="T2" fmla="*/ 22 w 55"/>
                <a:gd name="T3" fmla="*/ 0 h 56"/>
                <a:gd name="T4" fmla="*/ 22 w 55"/>
                <a:gd name="T5" fmla="*/ 24 h 56"/>
                <a:gd name="T6" fmla="*/ 0 w 55"/>
                <a:gd name="T7" fmla="*/ 24 h 56"/>
                <a:gd name="T8" fmla="*/ 0 w 55"/>
                <a:gd name="T9" fmla="*/ 33 h 56"/>
                <a:gd name="T10" fmla="*/ 22 w 55"/>
                <a:gd name="T11" fmla="*/ 33 h 56"/>
                <a:gd name="T12" fmla="*/ 22 w 55"/>
                <a:gd name="T13" fmla="*/ 56 h 56"/>
                <a:gd name="T14" fmla="*/ 32 w 55"/>
                <a:gd name="T15" fmla="*/ 56 h 56"/>
                <a:gd name="T16" fmla="*/ 32 w 55"/>
                <a:gd name="T17" fmla="*/ 33 h 56"/>
                <a:gd name="T18" fmla="*/ 55 w 55"/>
                <a:gd name="T19" fmla="*/ 33 h 56"/>
                <a:gd name="T20" fmla="*/ 55 w 55"/>
                <a:gd name="T21" fmla="*/ 24 h 56"/>
                <a:gd name="T22" fmla="*/ 32 w 55"/>
                <a:gd name="T23" fmla="*/ 24 h 56"/>
                <a:gd name="T24" fmla="*/ 32 w 55"/>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56">
                  <a:moveTo>
                    <a:pt x="32" y="0"/>
                  </a:moveTo>
                  <a:lnTo>
                    <a:pt x="22" y="0"/>
                  </a:lnTo>
                  <a:lnTo>
                    <a:pt x="22" y="24"/>
                  </a:lnTo>
                  <a:lnTo>
                    <a:pt x="0" y="24"/>
                  </a:lnTo>
                  <a:lnTo>
                    <a:pt x="0" y="33"/>
                  </a:lnTo>
                  <a:lnTo>
                    <a:pt x="22" y="33"/>
                  </a:lnTo>
                  <a:lnTo>
                    <a:pt x="22" y="56"/>
                  </a:lnTo>
                  <a:lnTo>
                    <a:pt x="32" y="56"/>
                  </a:lnTo>
                  <a:lnTo>
                    <a:pt x="32" y="33"/>
                  </a:lnTo>
                  <a:lnTo>
                    <a:pt x="55" y="33"/>
                  </a:lnTo>
                  <a:lnTo>
                    <a:pt x="55" y="24"/>
                  </a:lnTo>
                  <a:lnTo>
                    <a:pt x="32" y="24"/>
                  </a:lnTo>
                  <a:lnTo>
                    <a:pt x="32" y="0"/>
                  </a:lnTo>
                  <a:close/>
                </a:path>
              </a:pathLst>
            </a:custGeom>
            <a:solidFill>
              <a:srgbClr val="D4D4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2" name="î$ļide"/>
            <p:cNvSpPr/>
            <p:nvPr/>
          </p:nvSpPr>
          <p:spPr bwMode="auto">
            <a:xfrm>
              <a:off x="3286919" y="3242469"/>
              <a:ext cx="87313" cy="88900"/>
            </a:xfrm>
            <a:custGeom>
              <a:avLst/>
              <a:gdLst>
                <a:gd name="T0" fmla="*/ 32 w 55"/>
                <a:gd name="T1" fmla="*/ 0 h 56"/>
                <a:gd name="T2" fmla="*/ 22 w 55"/>
                <a:gd name="T3" fmla="*/ 0 h 56"/>
                <a:gd name="T4" fmla="*/ 22 w 55"/>
                <a:gd name="T5" fmla="*/ 24 h 56"/>
                <a:gd name="T6" fmla="*/ 0 w 55"/>
                <a:gd name="T7" fmla="*/ 24 h 56"/>
                <a:gd name="T8" fmla="*/ 0 w 55"/>
                <a:gd name="T9" fmla="*/ 33 h 56"/>
                <a:gd name="T10" fmla="*/ 22 w 55"/>
                <a:gd name="T11" fmla="*/ 33 h 56"/>
                <a:gd name="T12" fmla="*/ 22 w 55"/>
                <a:gd name="T13" fmla="*/ 56 h 56"/>
                <a:gd name="T14" fmla="*/ 32 w 55"/>
                <a:gd name="T15" fmla="*/ 56 h 56"/>
                <a:gd name="T16" fmla="*/ 32 w 55"/>
                <a:gd name="T17" fmla="*/ 33 h 56"/>
                <a:gd name="T18" fmla="*/ 55 w 55"/>
                <a:gd name="T19" fmla="*/ 33 h 56"/>
                <a:gd name="T20" fmla="*/ 55 w 55"/>
                <a:gd name="T21" fmla="*/ 24 h 56"/>
                <a:gd name="T22" fmla="*/ 32 w 55"/>
                <a:gd name="T23" fmla="*/ 24 h 56"/>
                <a:gd name="T24" fmla="*/ 32 w 55"/>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56">
                  <a:moveTo>
                    <a:pt x="32" y="0"/>
                  </a:moveTo>
                  <a:lnTo>
                    <a:pt x="22" y="0"/>
                  </a:lnTo>
                  <a:lnTo>
                    <a:pt x="22" y="24"/>
                  </a:lnTo>
                  <a:lnTo>
                    <a:pt x="0" y="24"/>
                  </a:lnTo>
                  <a:lnTo>
                    <a:pt x="0" y="33"/>
                  </a:lnTo>
                  <a:lnTo>
                    <a:pt x="22" y="33"/>
                  </a:lnTo>
                  <a:lnTo>
                    <a:pt x="22" y="56"/>
                  </a:lnTo>
                  <a:lnTo>
                    <a:pt x="32" y="56"/>
                  </a:lnTo>
                  <a:lnTo>
                    <a:pt x="32" y="33"/>
                  </a:lnTo>
                  <a:lnTo>
                    <a:pt x="55" y="33"/>
                  </a:lnTo>
                  <a:lnTo>
                    <a:pt x="55" y="24"/>
                  </a:lnTo>
                  <a:lnTo>
                    <a:pt x="32" y="24"/>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3" name="iśḻídê"/>
            <p:cNvSpPr/>
            <p:nvPr/>
          </p:nvSpPr>
          <p:spPr bwMode="auto">
            <a:xfrm>
              <a:off x="3204369" y="1762919"/>
              <a:ext cx="88900" cy="87313"/>
            </a:xfrm>
            <a:custGeom>
              <a:avLst/>
              <a:gdLst>
                <a:gd name="T0" fmla="*/ 32 w 56"/>
                <a:gd name="T1" fmla="*/ 0 h 55"/>
                <a:gd name="T2" fmla="*/ 24 w 56"/>
                <a:gd name="T3" fmla="*/ 0 h 55"/>
                <a:gd name="T4" fmla="*/ 24 w 56"/>
                <a:gd name="T5" fmla="*/ 22 h 55"/>
                <a:gd name="T6" fmla="*/ 0 w 56"/>
                <a:gd name="T7" fmla="*/ 22 h 55"/>
                <a:gd name="T8" fmla="*/ 0 w 56"/>
                <a:gd name="T9" fmla="*/ 32 h 55"/>
                <a:gd name="T10" fmla="*/ 24 w 56"/>
                <a:gd name="T11" fmla="*/ 32 h 55"/>
                <a:gd name="T12" fmla="*/ 24 w 56"/>
                <a:gd name="T13" fmla="*/ 55 h 55"/>
                <a:gd name="T14" fmla="*/ 32 w 56"/>
                <a:gd name="T15" fmla="*/ 55 h 55"/>
                <a:gd name="T16" fmla="*/ 32 w 56"/>
                <a:gd name="T17" fmla="*/ 32 h 55"/>
                <a:gd name="T18" fmla="*/ 56 w 56"/>
                <a:gd name="T19" fmla="*/ 32 h 55"/>
                <a:gd name="T20" fmla="*/ 56 w 56"/>
                <a:gd name="T21" fmla="*/ 22 h 55"/>
                <a:gd name="T22" fmla="*/ 32 w 56"/>
                <a:gd name="T23" fmla="*/ 22 h 55"/>
                <a:gd name="T24" fmla="*/ 32 w 56"/>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5">
                  <a:moveTo>
                    <a:pt x="32" y="0"/>
                  </a:moveTo>
                  <a:lnTo>
                    <a:pt x="24" y="0"/>
                  </a:lnTo>
                  <a:lnTo>
                    <a:pt x="24" y="22"/>
                  </a:lnTo>
                  <a:lnTo>
                    <a:pt x="0" y="22"/>
                  </a:lnTo>
                  <a:lnTo>
                    <a:pt x="0" y="32"/>
                  </a:lnTo>
                  <a:lnTo>
                    <a:pt x="24" y="32"/>
                  </a:lnTo>
                  <a:lnTo>
                    <a:pt x="24" y="55"/>
                  </a:lnTo>
                  <a:lnTo>
                    <a:pt x="32" y="55"/>
                  </a:lnTo>
                  <a:lnTo>
                    <a:pt x="32" y="32"/>
                  </a:lnTo>
                  <a:lnTo>
                    <a:pt x="56" y="32"/>
                  </a:lnTo>
                  <a:lnTo>
                    <a:pt x="56" y="22"/>
                  </a:lnTo>
                  <a:lnTo>
                    <a:pt x="32" y="22"/>
                  </a:lnTo>
                  <a:lnTo>
                    <a:pt x="32" y="0"/>
                  </a:lnTo>
                  <a:close/>
                </a:path>
              </a:pathLst>
            </a:custGeom>
            <a:solidFill>
              <a:srgbClr val="D4D4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4" name="í$ľïḑe"/>
            <p:cNvSpPr/>
            <p:nvPr/>
          </p:nvSpPr>
          <p:spPr bwMode="auto">
            <a:xfrm>
              <a:off x="3204369" y="1762919"/>
              <a:ext cx="88900" cy="87313"/>
            </a:xfrm>
            <a:custGeom>
              <a:avLst/>
              <a:gdLst>
                <a:gd name="T0" fmla="*/ 32 w 56"/>
                <a:gd name="T1" fmla="*/ 0 h 55"/>
                <a:gd name="T2" fmla="*/ 24 w 56"/>
                <a:gd name="T3" fmla="*/ 0 h 55"/>
                <a:gd name="T4" fmla="*/ 24 w 56"/>
                <a:gd name="T5" fmla="*/ 22 h 55"/>
                <a:gd name="T6" fmla="*/ 0 w 56"/>
                <a:gd name="T7" fmla="*/ 22 h 55"/>
                <a:gd name="T8" fmla="*/ 0 w 56"/>
                <a:gd name="T9" fmla="*/ 32 h 55"/>
                <a:gd name="T10" fmla="*/ 24 w 56"/>
                <a:gd name="T11" fmla="*/ 32 h 55"/>
                <a:gd name="T12" fmla="*/ 24 w 56"/>
                <a:gd name="T13" fmla="*/ 55 h 55"/>
                <a:gd name="T14" fmla="*/ 32 w 56"/>
                <a:gd name="T15" fmla="*/ 55 h 55"/>
                <a:gd name="T16" fmla="*/ 32 w 56"/>
                <a:gd name="T17" fmla="*/ 32 h 55"/>
                <a:gd name="T18" fmla="*/ 56 w 56"/>
                <a:gd name="T19" fmla="*/ 32 h 55"/>
                <a:gd name="T20" fmla="*/ 56 w 56"/>
                <a:gd name="T21" fmla="*/ 22 h 55"/>
                <a:gd name="T22" fmla="*/ 32 w 56"/>
                <a:gd name="T23" fmla="*/ 22 h 55"/>
                <a:gd name="T24" fmla="*/ 32 w 56"/>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5">
                  <a:moveTo>
                    <a:pt x="32" y="0"/>
                  </a:moveTo>
                  <a:lnTo>
                    <a:pt x="24" y="0"/>
                  </a:lnTo>
                  <a:lnTo>
                    <a:pt x="24" y="22"/>
                  </a:lnTo>
                  <a:lnTo>
                    <a:pt x="0" y="22"/>
                  </a:lnTo>
                  <a:lnTo>
                    <a:pt x="0" y="32"/>
                  </a:lnTo>
                  <a:lnTo>
                    <a:pt x="24" y="32"/>
                  </a:lnTo>
                  <a:lnTo>
                    <a:pt x="24" y="55"/>
                  </a:lnTo>
                  <a:lnTo>
                    <a:pt x="32" y="55"/>
                  </a:lnTo>
                  <a:lnTo>
                    <a:pt x="32" y="32"/>
                  </a:lnTo>
                  <a:lnTo>
                    <a:pt x="56" y="32"/>
                  </a:lnTo>
                  <a:lnTo>
                    <a:pt x="56" y="22"/>
                  </a:lnTo>
                  <a:lnTo>
                    <a:pt x="32" y="22"/>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5" name="îṡliḍe"/>
            <p:cNvSpPr/>
            <p:nvPr/>
          </p:nvSpPr>
          <p:spPr bwMode="auto">
            <a:xfrm>
              <a:off x="2848769" y="2778919"/>
              <a:ext cx="87313" cy="88900"/>
            </a:xfrm>
            <a:custGeom>
              <a:avLst/>
              <a:gdLst>
                <a:gd name="T0" fmla="*/ 32 w 55"/>
                <a:gd name="T1" fmla="*/ 0 h 56"/>
                <a:gd name="T2" fmla="*/ 22 w 55"/>
                <a:gd name="T3" fmla="*/ 0 h 56"/>
                <a:gd name="T4" fmla="*/ 22 w 55"/>
                <a:gd name="T5" fmla="*/ 24 h 56"/>
                <a:gd name="T6" fmla="*/ 0 w 55"/>
                <a:gd name="T7" fmla="*/ 24 h 56"/>
                <a:gd name="T8" fmla="*/ 0 w 55"/>
                <a:gd name="T9" fmla="*/ 33 h 56"/>
                <a:gd name="T10" fmla="*/ 22 w 55"/>
                <a:gd name="T11" fmla="*/ 33 h 56"/>
                <a:gd name="T12" fmla="*/ 22 w 55"/>
                <a:gd name="T13" fmla="*/ 56 h 56"/>
                <a:gd name="T14" fmla="*/ 32 w 55"/>
                <a:gd name="T15" fmla="*/ 56 h 56"/>
                <a:gd name="T16" fmla="*/ 32 w 55"/>
                <a:gd name="T17" fmla="*/ 33 h 56"/>
                <a:gd name="T18" fmla="*/ 55 w 55"/>
                <a:gd name="T19" fmla="*/ 33 h 56"/>
                <a:gd name="T20" fmla="*/ 55 w 55"/>
                <a:gd name="T21" fmla="*/ 24 h 56"/>
                <a:gd name="T22" fmla="*/ 32 w 55"/>
                <a:gd name="T23" fmla="*/ 24 h 56"/>
                <a:gd name="T24" fmla="*/ 32 w 55"/>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56">
                  <a:moveTo>
                    <a:pt x="32" y="0"/>
                  </a:moveTo>
                  <a:lnTo>
                    <a:pt x="22" y="0"/>
                  </a:lnTo>
                  <a:lnTo>
                    <a:pt x="22" y="24"/>
                  </a:lnTo>
                  <a:lnTo>
                    <a:pt x="0" y="24"/>
                  </a:lnTo>
                  <a:lnTo>
                    <a:pt x="0" y="33"/>
                  </a:lnTo>
                  <a:lnTo>
                    <a:pt x="22" y="33"/>
                  </a:lnTo>
                  <a:lnTo>
                    <a:pt x="22" y="56"/>
                  </a:lnTo>
                  <a:lnTo>
                    <a:pt x="32" y="56"/>
                  </a:lnTo>
                  <a:lnTo>
                    <a:pt x="32" y="33"/>
                  </a:lnTo>
                  <a:lnTo>
                    <a:pt x="55" y="33"/>
                  </a:lnTo>
                  <a:lnTo>
                    <a:pt x="55" y="24"/>
                  </a:lnTo>
                  <a:lnTo>
                    <a:pt x="32" y="24"/>
                  </a:lnTo>
                  <a:lnTo>
                    <a:pt x="32" y="0"/>
                  </a:lnTo>
                  <a:close/>
                </a:path>
              </a:pathLst>
            </a:custGeom>
            <a:solidFill>
              <a:srgbClr val="D4D4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6" name="îṥḷide"/>
            <p:cNvSpPr/>
            <p:nvPr/>
          </p:nvSpPr>
          <p:spPr bwMode="auto">
            <a:xfrm>
              <a:off x="2848769" y="2778919"/>
              <a:ext cx="87313" cy="88900"/>
            </a:xfrm>
            <a:custGeom>
              <a:avLst/>
              <a:gdLst>
                <a:gd name="T0" fmla="*/ 32 w 55"/>
                <a:gd name="T1" fmla="*/ 0 h 56"/>
                <a:gd name="T2" fmla="*/ 22 w 55"/>
                <a:gd name="T3" fmla="*/ 0 h 56"/>
                <a:gd name="T4" fmla="*/ 22 w 55"/>
                <a:gd name="T5" fmla="*/ 24 h 56"/>
                <a:gd name="T6" fmla="*/ 0 w 55"/>
                <a:gd name="T7" fmla="*/ 24 h 56"/>
                <a:gd name="T8" fmla="*/ 0 w 55"/>
                <a:gd name="T9" fmla="*/ 33 h 56"/>
                <a:gd name="T10" fmla="*/ 22 w 55"/>
                <a:gd name="T11" fmla="*/ 33 h 56"/>
                <a:gd name="T12" fmla="*/ 22 w 55"/>
                <a:gd name="T13" fmla="*/ 56 h 56"/>
                <a:gd name="T14" fmla="*/ 32 w 55"/>
                <a:gd name="T15" fmla="*/ 56 h 56"/>
                <a:gd name="T16" fmla="*/ 32 w 55"/>
                <a:gd name="T17" fmla="*/ 33 h 56"/>
                <a:gd name="T18" fmla="*/ 55 w 55"/>
                <a:gd name="T19" fmla="*/ 33 h 56"/>
                <a:gd name="T20" fmla="*/ 55 w 55"/>
                <a:gd name="T21" fmla="*/ 24 h 56"/>
                <a:gd name="T22" fmla="*/ 32 w 55"/>
                <a:gd name="T23" fmla="*/ 24 h 56"/>
                <a:gd name="T24" fmla="*/ 32 w 55"/>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56">
                  <a:moveTo>
                    <a:pt x="32" y="0"/>
                  </a:moveTo>
                  <a:lnTo>
                    <a:pt x="22" y="0"/>
                  </a:lnTo>
                  <a:lnTo>
                    <a:pt x="22" y="24"/>
                  </a:lnTo>
                  <a:lnTo>
                    <a:pt x="0" y="24"/>
                  </a:lnTo>
                  <a:lnTo>
                    <a:pt x="0" y="33"/>
                  </a:lnTo>
                  <a:lnTo>
                    <a:pt x="22" y="33"/>
                  </a:lnTo>
                  <a:lnTo>
                    <a:pt x="22" y="56"/>
                  </a:lnTo>
                  <a:lnTo>
                    <a:pt x="32" y="56"/>
                  </a:lnTo>
                  <a:lnTo>
                    <a:pt x="32" y="33"/>
                  </a:lnTo>
                  <a:lnTo>
                    <a:pt x="55" y="33"/>
                  </a:lnTo>
                  <a:lnTo>
                    <a:pt x="55" y="24"/>
                  </a:lnTo>
                  <a:lnTo>
                    <a:pt x="32" y="24"/>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7" name="íṧḷïdè"/>
            <p:cNvSpPr/>
            <p:nvPr/>
          </p:nvSpPr>
          <p:spPr bwMode="auto">
            <a:xfrm>
              <a:off x="9255919" y="2256632"/>
              <a:ext cx="87313" cy="85725"/>
            </a:xfrm>
            <a:custGeom>
              <a:avLst/>
              <a:gdLst>
                <a:gd name="T0" fmla="*/ 32 w 55"/>
                <a:gd name="T1" fmla="*/ 0 h 54"/>
                <a:gd name="T2" fmla="*/ 22 w 55"/>
                <a:gd name="T3" fmla="*/ 0 h 54"/>
                <a:gd name="T4" fmla="*/ 22 w 55"/>
                <a:gd name="T5" fmla="*/ 22 h 54"/>
                <a:gd name="T6" fmla="*/ 0 w 55"/>
                <a:gd name="T7" fmla="*/ 22 h 54"/>
                <a:gd name="T8" fmla="*/ 0 w 55"/>
                <a:gd name="T9" fmla="*/ 31 h 54"/>
                <a:gd name="T10" fmla="*/ 22 w 55"/>
                <a:gd name="T11" fmla="*/ 31 h 54"/>
                <a:gd name="T12" fmla="*/ 22 w 55"/>
                <a:gd name="T13" fmla="*/ 54 h 54"/>
                <a:gd name="T14" fmla="*/ 32 w 55"/>
                <a:gd name="T15" fmla="*/ 54 h 54"/>
                <a:gd name="T16" fmla="*/ 32 w 55"/>
                <a:gd name="T17" fmla="*/ 31 h 54"/>
                <a:gd name="T18" fmla="*/ 55 w 55"/>
                <a:gd name="T19" fmla="*/ 31 h 54"/>
                <a:gd name="T20" fmla="*/ 55 w 55"/>
                <a:gd name="T21" fmla="*/ 22 h 54"/>
                <a:gd name="T22" fmla="*/ 32 w 55"/>
                <a:gd name="T23" fmla="*/ 22 h 54"/>
                <a:gd name="T24" fmla="*/ 32 w 55"/>
                <a:gd name="T2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54">
                  <a:moveTo>
                    <a:pt x="32" y="0"/>
                  </a:moveTo>
                  <a:lnTo>
                    <a:pt x="22" y="0"/>
                  </a:lnTo>
                  <a:lnTo>
                    <a:pt x="22" y="22"/>
                  </a:lnTo>
                  <a:lnTo>
                    <a:pt x="0" y="22"/>
                  </a:lnTo>
                  <a:lnTo>
                    <a:pt x="0" y="31"/>
                  </a:lnTo>
                  <a:lnTo>
                    <a:pt x="22" y="31"/>
                  </a:lnTo>
                  <a:lnTo>
                    <a:pt x="22" y="54"/>
                  </a:lnTo>
                  <a:lnTo>
                    <a:pt x="32" y="54"/>
                  </a:lnTo>
                  <a:lnTo>
                    <a:pt x="32" y="31"/>
                  </a:lnTo>
                  <a:lnTo>
                    <a:pt x="55" y="31"/>
                  </a:lnTo>
                  <a:lnTo>
                    <a:pt x="55" y="22"/>
                  </a:lnTo>
                  <a:lnTo>
                    <a:pt x="32" y="22"/>
                  </a:lnTo>
                  <a:lnTo>
                    <a:pt x="32" y="0"/>
                  </a:lnTo>
                  <a:close/>
                </a:path>
              </a:pathLst>
            </a:custGeom>
            <a:solidFill>
              <a:srgbClr val="D4D4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8" name="ïṩliḑe"/>
            <p:cNvSpPr/>
            <p:nvPr/>
          </p:nvSpPr>
          <p:spPr bwMode="auto">
            <a:xfrm>
              <a:off x="9255919" y="2256632"/>
              <a:ext cx="87313" cy="85725"/>
            </a:xfrm>
            <a:custGeom>
              <a:avLst/>
              <a:gdLst>
                <a:gd name="T0" fmla="*/ 32 w 55"/>
                <a:gd name="T1" fmla="*/ 0 h 54"/>
                <a:gd name="T2" fmla="*/ 22 w 55"/>
                <a:gd name="T3" fmla="*/ 0 h 54"/>
                <a:gd name="T4" fmla="*/ 22 w 55"/>
                <a:gd name="T5" fmla="*/ 22 h 54"/>
                <a:gd name="T6" fmla="*/ 0 w 55"/>
                <a:gd name="T7" fmla="*/ 22 h 54"/>
                <a:gd name="T8" fmla="*/ 0 w 55"/>
                <a:gd name="T9" fmla="*/ 31 h 54"/>
                <a:gd name="T10" fmla="*/ 22 w 55"/>
                <a:gd name="T11" fmla="*/ 31 h 54"/>
                <a:gd name="T12" fmla="*/ 22 w 55"/>
                <a:gd name="T13" fmla="*/ 54 h 54"/>
                <a:gd name="T14" fmla="*/ 32 w 55"/>
                <a:gd name="T15" fmla="*/ 54 h 54"/>
                <a:gd name="T16" fmla="*/ 32 w 55"/>
                <a:gd name="T17" fmla="*/ 31 h 54"/>
                <a:gd name="T18" fmla="*/ 55 w 55"/>
                <a:gd name="T19" fmla="*/ 31 h 54"/>
                <a:gd name="T20" fmla="*/ 55 w 55"/>
                <a:gd name="T21" fmla="*/ 22 h 54"/>
                <a:gd name="T22" fmla="*/ 32 w 55"/>
                <a:gd name="T23" fmla="*/ 22 h 54"/>
                <a:gd name="T24" fmla="*/ 32 w 55"/>
                <a:gd name="T2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54">
                  <a:moveTo>
                    <a:pt x="32" y="0"/>
                  </a:moveTo>
                  <a:lnTo>
                    <a:pt x="22" y="0"/>
                  </a:lnTo>
                  <a:lnTo>
                    <a:pt x="22" y="22"/>
                  </a:lnTo>
                  <a:lnTo>
                    <a:pt x="0" y="22"/>
                  </a:lnTo>
                  <a:lnTo>
                    <a:pt x="0" y="31"/>
                  </a:lnTo>
                  <a:lnTo>
                    <a:pt x="22" y="31"/>
                  </a:lnTo>
                  <a:lnTo>
                    <a:pt x="22" y="54"/>
                  </a:lnTo>
                  <a:lnTo>
                    <a:pt x="32" y="54"/>
                  </a:lnTo>
                  <a:lnTo>
                    <a:pt x="32" y="31"/>
                  </a:lnTo>
                  <a:lnTo>
                    <a:pt x="55" y="31"/>
                  </a:lnTo>
                  <a:lnTo>
                    <a:pt x="55" y="22"/>
                  </a:lnTo>
                  <a:lnTo>
                    <a:pt x="32" y="22"/>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9" name="íšlïde"/>
            <p:cNvSpPr/>
            <p:nvPr/>
          </p:nvSpPr>
          <p:spPr bwMode="auto">
            <a:xfrm>
              <a:off x="7985919" y="2729707"/>
              <a:ext cx="88900" cy="87313"/>
            </a:xfrm>
            <a:custGeom>
              <a:avLst/>
              <a:gdLst>
                <a:gd name="T0" fmla="*/ 33 w 56"/>
                <a:gd name="T1" fmla="*/ 0 h 55"/>
                <a:gd name="T2" fmla="*/ 24 w 56"/>
                <a:gd name="T3" fmla="*/ 0 h 55"/>
                <a:gd name="T4" fmla="*/ 24 w 56"/>
                <a:gd name="T5" fmla="*/ 22 h 55"/>
                <a:gd name="T6" fmla="*/ 0 w 56"/>
                <a:gd name="T7" fmla="*/ 22 h 55"/>
                <a:gd name="T8" fmla="*/ 0 w 56"/>
                <a:gd name="T9" fmla="*/ 31 h 55"/>
                <a:gd name="T10" fmla="*/ 24 w 56"/>
                <a:gd name="T11" fmla="*/ 31 h 55"/>
                <a:gd name="T12" fmla="*/ 24 w 56"/>
                <a:gd name="T13" fmla="*/ 55 h 55"/>
                <a:gd name="T14" fmla="*/ 33 w 56"/>
                <a:gd name="T15" fmla="*/ 55 h 55"/>
                <a:gd name="T16" fmla="*/ 33 w 56"/>
                <a:gd name="T17" fmla="*/ 31 h 55"/>
                <a:gd name="T18" fmla="*/ 56 w 56"/>
                <a:gd name="T19" fmla="*/ 31 h 55"/>
                <a:gd name="T20" fmla="*/ 56 w 56"/>
                <a:gd name="T21" fmla="*/ 22 h 55"/>
                <a:gd name="T22" fmla="*/ 33 w 56"/>
                <a:gd name="T23" fmla="*/ 22 h 55"/>
                <a:gd name="T24" fmla="*/ 33 w 56"/>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5">
                  <a:moveTo>
                    <a:pt x="33" y="0"/>
                  </a:moveTo>
                  <a:lnTo>
                    <a:pt x="24" y="0"/>
                  </a:lnTo>
                  <a:lnTo>
                    <a:pt x="24" y="22"/>
                  </a:lnTo>
                  <a:lnTo>
                    <a:pt x="0" y="22"/>
                  </a:lnTo>
                  <a:lnTo>
                    <a:pt x="0" y="31"/>
                  </a:lnTo>
                  <a:lnTo>
                    <a:pt x="24" y="31"/>
                  </a:lnTo>
                  <a:lnTo>
                    <a:pt x="24" y="55"/>
                  </a:lnTo>
                  <a:lnTo>
                    <a:pt x="33" y="55"/>
                  </a:lnTo>
                  <a:lnTo>
                    <a:pt x="33" y="31"/>
                  </a:lnTo>
                  <a:lnTo>
                    <a:pt x="56" y="31"/>
                  </a:lnTo>
                  <a:lnTo>
                    <a:pt x="56" y="22"/>
                  </a:lnTo>
                  <a:lnTo>
                    <a:pt x="33" y="22"/>
                  </a:lnTo>
                  <a:lnTo>
                    <a:pt x="33" y="0"/>
                  </a:lnTo>
                  <a:close/>
                </a:path>
              </a:pathLst>
            </a:custGeom>
            <a:solidFill>
              <a:srgbClr val="D4D4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0" name="íṣḷîḍé"/>
            <p:cNvSpPr/>
            <p:nvPr/>
          </p:nvSpPr>
          <p:spPr bwMode="auto">
            <a:xfrm>
              <a:off x="7985919" y="2729707"/>
              <a:ext cx="88900" cy="87313"/>
            </a:xfrm>
            <a:custGeom>
              <a:avLst/>
              <a:gdLst>
                <a:gd name="T0" fmla="*/ 33 w 56"/>
                <a:gd name="T1" fmla="*/ 0 h 55"/>
                <a:gd name="T2" fmla="*/ 24 w 56"/>
                <a:gd name="T3" fmla="*/ 0 h 55"/>
                <a:gd name="T4" fmla="*/ 24 w 56"/>
                <a:gd name="T5" fmla="*/ 22 h 55"/>
                <a:gd name="T6" fmla="*/ 0 w 56"/>
                <a:gd name="T7" fmla="*/ 22 h 55"/>
                <a:gd name="T8" fmla="*/ 0 w 56"/>
                <a:gd name="T9" fmla="*/ 31 h 55"/>
                <a:gd name="T10" fmla="*/ 24 w 56"/>
                <a:gd name="T11" fmla="*/ 31 h 55"/>
                <a:gd name="T12" fmla="*/ 24 w 56"/>
                <a:gd name="T13" fmla="*/ 55 h 55"/>
                <a:gd name="T14" fmla="*/ 33 w 56"/>
                <a:gd name="T15" fmla="*/ 55 h 55"/>
                <a:gd name="T16" fmla="*/ 33 w 56"/>
                <a:gd name="T17" fmla="*/ 31 h 55"/>
                <a:gd name="T18" fmla="*/ 56 w 56"/>
                <a:gd name="T19" fmla="*/ 31 h 55"/>
                <a:gd name="T20" fmla="*/ 56 w 56"/>
                <a:gd name="T21" fmla="*/ 22 h 55"/>
                <a:gd name="T22" fmla="*/ 33 w 56"/>
                <a:gd name="T23" fmla="*/ 22 h 55"/>
                <a:gd name="T24" fmla="*/ 33 w 56"/>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5">
                  <a:moveTo>
                    <a:pt x="33" y="0"/>
                  </a:moveTo>
                  <a:lnTo>
                    <a:pt x="24" y="0"/>
                  </a:lnTo>
                  <a:lnTo>
                    <a:pt x="24" y="22"/>
                  </a:lnTo>
                  <a:lnTo>
                    <a:pt x="0" y="22"/>
                  </a:lnTo>
                  <a:lnTo>
                    <a:pt x="0" y="31"/>
                  </a:lnTo>
                  <a:lnTo>
                    <a:pt x="24" y="31"/>
                  </a:lnTo>
                  <a:lnTo>
                    <a:pt x="24" y="55"/>
                  </a:lnTo>
                  <a:lnTo>
                    <a:pt x="33" y="55"/>
                  </a:lnTo>
                  <a:lnTo>
                    <a:pt x="33" y="31"/>
                  </a:lnTo>
                  <a:lnTo>
                    <a:pt x="56" y="31"/>
                  </a:lnTo>
                  <a:lnTo>
                    <a:pt x="56" y="22"/>
                  </a:lnTo>
                  <a:lnTo>
                    <a:pt x="33" y="22"/>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1" name="iśḷíḓé"/>
            <p:cNvSpPr/>
            <p:nvPr/>
          </p:nvSpPr>
          <p:spPr bwMode="auto">
            <a:xfrm>
              <a:off x="6901657" y="1451769"/>
              <a:ext cx="88900" cy="88900"/>
            </a:xfrm>
            <a:custGeom>
              <a:avLst/>
              <a:gdLst>
                <a:gd name="T0" fmla="*/ 33 w 56"/>
                <a:gd name="T1" fmla="*/ 0 h 56"/>
                <a:gd name="T2" fmla="*/ 24 w 56"/>
                <a:gd name="T3" fmla="*/ 0 h 56"/>
                <a:gd name="T4" fmla="*/ 24 w 56"/>
                <a:gd name="T5" fmla="*/ 24 h 56"/>
                <a:gd name="T6" fmla="*/ 0 w 56"/>
                <a:gd name="T7" fmla="*/ 24 h 56"/>
                <a:gd name="T8" fmla="*/ 0 w 56"/>
                <a:gd name="T9" fmla="*/ 33 h 56"/>
                <a:gd name="T10" fmla="*/ 24 w 56"/>
                <a:gd name="T11" fmla="*/ 33 h 56"/>
                <a:gd name="T12" fmla="*/ 24 w 56"/>
                <a:gd name="T13" fmla="*/ 56 h 56"/>
                <a:gd name="T14" fmla="*/ 33 w 56"/>
                <a:gd name="T15" fmla="*/ 56 h 56"/>
                <a:gd name="T16" fmla="*/ 33 w 56"/>
                <a:gd name="T17" fmla="*/ 33 h 56"/>
                <a:gd name="T18" fmla="*/ 56 w 56"/>
                <a:gd name="T19" fmla="*/ 33 h 56"/>
                <a:gd name="T20" fmla="*/ 56 w 56"/>
                <a:gd name="T21" fmla="*/ 24 h 56"/>
                <a:gd name="T22" fmla="*/ 33 w 56"/>
                <a:gd name="T23" fmla="*/ 24 h 56"/>
                <a:gd name="T24" fmla="*/ 33 w 56"/>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6">
                  <a:moveTo>
                    <a:pt x="33" y="0"/>
                  </a:moveTo>
                  <a:lnTo>
                    <a:pt x="24" y="0"/>
                  </a:lnTo>
                  <a:lnTo>
                    <a:pt x="24" y="24"/>
                  </a:lnTo>
                  <a:lnTo>
                    <a:pt x="0" y="24"/>
                  </a:lnTo>
                  <a:lnTo>
                    <a:pt x="0" y="33"/>
                  </a:lnTo>
                  <a:lnTo>
                    <a:pt x="24" y="33"/>
                  </a:lnTo>
                  <a:lnTo>
                    <a:pt x="24" y="56"/>
                  </a:lnTo>
                  <a:lnTo>
                    <a:pt x="33" y="56"/>
                  </a:lnTo>
                  <a:lnTo>
                    <a:pt x="33" y="33"/>
                  </a:lnTo>
                  <a:lnTo>
                    <a:pt x="56" y="33"/>
                  </a:lnTo>
                  <a:lnTo>
                    <a:pt x="56" y="24"/>
                  </a:lnTo>
                  <a:lnTo>
                    <a:pt x="33" y="24"/>
                  </a:lnTo>
                  <a:lnTo>
                    <a:pt x="33" y="0"/>
                  </a:lnTo>
                  <a:close/>
                </a:path>
              </a:pathLst>
            </a:custGeom>
            <a:solidFill>
              <a:srgbClr val="D4D4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2" name="íşlïdè"/>
            <p:cNvSpPr/>
            <p:nvPr/>
          </p:nvSpPr>
          <p:spPr bwMode="auto">
            <a:xfrm>
              <a:off x="6901657" y="1451769"/>
              <a:ext cx="88900" cy="88900"/>
            </a:xfrm>
            <a:custGeom>
              <a:avLst/>
              <a:gdLst>
                <a:gd name="T0" fmla="*/ 33 w 56"/>
                <a:gd name="T1" fmla="*/ 0 h 56"/>
                <a:gd name="T2" fmla="*/ 24 w 56"/>
                <a:gd name="T3" fmla="*/ 0 h 56"/>
                <a:gd name="T4" fmla="*/ 24 w 56"/>
                <a:gd name="T5" fmla="*/ 24 h 56"/>
                <a:gd name="T6" fmla="*/ 0 w 56"/>
                <a:gd name="T7" fmla="*/ 24 h 56"/>
                <a:gd name="T8" fmla="*/ 0 w 56"/>
                <a:gd name="T9" fmla="*/ 33 h 56"/>
                <a:gd name="T10" fmla="*/ 24 w 56"/>
                <a:gd name="T11" fmla="*/ 33 h 56"/>
                <a:gd name="T12" fmla="*/ 24 w 56"/>
                <a:gd name="T13" fmla="*/ 56 h 56"/>
                <a:gd name="T14" fmla="*/ 33 w 56"/>
                <a:gd name="T15" fmla="*/ 56 h 56"/>
                <a:gd name="T16" fmla="*/ 33 w 56"/>
                <a:gd name="T17" fmla="*/ 33 h 56"/>
                <a:gd name="T18" fmla="*/ 56 w 56"/>
                <a:gd name="T19" fmla="*/ 33 h 56"/>
                <a:gd name="T20" fmla="*/ 56 w 56"/>
                <a:gd name="T21" fmla="*/ 24 h 56"/>
                <a:gd name="T22" fmla="*/ 33 w 56"/>
                <a:gd name="T23" fmla="*/ 24 h 56"/>
                <a:gd name="T24" fmla="*/ 33 w 56"/>
                <a:gd name="T2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56">
                  <a:moveTo>
                    <a:pt x="33" y="0"/>
                  </a:moveTo>
                  <a:lnTo>
                    <a:pt x="24" y="0"/>
                  </a:lnTo>
                  <a:lnTo>
                    <a:pt x="24" y="24"/>
                  </a:lnTo>
                  <a:lnTo>
                    <a:pt x="0" y="24"/>
                  </a:lnTo>
                  <a:lnTo>
                    <a:pt x="0" y="33"/>
                  </a:lnTo>
                  <a:lnTo>
                    <a:pt x="24" y="33"/>
                  </a:lnTo>
                  <a:lnTo>
                    <a:pt x="24" y="56"/>
                  </a:lnTo>
                  <a:lnTo>
                    <a:pt x="33" y="56"/>
                  </a:lnTo>
                  <a:lnTo>
                    <a:pt x="33" y="33"/>
                  </a:lnTo>
                  <a:lnTo>
                    <a:pt x="56" y="33"/>
                  </a:lnTo>
                  <a:lnTo>
                    <a:pt x="56" y="24"/>
                  </a:lnTo>
                  <a:lnTo>
                    <a:pt x="33" y="24"/>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3" name="iṥ1ide"/>
            <p:cNvSpPr/>
            <p:nvPr/>
          </p:nvSpPr>
          <p:spPr bwMode="auto">
            <a:xfrm>
              <a:off x="4882357" y="3567907"/>
              <a:ext cx="774700" cy="1463675"/>
            </a:xfrm>
            <a:custGeom>
              <a:avLst/>
              <a:gdLst>
                <a:gd name="T0" fmla="*/ 14 w 414"/>
                <a:gd name="T1" fmla="*/ 0 h 783"/>
                <a:gd name="T2" fmla="*/ 62 w 414"/>
                <a:gd name="T3" fmla="*/ 123 h 783"/>
                <a:gd name="T4" fmla="*/ 116 w 414"/>
                <a:gd name="T5" fmla="*/ 149 h 783"/>
                <a:gd name="T6" fmla="*/ 178 w 414"/>
                <a:gd name="T7" fmla="*/ 259 h 783"/>
                <a:gd name="T8" fmla="*/ 192 w 414"/>
                <a:gd name="T9" fmla="*/ 406 h 783"/>
                <a:gd name="T10" fmla="*/ 156 w 414"/>
                <a:gd name="T11" fmla="*/ 494 h 783"/>
                <a:gd name="T12" fmla="*/ 148 w 414"/>
                <a:gd name="T13" fmla="*/ 572 h 783"/>
                <a:gd name="T14" fmla="*/ 162 w 414"/>
                <a:gd name="T15" fmla="*/ 611 h 783"/>
                <a:gd name="T16" fmla="*/ 218 w 414"/>
                <a:gd name="T17" fmla="*/ 631 h 783"/>
                <a:gd name="T18" fmla="*/ 414 w 414"/>
                <a:gd name="T19" fmla="*/ 7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4" h="783">
                  <a:moveTo>
                    <a:pt x="14" y="0"/>
                  </a:moveTo>
                  <a:cubicBezTo>
                    <a:pt x="0" y="46"/>
                    <a:pt x="21" y="99"/>
                    <a:pt x="62" y="123"/>
                  </a:cubicBezTo>
                  <a:cubicBezTo>
                    <a:pt x="79" y="133"/>
                    <a:pt x="99" y="138"/>
                    <a:pt x="116" y="149"/>
                  </a:cubicBezTo>
                  <a:cubicBezTo>
                    <a:pt x="152" y="173"/>
                    <a:pt x="166" y="218"/>
                    <a:pt x="178" y="259"/>
                  </a:cubicBezTo>
                  <a:cubicBezTo>
                    <a:pt x="191" y="307"/>
                    <a:pt x="205" y="358"/>
                    <a:pt x="192" y="406"/>
                  </a:cubicBezTo>
                  <a:cubicBezTo>
                    <a:pt x="184" y="436"/>
                    <a:pt x="167" y="464"/>
                    <a:pt x="156" y="494"/>
                  </a:cubicBezTo>
                  <a:cubicBezTo>
                    <a:pt x="148" y="519"/>
                    <a:pt x="145" y="545"/>
                    <a:pt x="148" y="572"/>
                  </a:cubicBezTo>
                  <a:cubicBezTo>
                    <a:pt x="149" y="586"/>
                    <a:pt x="153" y="600"/>
                    <a:pt x="162" y="611"/>
                  </a:cubicBezTo>
                  <a:cubicBezTo>
                    <a:pt x="176" y="626"/>
                    <a:pt x="198" y="628"/>
                    <a:pt x="218" y="631"/>
                  </a:cubicBezTo>
                  <a:cubicBezTo>
                    <a:pt x="304" y="648"/>
                    <a:pt x="377" y="704"/>
                    <a:pt x="414" y="783"/>
                  </a:cubicBezTo>
                </a:path>
              </a:pathLst>
            </a:custGeom>
            <a:noFill/>
            <a:ln w="14288" cap="flat">
              <a:solidFill>
                <a:srgbClr val="535461"/>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584" name="ïśḷiḓé"/>
            <p:cNvSpPr/>
            <p:nvPr/>
          </p:nvSpPr>
          <p:spPr bwMode="auto">
            <a:xfrm>
              <a:off x="5761832" y="2934494"/>
              <a:ext cx="250825" cy="2103438"/>
            </a:xfrm>
            <a:custGeom>
              <a:avLst/>
              <a:gdLst>
                <a:gd name="T0" fmla="*/ 78 w 134"/>
                <a:gd name="T1" fmla="*/ 0 h 1125"/>
                <a:gd name="T2" fmla="*/ 5 w 134"/>
                <a:gd name="T3" fmla="*/ 159 h 1125"/>
                <a:gd name="T4" fmla="*/ 105 w 134"/>
                <a:gd name="T5" fmla="*/ 409 h 1125"/>
                <a:gd name="T6" fmla="*/ 95 w 134"/>
                <a:gd name="T7" fmla="*/ 642 h 1125"/>
                <a:gd name="T8" fmla="*/ 60 w 134"/>
                <a:gd name="T9" fmla="*/ 743 h 1125"/>
                <a:gd name="T10" fmla="*/ 81 w 134"/>
                <a:gd name="T11" fmla="*/ 806 h 1125"/>
                <a:gd name="T12" fmla="*/ 61 w 134"/>
                <a:gd name="T13" fmla="*/ 1125 h 1125"/>
              </a:gdLst>
              <a:ahLst/>
              <a:cxnLst>
                <a:cxn ang="0">
                  <a:pos x="T0" y="T1"/>
                </a:cxn>
                <a:cxn ang="0">
                  <a:pos x="T2" y="T3"/>
                </a:cxn>
                <a:cxn ang="0">
                  <a:pos x="T4" y="T5"/>
                </a:cxn>
                <a:cxn ang="0">
                  <a:pos x="T6" y="T7"/>
                </a:cxn>
                <a:cxn ang="0">
                  <a:pos x="T8" y="T9"/>
                </a:cxn>
                <a:cxn ang="0">
                  <a:pos x="T10" y="T11"/>
                </a:cxn>
                <a:cxn ang="0">
                  <a:pos x="T12" y="T13"/>
                </a:cxn>
              </a:cxnLst>
              <a:rect l="0" t="0" r="r" b="b"/>
              <a:pathLst>
                <a:path w="134" h="1125">
                  <a:moveTo>
                    <a:pt x="78" y="0"/>
                  </a:moveTo>
                  <a:cubicBezTo>
                    <a:pt x="44" y="48"/>
                    <a:pt x="8" y="100"/>
                    <a:pt x="5" y="159"/>
                  </a:cubicBezTo>
                  <a:cubicBezTo>
                    <a:pt x="0" y="250"/>
                    <a:pt x="73" y="324"/>
                    <a:pt x="105" y="409"/>
                  </a:cubicBezTo>
                  <a:cubicBezTo>
                    <a:pt x="134" y="485"/>
                    <a:pt x="130" y="569"/>
                    <a:pt x="95" y="642"/>
                  </a:cubicBezTo>
                  <a:cubicBezTo>
                    <a:pt x="79" y="674"/>
                    <a:pt x="57" y="707"/>
                    <a:pt x="60" y="743"/>
                  </a:cubicBezTo>
                  <a:cubicBezTo>
                    <a:pt x="61" y="765"/>
                    <a:pt x="73" y="785"/>
                    <a:pt x="81" y="806"/>
                  </a:cubicBezTo>
                  <a:cubicBezTo>
                    <a:pt x="126" y="909"/>
                    <a:pt x="118" y="1028"/>
                    <a:pt x="61" y="1125"/>
                  </a:cubicBezTo>
                </a:path>
              </a:pathLst>
            </a:custGeom>
            <a:noFill/>
            <a:ln w="14288" cap="flat">
              <a:solidFill>
                <a:srgbClr val="535461"/>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585" name="ïŝľîďè"/>
            <p:cNvSpPr/>
            <p:nvPr/>
          </p:nvSpPr>
          <p:spPr bwMode="auto">
            <a:xfrm>
              <a:off x="6627019" y="3744119"/>
              <a:ext cx="227013" cy="1344613"/>
            </a:xfrm>
            <a:custGeom>
              <a:avLst/>
              <a:gdLst>
                <a:gd name="T0" fmla="*/ 100 w 121"/>
                <a:gd name="T1" fmla="*/ 0 h 719"/>
                <a:gd name="T2" fmla="*/ 117 w 121"/>
                <a:gd name="T3" fmla="*/ 136 h 719"/>
                <a:gd name="T4" fmla="*/ 111 w 121"/>
                <a:gd name="T5" fmla="*/ 189 h 719"/>
                <a:gd name="T6" fmla="*/ 71 w 121"/>
                <a:gd name="T7" fmla="*/ 221 h 719"/>
                <a:gd name="T8" fmla="*/ 47 w 121"/>
                <a:gd name="T9" fmla="*/ 379 h 719"/>
                <a:gd name="T10" fmla="*/ 63 w 121"/>
                <a:gd name="T11" fmla="*/ 545 h 719"/>
                <a:gd name="T12" fmla="*/ 27 w 121"/>
                <a:gd name="T13" fmla="*/ 605 h 719"/>
                <a:gd name="T14" fmla="*/ 5 w 121"/>
                <a:gd name="T15" fmla="*/ 719 h 7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719">
                  <a:moveTo>
                    <a:pt x="100" y="0"/>
                  </a:moveTo>
                  <a:cubicBezTo>
                    <a:pt x="117" y="136"/>
                    <a:pt x="117" y="136"/>
                    <a:pt x="117" y="136"/>
                  </a:cubicBezTo>
                  <a:cubicBezTo>
                    <a:pt x="119" y="154"/>
                    <a:pt x="121" y="173"/>
                    <a:pt x="111" y="189"/>
                  </a:cubicBezTo>
                  <a:cubicBezTo>
                    <a:pt x="102" y="203"/>
                    <a:pt x="85" y="210"/>
                    <a:pt x="71" y="221"/>
                  </a:cubicBezTo>
                  <a:cubicBezTo>
                    <a:pt x="27" y="257"/>
                    <a:pt x="31" y="325"/>
                    <a:pt x="47" y="379"/>
                  </a:cubicBezTo>
                  <a:cubicBezTo>
                    <a:pt x="62" y="434"/>
                    <a:pt x="84" y="492"/>
                    <a:pt x="63" y="545"/>
                  </a:cubicBezTo>
                  <a:cubicBezTo>
                    <a:pt x="54" y="566"/>
                    <a:pt x="39" y="585"/>
                    <a:pt x="27" y="605"/>
                  </a:cubicBezTo>
                  <a:cubicBezTo>
                    <a:pt x="7" y="639"/>
                    <a:pt x="0" y="679"/>
                    <a:pt x="5" y="719"/>
                  </a:cubicBezTo>
                </a:path>
              </a:pathLst>
            </a:custGeom>
            <a:noFill/>
            <a:ln w="14288" cap="flat">
              <a:solidFill>
                <a:srgbClr val="535461"/>
              </a:solidFill>
              <a:prstDash val="solid"/>
              <a:miter lim="800000"/>
            </a:ln>
            <a:extLst>
              <a:ext uri="{909E8E84-426E-40DD-AFC4-6F175D3DCCD1}">
                <a14:hiddenFill xmlns:a14="http://schemas.microsoft.com/office/drawing/2010/main">
                  <a:solidFill>
                    <a:srgbClr val="FFFFFF"/>
                  </a:solidFill>
                </a14:hiddenFill>
              </a:ext>
            </a:extLst>
          </p:spPr>
          <p:txBody>
            <a:bodyPr anchor="ctr"/>
            <a:lstStyle/>
            <a:p>
              <a:pPr algn="ctr"/>
              <a:endParaRPr/>
            </a:p>
          </p:txBody>
        </p:sp>
        <p:sp>
          <p:nvSpPr>
            <p:cNvPr id="586" name="íṧľïďê"/>
            <p:cNvSpPr/>
            <p:nvPr/>
          </p:nvSpPr>
          <p:spPr bwMode="auto">
            <a:xfrm>
              <a:off x="4844257" y="3520282"/>
              <a:ext cx="176213" cy="106363"/>
            </a:xfrm>
            <a:custGeom>
              <a:avLst/>
              <a:gdLst>
                <a:gd name="T0" fmla="*/ 111 w 111"/>
                <a:gd name="T1" fmla="*/ 67 h 67"/>
                <a:gd name="T2" fmla="*/ 0 w 111"/>
                <a:gd name="T3" fmla="*/ 67 h 67"/>
                <a:gd name="T4" fmla="*/ 19 w 111"/>
                <a:gd name="T5" fmla="*/ 0 h 67"/>
                <a:gd name="T6" fmla="*/ 86 w 111"/>
                <a:gd name="T7" fmla="*/ 0 h 67"/>
                <a:gd name="T8" fmla="*/ 111 w 111"/>
                <a:gd name="T9" fmla="*/ 67 h 67"/>
              </a:gdLst>
              <a:ahLst/>
              <a:cxnLst>
                <a:cxn ang="0">
                  <a:pos x="T0" y="T1"/>
                </a:cxn>
                <a:cxn ang="0">
                  <a:pos x="T2" y="T3"/>
                </a:cxn>
                <a:cxn ang="0">
                  <a:pos x="T4" y="T5"/>
                </a:cxn>
                <a:cxn ang="0">
                  <a:pos x="T6" y="T7"/>
                </a:cxn>
                <a:cxn ang="0">
                  <a:pos x="T8" y="T9"/>
                </a:cxn>
              </a:cxnLst>
              <a:rect l="0" t="0" r="r" b="b"/>
              <a:pathLst>
                <a:path w="111" h="67">
                  <a:moveTo>
                    <a:pt x="111" y="67"/>
                  </a:moveTo>
                  <a:lnTo>
                    <a:pt x="0" y="67"/>
                  </a:lnTo>
                  <a:lnTo>
                    <a:pt x="19" y="0"/>
                  </a:lnTo>
                  <a:lnTo>
                    <a:pt x="86" y="0"/>
                  </a:lnTo>
                  <a:lnTo>
                    <a:pt x="111" y="67"/>
                  </a:lnTo>
                  <a:close/>
                </a:path>
              </a:pathLst>
            </a:custGeom>
            <a:solidFill>
              <a:srgbClr val="F55F4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7" name="îṩḷîḓé"/>
            <p:cNvSpPr/>
            <p:nvPr/>
          </p:nvSpPr>
          <p:spPr bwMode="auto">
            <a:xfrm>
              <a:off x="4196557" y="1785144"/>
              <a:ext cx="1462088" cy="1720850"/>
            </a:xfrm>
            <a:custGeom>
              <a:avLst/>
              <a:gdLst>
                <a:gd name="T0" fmla="*/ 781 w 781"/>
                <a:gd name="T1" fmla="*/ 390 h 921"/>
                <a:gd name="T2" fmla="*/ 390 w 781"/>
                <a:gd name="T3" fmla="*/ 921 h 921"/>
                <a:gd name="T4" fmla="*/ 0 w 781"/>
                <a:gd name="T5" fmla="*/ 390 h 921"/>
                <a:gd name="T6" fmla="*/ 391 w 781"/>
                <a:gd name="T7" fmla="*/ 0 h 921"/>
                <a:gd name="T8" fmla="*/ 781 w 781"/>
                <a:gd name="T9" fmla="*/ 390 h 921"/>
              </a:gdLst>
              <a:ahLst/>
              <a:cxnLst>
                <a:cxn ang="0">
                  <a:pos x="T0" y="T1"/>
                </a:cxn>
                <a:cxn ang="0">
                  <a:pos x="T2" y="T3"/>
                </a:cxn>
                <a:cxn ang="0">
                  <a:pos x="T4" y="T5"/>
                </a:cxn>
                <a:cxn ang="0">
                  <a:pos x="T6" y="T7"/>
                </a:cxn>
                <a:cxn ang="0">
                  <a:pos x="T8" y="T9"/>
                </a:cxn>
              </a:cxnLst>
              <a:rect l="0" t="0" r="r" b="b"/>
              <a:pathLst>
                <a:path w="781" h="921">
                  <a:moveTo>
                    <a:pt x="781" y="390"/>
                  </a:moveTo>
                  <a:cubicBezTo>
                    <a:pt x="781" y="605"/>
                    <a:pt x="606" y="921"/>
                    <a:pt x="390" y="921"/>
                  </a:cubicBezTo>
                  <a:cubicBezTo>
                    <a:pt x="175" y="921"/>
                    <a:pt x="0" y="605"/>
                    <a:pt x="0" y="390"/>
                  </a:cubicBezTo>
                  <a:cubicBezTo>
                    <a:pt x="0" y="174"/>
                    <a:pt x="175" y="0"/>
                    <a:pt x="391" y="0"/>
                  </a:cubicBezTo>
                  <a:cubicBezTo>
                    <a:pt x="606" y="0"/>
                    <a:pt x="781" y="174"/>
                    <a:pt x="781" y="390"/>
                  </a:cubicBezTo>
                </a:path>
              </a:pathLst>
            </a:custGeom>
            <a:solidFill>
              <a:srgbClr val="F55F4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8" name="ïŝḷïḓé"/>
            <p:cNvSpPr/>
            <p:nvPr/>
          </p:nvSpPr>
          <p:spPr bwMode="auto">
            <a:xfrm>
              <a:off x="4812507" y="3490119"/>
              <a:ext cx="228600" cy="34925"/>
            </a:xfrm>
            <a:custGeom>
              <a:avLst/>
              <a:gdLst>
                <a:gd name="T0" fmla="*/ 106 w 144"/>
                <a:gd name="T1" fmla="*/ 22 h 22"/>
                <a:gd name="T2" fmla="*/ 39 w 144"/>
                <a:gd name="T3" fmla="*/ 22 h 22"/>
                <a:gd name="T4" fmla="*/ 0 w 144"/>
                <a:gd name="T5" fmla="*/ 0 h 22"/>
                <a:gd name="T6" fmla="*/ 144 w 144"/>
                <a:gd name="T7" fmla="*/ 0 h 22"/>
                <a:gd name="T8" fmla="*/ 106 w 144"/>
                <a:gd name="T9" fmla="*/ 22 h 22"/>
              </a:gdLst>
              <a:ahLst/>
              <a:cxnLst>
                <a:cxn ang="0">
                  <a:pos x="T0" y="T1"/>
                </a:cxn>
                <a:cxn ang="0">
                  <a:pos x="T2" y="T3"/>
                </a:cxn>
                <a:cxn ang="0">
                  <a:pos x="T4" y="T5"/>
                </a:cxn>
                <a:cxn ang="0">
                  <a:pos x="T6" y="T7"/>
                </a:cxn>
                <a:cxn ang="0">
                  <a:pos x="T8" y="T9"/>
                </a:cxn>
              </a:cxnLst>
              <a:rect l="0" t="0" r="r" b="b"/>
              <a:pathLst>
                <a:path w="144" h="22">
                  <a:moveTo>
                    <a:pt x="106" y="22"/>
                  </a:moveTo>
                  <a:lnTo>
                    <a:pt x="39" y="22"/>
                  </a:lnTo>
                  <a:lnTo>
                    <a:pt x="0" y="0"/>
                  </a:lnTo>
                  <a:lnTo>
                    <a:pt x="144" y="0"/>
                  </a:lnTo>
                  <a:lnTo>
                    <a:pt x="106" y="22"/>
                  </a:lnTo>
                  <a:close/>
                </a:path>
              </a:pathLst>
            </a:custGeom>
            <a:solidFill>
              <a:srgbClr val="53546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9" name="ï$ļîḑe"/>
            <p:cNvSpPr/>
            <p:nvPr/>
          </p:nvSpPr>
          <p:spPr bwMode="auto">
            <a:xfrm>
              <a:off x="4310857" y="1947069"/>
              <a:ext cx="352425" cy="501650"/>
            </a:xfrm>
            <a:custGeom>
              <a:avLst/>
              <a:gdLst>
                <a:gd name="T0" fmla="*/ 188 w 188"/>
                <a:gd name="T1" fmla="*/ 0 h 268"/>
                <a:gd name="T2" fmla="*/ 0 w 188"/>
                <a:gd name="T3" fmla="*/ 268 h 268"/>
                <a:gd name="T4" fmla="*/ 188 w 188"/>
                <a:gd name="T5" fmla="*/ 0 h 268"/>
              </a:gdLst>
              <a:ahLst/>
              <a:cxnLst>
                <a:cxn ang="0">
                  <a:pos x="T0" y="T1"/>
                </a:cxn>
                <a:cxn ang="0">
                  <a:pos x="T2" y="T3"/>
                </a:cxn>
                <a:cxn ang="0">
                  <a:pos x="T4" y="T5"/>
                </a:cxn>
              </a:cxnLst>
              <a:rect l="0" t="0" r="r" b="b"/>
              <a:pathLst>
                <a:path w="188" h="268">
                  <a:moveTo>
                    <a:pt x="188" y="0"/>
                  </a:moveTo>
                  <a:cubicBezTo>
                    <a:pt x="188" y="0"/>
                    <a:pt x="24" y="89"/>
                    <a:pt x="0" y="268"/>
                  </a:cubicBezTo>
                  <a:cubicBezTo>
                    <a:pt x="188" y="0"/>
                    <a:pt x="188" y="0"/>
                    <a:pt x="188" y="0"/>
                  </a:cubicBezTo>
                </a:path>
              </a:pathLst>
            </a:custGeom>
            <a:solidFill>
              <a:srgbClr val="F66F5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90" name="ïşļiḑe"/>
            <p:cNvSpPr/>
            <p:nvPr/>
          </p:nvSpPr>
          <p:spPr bwMode="auto">
            <a:xfrm>
              <a:off x="5799932" y="2878932"/>
              <a:ext cx="176213" cy="106363"/>
            </a:xfrm>
            <a:custGeom>
              <a:avLst/>
              <a:gdLst>
                <a:gd name="T0" fmla="*/ 111 w 111"/>
                <a:gd name="T1" fmla="*/ 67 h 67"/>
                <a:gd name="T2" fmla="*/ 0 w 111"/>
                <a:gd name="T3" fmla="*/ 67 h 67"/>
                <a:gd name="T4" fmla="*/ 20 w 111"/>
                <a:gd name="T5" fmla="*/ 0 h 67"/>
                <a:gd name="T6" fmla="*/ 86 w 111"/>
                <a:gd name="T7" fmla="*/ 0 h 67"/>
                <a:gd name="T8" fmla="*/ 111 w 111"/>
                <a:gd name="T9" fmla="*/ 67 h 67"/>
              </a:gdLst>
              <a:ahLst/>
              <a:cxnLst>
                <a:cxn ang="0">
                  <a:pos x="T0" y="T1"/>
                </a:cxn>
                <a:cxn ang="0">
                  <a:pos x="T2" y="T3"/>
                </a:cxn>
                <a:cxn ang="0">
                  <a:pos x="T4" y="T5"/>
                </a:cxn>
                <a:cxn ang="0">
                  <a:pos x="T6" y="T7"/>
                </a:cxn>
                <a:cxn ang="0">
                  <a:pos x="T8" y="T9"/>
                </a:cxn>
              </a:cxnLst>
              <a:rect l="0" t="0" r="r" b="b"/>
              <a:pathLst>
                <a:path w="111" h="67">
                  <a:moveTo>
                    <a:pt x="111" y="67"/>
                  </a:moveTo>
                  <a:lnTo>
                    <a:pt x="0" y="67"/>
                  </a:lnTo>
                  <a:lnTo>
                    <a:pt x="20" y="0"/>
                  </a:lnTo>
                  <a:lnTo>
                    <a:pt x="86" y="0"/>
                  </a:lnTo>
                  <a:lnTo>
                    <a:pt x="111" y="67"/>
                  </a:lnTo>
                  <a:close/>
                </a:path>
              </a:pathLst>
            </a:custGeom>
            <a:solidFill>
              <a:srgbClr val="4D8AF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91" name="iṧ1ïḍè"/>
            <p:cNvSpPr/>
            <p:nvPr/>
          </p:nvSpPr>
          <p:spPr bwMode="auto">
            <a:xfrm>
              <a:off x="5152232" y="1142207"/>
              <a:ext cx="1462088" cy="1724025"/>
            </a:xfrm>
            <a:custGeom>
              <a:avLst/>
              <a:gdLst>
                <a:gd name="T0" fmla="*/ 781 w 781"/>
                <a:gd name="T1" fmla="*/ 391 h 922"/>
                <a:gd name="T2" fmla="*/ 391 w 781"/>
                <a:gd name="T3" fmla="*/ 922 h 922"/>
                <a:gd name="T4" fmla="*/ 0 w 781"/>
                <a:gd name="T5" fmla="*/ 391 h 922"/>
                <a:gd name="T6" fmla="*/ 391 w 781"/>
                <a:gd name="T7" fmla="*/ 0 h 922"/>
                <a:gd name="T8" fmla="*/ 781 w 781"/>
                <a:gd name="T9" fmla="*/ 391 h 922"/>
                <a:gd name="T10" fmla="*/ 781 w 781"/>
                <a:gd name="T11" fmla="*/ 391 h 922"/>
              </a:gdLst>
              <a:ahLst/>
              <a:cxnLst>
                <a:cxn ang="0">
                  <a:pos x="T0" y="T1"/>
                </a:cxn>
                <a:cxn ang="0">
                  <a:pos x="T2" y="T3"/>
                </a:cxn>
                <a:cxn ang="0">
                  <a:pos x="T4" y="T5"/>
                </a:cxn>
                <a:cxn ang="0">
                  <a:pos x="T6" y="T7"/>
                </a:cxn>
                <a:cxn ang="0">
                  <a:pos x="T8" y="T9"/>
                </a:cxn>
                <a:cxn ang="0">
                  <a:pos x="T10" y="T11"/>
                </a:cxn>
              </a:cxnLst>
              <a:rect l="0" t="0" r="r" b="b"/>
              <a:pathLst>
                <a:path w="781" h="922">
                  <a:moveTo>
                    <a:pt x="781" y="391"/>
                  </a:moveTo>
                  <a:cubicBezTo>
                    <a:pt x="781" y="606"/>
                    <a:pt x="606" y="922"/>
                    <a:pt x="391" y="922"/>
                  </a:cubicBezTo>
                  <a:cubicBezTo>
                    <a:pt x="175" y="922"/>
                    <a:pt x="0" y="606"/>
                    <a:pt x="0" y="391"/>
                  </a:cubicBezTo>
                  <a:cubicBezTo>
                    <a:pt x="0" y="175"/>
                    <a:pt x="175" y="0"/>
                    <a:pt x="391" y="0"/>
                  </a:cubicBezTo>
                  <a:cubicBezTo>
                    <a:pt x="606" y="0"/>
                    <a:pt x="781" y="175"/>
                    <a:pt x="781" y="391"/>
                  </a:cubicBezTo>
                  <a:cubicBezTo>
                    <a:pt x="781" y="391"/>
                    <a:pt x="781" y="391"/>
                    <a:pt x="781" y="391"/>
                  </a:cubicBezTo>
                </a:path>
              </a:pathLst>
            </a:custGeom>
            <a:solidFill>
              <a:srgbClr val="4D8AF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92" name="ïsļíḍé"/>
            <p:cNvSpPr/>
            <p:nvPr/>
          </p:nvSpPr>
          <p:spPr bwMode="auto">
            <a:xfrm>
              <a:off x="5769769" y="2848769"/>
              <a:ext cx="228600" cy="34925"/>
            </a:xfrm>
            <a:custGeom>
              <a:avLst/>
              <a:gdLst>
                <a:gd name="T0" fmla="*/ 105 w 144"/>
                <a:gd name="T1" fmla="*/ 22 h 22"/>
                <a:gd name="T2" fmla="*/ 39 w 144"/>
                <a:gd name="T3" fmla="*/ 22 h 22"/>
                <a:gd name="T4" fmla="*/ 0 w 144"/>
                <a:gd name="T5" fmla="*/ 0 h 22"/>
                <a:gd name="T6" fmla="*/ 144 w 144"/>
                <a:gd name="T7" fmla="*/ 0 h 22"/>
                <a:gd name="T8" fmla="*/ 105 w 144"/>
                <a:gd name="T9" fmla="*/ 22 h 22"/>
              </a:gdLst>
              <a:ahLst/>
              <a:cxnLst>
                <a:cxn ang="0">
                  <a:pos x="T0" y="T1"/>
                </a:cxn>
                <a:cxn ang="0">
                  <a:pos x="T2" y="T3"/>
                </a:cxn>
                <a:cxn ang="0">
                  <a:pos x="T4" y="T5"/>
                </a:cxn>
                <a:cxn ang="0">
                  <a:pos x="T6" y="T7"/>
                </a:cxn>
                <a:cxn ang="0">
                  <a:pos x="T8" y="T9"/>
                </a:cxn>
              </a:cxnLst>
              <a:rect l="0" t="0" r="r" b="b"/>
              <a:pathLst>
                <a:path w="144" h="22">
                  <a:moveTo>
                    <a:pt x="105" y="22"/>
                  </a:moveTo>
                  <a:lnTo>
                    <a:pt x="39" y="22"/>
                  </a:lnTo>
                  <a:lnTo>
                    <a:pt x="0" y="0"/>
                  </a:lnTo>
                  <a:lnTo>
                    <a:pt x="144" y="0"/>
                  </a:lnTo>
                  <a:lnTo>
                    <a:pt x="105" y="22"/>
                  </a:lnTo>
                  <a:close/>
                </a:path>
              </a:pathLst>
            </a:custGeom>
            <a:solidFill>
              <a:srgbClr val="53546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93" name="í$ļiḋe"/>
            <p:cNvSpPr/>
            <p:nvPr/>
          </p:nvSpPr>
          <p:spPr bwMode="auto">
            <a:xfrm>
              <a:off x="5268119" y="1304132"/>
              <a:ext cx="350838" cy="501650"/>
            </a:xfrm>
            <a:custGeom>
              <a:avLst/>
              <a:gdLst>
                <a:gd name="T0" fmla="*/ 188 w 188"/>
                <a:gd name="T1" fmla="*/ 0 h 268"/>
                <a:gd name="T2" fmla="*/ 0 w 188"/>
                <a:gd name="T3" fmla="*/ 268 h 268"/>
                <a:gd name="T4" fmla="*/ 188 w 188"/>
                <a:gd name="T5" fmla="*/ 0 h 268"/>
              </a:gdLst>
              <a:ahLst/>
              <a:cxnLst>
                <a:cxn ang="0">
                  <a:pos x="T0" y="T1"/>
                </a:cxn>
                <a:cxn ang="0">
                  <a:pos x="T2" y="T3"/>
                </a:cxn>
                <a:cxn ang="0">
                  <a:pos x="T4" y="T5"/>
                </a:cxn>
              </a:cxnLst>
              <a:rect l="0" t="0" r="r" b="b"/>
              <a:pathLst>
                <a:path w="188" h="268">
                  <a:moveTo>
                    <a:pt x="188" y="0"/>
                  </a:moveTo>
                  <a:cubicBezTo>
                    <a:pt x="188" y="0"/>
                    <a:pt x="23" y="90"/>
                    <a:pt x="0" y="268"/>
                  </a:cubicBezTo>
                  <a:cubicBezTo>
                    <a:pt x="188" y="0"/>
                    <a:pt x="188" y="0"/>
                    <a:pt x="188" y="0"/>
                  </a:cubicBezTo>
                </a:path>
              </a:pathLst>
            </a:custGeom>
            <a:solidFill>
              <a:srgbClr val="5F96F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94" name="ïşḻïḓé"/>
            <p:cNvSpPr/>
            <p:nvPr/>
          </p:nvSpPr>
          <p:spPr bwMode="auto">
            <a:xfrm>
              <a:off x="6746082" y="3698082"/>
              <a:ext cx="176213" cy="104775"/>
            </a:xfrm>
            <a:custGeom>
              <a:avLst/>
              <a:gdLst>
                <a:gd name="T0" fmla="*/ 111 w 111"/>
                <a:gd name="T1" fmla="*/ 66 h 66"/>
                <a:gd name="T2" fmla="*/ 0 w 111"/>
                <a:gd name="T3" fmla="*/ 66 h 66"/>
                <a:gd name="T4" fmla="*/ 20 w 111"/>
                <a:gd name="T5" fmla="*/ 0 h 66"/>
                <a:gd name="T6" fmla="*/ 87 w 111"/>
                <a:gd name="T7" fmla="*/ 0 h 66"/>
                <a:gd name="T8" fmla="*/ 111 w 111"/>
                <a:gd name="T9" fmla="*/ 66 h 66"/>
              </a:gdLst>
              <a:ahLst/>
              <a:cxnLst>
                <a:cxn ang="0">
                  <a:pos x="T0" y="T1"/>
                </a:cxn>
                <a:cxn ang="0">
                  <a:pos x="T2" y="T3"/>
                </a:cxn>
                <a:cxn ang="0">
                  <a:pos x="T4" y="T5"/>
                </a:cxn>
                <a:cxn ang="0">
                  <a:pos x="T6" y="T7"/>
                </a:cxn>
                <a:cxn ang="0">
                  <a:pos x="T8" y="T9"/>
                </a:cxn>
              </a:cxnLst>
              <a:rect l="0" t="0" r="r" b="b"/>
              <a:pathLst>
                <a:path w="111" h="66">
                  <a:moveTo>
                    <a:pt x="111" y="66"/>
                  </a:moveTo>
                  <a:lnTo>
                    <a:pt x="0" y="66"/>
                  </a:lnTo>
                  <a:lnTo>
                    <a:pt x="20" y="0"/>
                  </a:lnTo>
                  <a:lnTo>
                    <a:pt x="87" y="0"/>
                  </a:lnTo>
                  <a:lnTo>
                    <a:pt x="111" y="66"/>
                  </a:lnTo>
                  <a:close/>
                </a:path>
              </a:pathLst>
            </a:custGeom>
            <a:solidFill>
              <a:srgbClr val="3AD29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95" name="ïŝlídê"/>
            <p:cNvSpPr/>
            <p:nvPr/>
          </p:nvSpPr>
          <p:spPr bwMode="auto">
            <a:xfrm>
              <a:off x="6101557" y="1961357"/>
              <a:ext cx="1458913" cy="1722438"/>
            </a:xfrm>
            <a:prstGeom prst="ellipse">
              <a:avLst/>
            </a:prstGeom>
            <a:solidFill>
              <a:srgbClr val="3AD29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96" name="iṣḻïḓê"/>
            <p:cNvSpPr/>
            <p:nvPr/>
          </p:nvSpPr>
          <p:spPr bwMode="auto">
            <a:xfrm>
              <a:off x="6717507" y="3666332"/>
              <a:ext cx="227013" cy="34925"/>
            </a:xfrm>
            <a:custGeom>
              <a:avLst/>
              <a:gdLst>
                <a:gd name="T0" fmla="*/ 105 w 143"/>
                <a:gd name="T1" fmla="*/ 22 h 22"/>
                <a:gd name="T2" fmla="*/ 38 w 143"/>
                <a:gd name="T3" fmla="*/ 22 h 22"/>
                <a:gd name="T4" fmla="*/ 0 w 143"/>
                <a:gd name="T5" fmla="*/ 0 h 22"/>
                <a:gd name="T6" fmla="*/ 143 w 143"/>
                <a:gd name="T7" fmla="*/ 0 h 22"/>
                <a:gd name="T8" fmla="*/ 105 w 143"/>
                <a:gd name="T9" fmla="*/ 22 h 22"/>
              </a:gdLst>
              <a:ahLst/>
              <a:cxnLst>
                <a:cxn ang="0">
                  <a:pos x="T0" y="T1"/>
                </a:cxn>
                <a:cxn ang="0">
                  <a:pos x="T2" y="T3"/>
                </a:cxn>
                <a:cxn ang="0">
                  <a:pos x="T4" y="T5"/>
                </a:cxn>
                <a:cxn ang="0">
                  <a:pos x="T6" y="T7"/>
                </a:cxn>
                <a:cxn ang="0">
                  <a:pos x="T8" y="T9"/>
                </a:cxn>
              </a:cxnLst>
              <a:rect l="0" t="0" r="r" b="b"/>
              <a:pathLst>
                <a:path w="143" h="22">
                  <a:moveTo>
                    <a:pt x="105" y="22"/>
                  </a:moveTo>
                  <a:lnTo>
                    <a:pt x="38" y="22"/>
                  </a:lnTo>
                  <a:lnTo>
                    <a:pt x="0" y="0"/>
                  </a:lnTo>
                  <a:lnTo>
                    <a:pt x="143" y="0"/>
                  </a:lnTo>
                  <a:lnTo>
                    <a:pt x="105" y="22"/>
                  </a:lnTo>
                  <a:close/>
                </a:path>
              </a:pathLst>
            </a:custGeom>
            <a:solidFill>
              <a:srgbClr val="53546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97" name="íşlíďé"/>
            <p:cNvSpPr/>
            <p:nvPr/>
          </p:nvSpPr>
          <p:spPr bwMode="auto">
            <a:xfrm>
              <a:off x="6214269" y="2123282"/>
              <a:ext cx="352425" cy="501650"/>
            </a:xfrm>
            <a:custGeom>
              <a:avLst/>
              <a:gdLst>
                <a:gd name="T0" fmla="*/ 188 w 188"/>
                <a:gd name="T1" fmla="*/ 0 h 268"/>
                <a:gd name="T2" fmla="*/ 0 w 188"/>
                <a:gd name="T3" fmla="*/ 268 h 268"/>
                <a:gd name="T4" fmla="*/ 188 w 188"/>
                <a:gd name="T5" fmla="*/ 0 h 268"/>
              </a:gdLst>
              <a:ahLst/>
              <a:cxnLst>
                <a:cxn ang="0">
                  <a:pos x="T0" y="T1"/>
                </a:cxn>
                <a:cxn ang="0">
                  <a:pos x="T2" y="T3"/>
                </a:cxn>
                <a:cxn ang="0">
                  <a:pos x="T4" y="T5"/>
                </a:cxn>
              </a:cxnLst>
              <a:rect l="0" t="0" r="r" b="b"/>
              <a:pathLst>
                <a:path w="188" h="268">
                  <a:moveTo>
                    <a:pt x="188" y="0"/>
                  </a:moveTo>
                  <a:cubicBezTo>
                    <a:pt x="188" y="0"/>
                    <a:pt x="23" y="89"/>
                    <a:pt x="0" y="268"/>
                  </a:cubicBezTo>
                  <a:cubicBezTo>
                    <a:pt x="188" y="0"/>
                    <a:pt x="188" y="0"/>
                    <a:pt x="188" y="0"/>
                  </a:cubicBezTo>
                </a:path>
              </a:pathLst>
            </a:custGeom>
            <a:solidFill>
              <a:srgbClr val="4ED7A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98" name="ïŝḷiḋè"/>
            <p:cNvSpPr/>
            <p:nvPr/>
          </p:nvSpPr>
          <p:spPr bwMode="auto">
            <a:xfrm>
              <a:off x="5060157" y="4909344"/>
              <a:ext cx="2082800" cy="1339850"/>
            </a:xfrm>
            <a:custGeom>
              <a:avLst/>
              <a:gdLst>
                <a:gd name="T0" fmla="*/ 0 w 1312"/>
                <a:gd name="T1" fmla="*/ 63 h 844"/>
                <a:gd name="T2" fmla="*/ 1274 w 1312"/>
                <a:gd name="T3" fmla="*/ 0 h 844"/>
                <a:gd name="T4" fmla="*/ 1312 w 1312"/>
                <a:gd name="T5" fmla="*/ 780 h 844"/>
                <a:gd name="T6" fmla="*/ 39 w 1312"/>
                <a:gd name="T7" fmla="*/ 844 h 844"/>
                <a:gd name="T8" fmla="*/ 0 w 1312"/>
                <a:gd name="T9" fmla="*/ 63 h 844"/>
              </a:gdLst>
              <a:ahLst/>
              <a:cxnLst>
                <a:cxn ang="0">
                  <a:pos x="T0" y="T1"/>
                </a:cxn>
                <a:cxn ang="0">
                  <a:pos x="T2" y="T3"/>
                </a:cxn>
                <a:cxn ang="0">
                  <a:pos x="T4" y="T5"/>
                </a:cxn>
                <a:cxn ang="0">
                  <a:pos x="T6" y="T7"/>
                </a:cxn>
                <a:cxn ang="0">
                  <a:pos x="T8" y="T9"/>
                </a:cxn>
              </a:cxnLst>
              <a:rect l="0" t="0" r="r" b="b"/>
              <a:pathLst>
                <a:path w="1312" h="844">
                  <a:moveTo>
                    <a:pt x="0" y="63"/>
                  </a:moveTo>
                  <a:lnTo>
                    <a:pt x="1274" y="0"/>
                  </a:lnTo>
                  <a:lnTo>
                    <a:pt x="1312" y="780"/>
                  </a:lnTo>
                  <a:lnTo>
                    <a:pt x="39" y="844"/>
                  </a:lnTo>
                  <a:lnTo>
                    <a:pt x="0" y="63"/>
                  </a:lnTo>
                  <a:close/>
                </a:path>
              </a:pathLst>
            </a:custGeom>
            <a:solidFill>
              <a:srgbClr val="E0E0E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99" name="îŝḷîḋé"/>
            <p:cNvSpPr/>
            <p:nvPr/>
          </p:nvSpPr>
          <p:spPr bwMode="auto">
            <a:xfrm>
              <a:off x="5088732" y="4929982"/>
              <a:ext cx="2008188" cy="1255713"/>
            </a:xfrm>
            <a:custGeom>
              <a:avLst/>
              <a:gdLst>
                <a:gd name="T0" fmla="*/ 0 w 1265"/>
                <a:gd name="T1" fmla="*/ 62 h 791"/>
                <a:gd name="T2" fmla="*/ 1227 w 1265"/>
                <a:gd name="T3" fmla="*/ 0 h 791"/>
                <a:gd name="T4" fmla="*/ 1265 w 1265"/>
                <a:gd name="T5" fmla="*/ 727 h 791"/>
                <a:gd name="T6" fmla="*/ 36 w 1265"/>
                <a:gd name="T7" fmla="*/ 791 h 791"/>
                <a:gd name="T8" fmla="*/ 0 w 1265"/>
                <a:gd name="T9" fmla="*/ 62 h 791"/>
              </a:gdLst>
              <a:ahLst/>
              <a:cxnLst>
                <a:cxn ang="0">
                  <a:pos x="T0" y="T1"/>
                </a:cxn>
                <a:cxn ang="0">
                  <a:pos x="T2" y="T3"/>
                </a:cxn>
                <a:cxn ang="0">
                  <a:pos x="T4" y="T5"/>
                </a:cxn>
                <a:cxn ang="0">
                  <a:pos x="T6" y="T7"/>
                </a:cxn>
                <a:cxn ang="0">
                  <a:pos x="T8" y="T9"/>
                </a:cxn>
              </a:cxnLst>
              <a:rect l="0" t="0" r="r" b="b"/>
              <a:pathLst>
                <a:path w="1265" h="791">
                  <a:moveTo>
                    <a:pt x="0" y="62"/>
                  </a:moveTo>
                  <a:lnTo>
                    <a:pt x="1227" y="0"/>
                  </a:lnTo>
                  <a:lnTo>
                    <a:pt x="1265" y="727"/>
                  </a:lnTo>
                  <a:lnTo>
                    <a:pt x="36" y="791"/>
                  </a:lnTo>
                  <a:lnTo>
                    <a:pt x="0" y="62"/>
                  </a:lnTo>
                  <a:close/>
                </a:path>
              </a:pathLst>
            </a:custGeom>
            <a:solidFill>
              <a:srgbClr val="EEEEE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00" name="is1ídê"/>
            <p:cNvSpPr/>
            <p:nvPr/>
          </p:nvSpPr>
          <p:spPr bwMode="auto">
            <a:xfrm>
              <a:off x="5176044" y="5099844"/>
              <a:ext cx="258763" cy="195263"/>
            </a:xfrm>
            <a:custGeom>
              <a:avLst/>
              <a:gdLst>
                <a:gd name="T0" fmla="*/ 163 w 163"/>
                <a:gd name="T1" fmla="*/ 115 h 123"/>
                <a:gd name="T2" fmla="*/ 6 w 163"/>
                <a:gd name="T3" fmla="*/ 123 h 123"/>
                <a:gd name="T4" fmla="*/ 0 w 163"/>
                <a:gd name="T5" fmla="*/ 8 h 123"/>
                <a:gd name="T6" fmla="*/ 157 w 163"/>
                <a:gd name="T7" fmla="*/ 0 h 123"/>
                <a:gd name="T8" fmla="*/ 163 w 163"/>
                <a:gd name="T9" fmla="*/ 115 h 123"/>
              </a:gdLst>
              <a:ahLst/>
              <a:cxnLst>
                <a:cxn ang="0">
                  <a:pos x="T0" y="T1"/>
                </a:cxn>
                <a:cxn ang="0">
                  <a:pos x="T2" y="T3"/>
                </a:cxn>
                <a:cxn ang="0">
                  <a:pos x="T4" y="T5"/>
                </a:cxn>
                <a:cxn ang="0">
                  <a:pos x="T6" y="T7"/>
                </a:cxn>
                <a:cxn ang="0">
                  <a:pos x="T8" y="T9"/>
                </a:cxn>
              </a:cxnLst>
              <a:rect l="0" t="0" r="r" b="b"/>
              <a:pathLst>
                <a:path w="163" h="123">
                  <a:moveTo>
                    <a:pt x="163" y="115"/>
                  </a:moveTo>
                  <a:lnTo>
                    <a:pt x="6" y="123"/>
                  </a:lnTo>
                  <a:lnTo>
                    <a:pt x="0" y="8"/>
                  </a:lnTo>
                  <a:lnTo>
                    <a:pt x="157" y="0"/>
                  </a:lnTo>
                  <a:lnTo>
                    <a:pt x="163" y="115"/>
                  </a:lnTo>
                  <a:close/>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01" name="iŝ1îdê"/>
            <p:cNvSpPr/>
            <p:nvPr/>
          </p:nvSpPr>
          <p:spPr bwMode="auto">
            <a:xfrm>
              <a:off x="5404644" y="5534819"/>
              <a:ext cx="954088" cy="106363"/>
            </a:xfrm>
            <a:custGeom>
              <a:avLst/>
              <a:gdLst>
                <a:gd name="T0" fmla="*/ 601 w 601"/>
                <a:gd name="T1" fmla="*/ 37 h 67"/>
                <a:gd name="T2" fmla="*/ 2 w 601"/>
                <a:gd name="T3" fmla="*/ 67 h 67"/>
                <a:gd name="T4" fmla="*/ 0 w 601"/>
                <a:gd name="T5" fmla="*/ 31 h 67"/>
                <a:gd name="T6" fmla="*/ 600 w 601"/>
                <a:gd name="T7" fmla="*/ 0 h 67"/>
                <a:gd name="T8" fmla="*/ 601 w 601"/>
                <a:gd name="T9" fmla="*/ 37 h 67"/>
              </a:gdLst>
              <a:ahLst/>
              <a:cxnLst>
                <a:cxn ang="0">
                  <a:pos x="T0" y="T1"/>
                </a:cxn>
                <a:cxn ang="0">
                  <a:pos x="T2" y="T3"/>
                </a:cxn>
                <a:cxn ang="0">
                  <a:pos x="T4" y="T5"/>
                </a:cxn>
                <a:cxn ang="0">
                  <a:pos x="T6" y="T7"/>
                </a:cxn>
                <a:cxn ang="0">
                  <a:pos x="T8" y="T9"/>
                </a:cxn>
              </a:cxnLst>
              <a:rect l="0" t="0" r="r" b="b"/>
              <a:pathLst>
                <a:path w="601" h="67">
                  <a:moveTo>
                    <a:pt x="601" y="37"/>
                  </a:moveTo>
                  <a:lnTo>
                    <a:pt x="2" y="67"/>
                  </a:lnTo>
                  <a:lnTo>
                    <a:pt x="0" y="31"/>
                  </a:lnTo>
                  <a:lnTo>
                    <a:pt x="600" y="0"/>
                  </a:lnTo>
                  <a:lnTo>
                    <a:pt x="601" y="37"/>
                  </a:lnTo>
                  <a:close/>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02" name="îṣļîḓè"/>
            <p:cNvSpPr/>
            <p:nvPr/>
          </p:nvSpPr>
          <p:spPr bwMode="auto">
            <a:xfrm>
              <a:off x="5669757" y="5682457"/>
              <a:ext cx="696913" cy="74613"/>
            </a:xfrm>
            <a:custGeom>
              <a:avLst/>
              <a:gdLst>
                <a:gd name="T0" fmla="*/ 439 w 439"/>
                <a:gd name="T1" fmla="*/ 25 h 47"/>
                <a:gd name="T2" fmla="*/ 1 w 439"/>
                <a:gd name="T3" fmla="*/ 47 h 47"/>
                <a:gd name="T4" fmla="*/ 0 w 439"/>
                <a:gd name="T5" fmla="*/ 23 h 47"/>
                <a:gd name="T6" fmla="*/ 438 w 439"/>
                <a:gd name="T7" fmla="*/ 0 h 47"/>
                <a:gd name="T8" fmla="*/ 439 w 439"/>
                <a:gd name="T9" fmla="*/ 25 h 47"/>
              </a:gdLst>
              <a:ahLst/>
              <a:cxnLst>
                <a:cxn ang="0">
                  <a:pos x="T0" y="T1"/>
                </a:cxn>
                <a:cxn ang="0">
                  <a:pos x="T2" y="T3"/>
                </a:cxn>
                <a:cxn ang="0">
                  <a:pos x="T4" y="T5"/>
                </a:cxn>
                <a:cxn ang="0">
                  <a:pos x="T6" y="T7"/>
                </a:cxn>
                <a:cxn ang="0">
                  <a:pos x="T8" y="T9"/>
                </a:cxn>
              </a:cxnLst>
              <a:rect l="0" t="0" r="r" b="b"/>
              <a:pathLst>
                <a:path w="439" h="47">
                  <a:moveTo>
                    <a:pt x="439" y="25"/>
                  </a:moveTo>
                  <a:lnTo>
                    <a:pt x="1" y="47"/>
                  </a:lnTo>
                  <a:lnTo>
                    <a:pt x="0" y="23"/>
                  </a:lnTo>
                  <a:lnTo>
                    <a:pt x="438" y="0"/>
                  </a:lnTo>
                  <a:lnTo>
                    <a:pt x="439" y="25"/>
                  </a:lnTo>
                  <a:close/>
                </a:path>
              </a:pathLst>
            </a:custGeom>
            <a:solidFill>
              <a:srgbClr val="4285F4"/>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nvGrpSpPr>
          <p:cNvPr id="641" name="f274b2bd-4f55-4385-865f-93efaa803fda"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3"/>
            </p:custDataLst>
          </p:nvPr>
        </p:nvGrpSpPr>
        <p:grpSpPr>
          <a:xfrm>
            <a:off x="3350754" y="3732905"/>
            <a:ext cx="1290791" cy="1089843"/>
            <a:chOff x="3322844" y="1087563"/>
            <a:chExt cx="5546312" cy="4682874"/>
          </a:xfrm>
        </p:grpSpPr>
        <p:sp>
          <p:nvSpPr>
            <p:cNvPr id="642" name="îšḷïḋê"/>
            <p:cNvSpPr/>
            <p:nvPr/>
          </p:nvSpPr>
          <p:spPr bwMode="auto">
            <a:xfrm>
              <a:off x="3563253" y="1087563"/>
              <a:ext cx="3639980" cy="3782193"/>
            </a:xfrm>
            <a:custGeom>
              <a:avLst/>
              <a:gdLst>
                <a:gd name="T0" fmla="*/ 13 w 516"/>
                <a:gd name="T1" fmla="*/ 369 h 537"/>
                <a:gd name="T2" fmla="*/ 99 w 516"/>
                <a:gd name="T3" fmla="*/ 469 h 537"/>
                <a:gd name="T4" fmla="*/ 251 w 516"/>
                <a:gd name="T5" fmla="*/ 518 h 537"/>
                <a:gd name="T6" fmla="*/ 350 w 516"/>
                <a:gd name="T7" fmla="*/ 482 h 537"/>
                <a:gd name="T8" fmla="*/ 490 w 516"/>
                <a:gd name="T9" fmla="*/ 404 h 537"/>
                <a:gd name="T10" fmla="*/ 376 w 516"/>
                <a:gd name="T11" fmla="*/ 264 h 537"/>
                <a:gd name="T12" fmla="*/ 333 w 516"/>
                <a:gd name="T13" fmla="*/ 49 h 537"/>
                <a:gd name="T14" fmla="*/ 61 w 516"/>
                <a:gd name="T15" fmla="*/ 154 h 537"/>
                <a:gd name="T16" fmla="*/ 13 w 516"/>
                <a:gd name="T17" fmla="*/ 369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6" h="537">
                  <a:moveTo>
                    <a:pt x="13" y="369"/>
                  </a:moveTo>
                  <a:cubicBezTo>
                    <a:pt x="13" y="369"/>
                    <a:pt x="0" y="464"/>
                    <a:pt x="99" y="469"/>
                  </a:cubicBezTo>
                  <a:cubicBezTo>
                    <a:pt x="198" y="475"/>
                    <a:pt x="233" y="499"/>
                    <a:pt x="251" y="518"/>
                  </a:cubicBezTo>
                  <a:cubicBezTo>
                    <a:pt x="269" y="537"/>
                    <a:pt x="294" y="529"/>
                    <a:pt x="350" y="482"/>
                  </a:cubicBezTo>
                  <a:cubicBezTo>
                    <a:pt x="407" y="435"/>
                    <a:pt x="476" y="440"/>
                    <a:pt x="490" y="404"/>
                  </a:cubicBezTo>
                  <a:cubicBezTo>
                    <a:pt x="503" y="368"/>
                    <a:pt x="516" y="298"/>
                    <a:pt x="376" y="264"/>
                  </a:cubicBezTo>
                  <a:cubicBezTo>
                    <a:pt x="236" y="229"/>
                    <a:pt x="350" y="97"/>
                    <a:pt x="333" y="49"/>
                  </a:cubicBezTo>
                  <a:cubicBezTo>
                    <a:pt x="316" y="0"/>
                    <a:pt x="113" y="36"/>
                    <a:pt x="61" y="154"/>
                  </a:cubicBezTo>
                  <a:cubicBezTo>
                    <a:pt x="9" y="273"/>
                    <a:pt x="13" y="369"/>
                    <a:pt x="13" y="369"/>
                  </a:cubicBezTo>
                  <a:close/>
                </a:path>
              </a:pathLst>
            </a:custGeom>
            <a:gradFill>
              <a:gsLst>
                <a:gs pos="0">
                  <a:schemeClr val="bg1"/>
                </a:gs>
                <a:gs pos="100000">
                  <a:srgbClr val="DBEAFF"/>
                </a:gs>
              </a:gsLst>
              <a:lin ang="5400000" scaled="0"/>
            </a:gradFill>
            <a:ln>
              <a:noFill/>
            </a:ln>
          </p:spPr>
          <p:txBody>
            <a:bodyPr anchor="ctr"/>
            <a:lstStyle/>
            <a:p>
              <a:pPr algn="ctr"/>
              <a:endParaRPr/>
            </a:p>
          </p:txBody>
        </p:sp>
        <p:sp>
          <p:nvSpPr>
            <p:cNvPr id="643" name="íSľîḋé"/>
            <p:cNvSpPr/>
            <p:nvPr/>
          </p:nvSpPr>
          <p:spPr bwMode="auto">
            <a:xfrm>
              <a:off x="5185159" y="1947614"/>
              <a:ext cx="663661" cy="667048"/>
            </a:xfrm>
            <a:custGeom>
              <a:avLst/>
              <a:gdLst>
                <a:gd name="T0" fmla="*/ 84 w 94"/>
                <a:gd name="T1" fmla="*/ 47 h 95"/>
                <a:gd name="T2" fmla="*/ 84 w 94"/>
                <a:gd name="T3" fmla="*/ 33 h 95"/>
                <a:gd name="T4" fmla="*/ 63 w 94"/>
                <a:gd name="T5" fmla="*/ 16 h 95"/>
                <a:gd name="T6" fmla="*/ 49 w 94"/>
                <a:gd name="T7" fmla="*/ 26 h 95"/>
                <a:gd name="T8" fmla="*/ 56 w 94"/>
                <a:gd name="T9" fmla="*/ 7 h 95"/>
                <a:gd name="T10" fmla="*/ 37 w 94"/>
                <a:gd name="T11" fmla="*/ 0 h 95"/>
                <a:gd name="T12" fmla="*/ 37 w 94"/>
                <a:gd name="T13" fmla="*/ 0 h 95"/>
                <a:gd name="T14" fmla="*/ 37 w 94"/>
                <a:gd name="T15" fmla="*/ 0 h 95"/>
                <a:gd name="T16" fmla="*/ 22 w 94"/>
                <a:gd name="T17" fmla="*/ 14 h 95"/>
                <a:gd name="T18" fmla="*/ 37 w 94"/>
                <a:gd name="T19" fmla="*/ 28 h 95"/>
                <a:gd name="T20" fmla="*/ 20 w 94"/>
                <a:gd name="T21" fmla="*/ 25 h 95"/>
                <a:gd name="T22" fmla="*/ 7 w 94"/>
                <a:gd name="T23" fmla="*/ 48 h 95"/>
                <a:gd name="T24" fmla="*/ 13 w 94"/>
                <a:gd name="T25" fmla="*/ 61 h 95"/>
                <a:gd name="T26" fmla="*/ 20 w 94"/>
                <a:gd name="T27" fmla="*/ 87 h 95"/>
                <a:gd name="T28" fmla="*/ 52 w 94"/>
                <a:gd name="T29" fmla="*/ 75 h 95"/>
                <a:gd name="T30" fmla="*/ 52 w 94"/>
                <a:gd name="T31" fmla="*/ 74 h 95"/>
                <a:gd name="T32" fmla="*/ 52 w 94"/>
                <a:gd name="T33" fmla="*/ 75 h 95"/>
                <a:gd name="T34" fmla="*/ 87 w 94"/>
                <a:gd name="T35" fmla="*/ 74 h 95"/>
                <a:gd name="T36" fmla="*/ 84 w 94"/>
                <a:gd name="T37" fmla="*/ 4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95">
                  <a:moveTo>
                    <a:pt x="84" y="47"/>
                  </a:moveTo>
                  <a:cubicBezTo>
                    <a:pt x="74" y="55"/>
                    <a:pt x="85" y="40"/>
                    <a:pt x="84" y="33"/>
                  </a:cubicBezTo>
                  <a:cubicBezTo>
                    <a:pt x="82" y="26"/>
                    <a:pt x="70" y="6"/>
                    <a:pt x="63" y="16"/>
                  </a:cubicBezTo>
                  <a:cubicBezTo>
                    <a:pt x="55" y="25"/>
                    <a:pt x="46" y="28"/>
                    <a:pt x="49" y="26"/>
                  </a:cubicBezTo>
                  <a:cubicBezTo>
                    <a:pt x="51" y="23"/>
                    <a:pt x="60" y="14"/>
                    <a:pt x="56" y="7"/>
                  </a:cubicBezTo>
                  <a:cubicBezTo>
                    <a:pt x="53" y="0"/>
                    <a:pt x="37" y="0"/>
                    <a:pt x="37" y="0"/>
                  </a:cubicBezTo>
                  <a:cubicBezTo>
                    <a:pt x="37" y="0"/>
                    <a:pt x="37" y="0"/>
                    <a:pt x="37" y="0"/>
                  </a:cubicBezTo>
                  <a:cubicBezTo>
                    <a:pt x="37" y="0"/>
                    <a:pt x="37" y="0"/>
                    <a:pt x="37" y="0"/>
                  </a:cubicBezTo>
                  <a:cubicBezTo>
                    <a:pt x="37" y="0"/>
                    <a:pt x="22" y="6"/>
                    <a:pt x="22" y="14"/>
                  </a:cubicBezTo>
                  <a:cubicBezTo>
                    <a:pt x="22" y="22"/>
                    <a:pt x="33" y="27"/>
                    <a:pt x="37" y="28"/>
                  </a:cubicBezTo>
                  <a:cubicBezTo>
                    <a:pt x="40" y="29"/>
                    <a:pt x="30" y="31"/>
                    <a:pt x="20" y="25"/>
                  </a:cubicBezTo>
                  <a:cubicBezTo>
                    <a:pt x="9" y="19"/>
                    <a:pt x="6" y="41"/>
                    <a:pt x="7" y="48"/>
                  </a:cubicBezTo>
                  <a:cubicBezTo>
                    <a:pt x="9" y="55"/>
                    <a:pt x="25" y="65"/>
                    <a:pt x="13" y="61"/>
                  </a:cubicBezTo>
                  <a:cubicBezTo>
                    <a:pt x="0" y="58"/>
                    <a:pt x="12" y="80"/>
                    <a:pt x="20" y="87"/>
                  </a:cubicBezTo>
                  <a:cubicBezTo>
                    <a:pt x="29" y="95"/>
                    <a:pt x="48" y="83"/>
                    <a:pt x="52" y="75"/>
                  </a:cubicBezTo>
                  <a:cubicBezTo>
                    <a:pt x="52" y="74"/>
                    <a:pt x="52" y="74"/>
                    <a:pt x="52" y="74"/>
                  </a:cubicBezTo>
                  <a:cubicBezTo>
                    <a:pt x="52" y="75"/>
                    <a:pt x="52" y="75"/>
                    <a:pt x="52" y="75"/>
                  </a:cubicBezTo>
                  <a:cubicBezTo>
                    <a:pt x="60" y="80"/>
                    <a:pt x="82" y="84"/>
                    <a:pt x="87" y="74"/>
                  </a:cubicBezTo>
                  <a:cubicBezTo>
                    <a:pt x="92" y="64"/>
                    <a:pt x="94" y="39"/>
                    <a:pt x="84" y="47"/>
                  </a:cubicBezTo>
                  <a:close/>
                </a:path>
              </a:pathLst>
            </a:custGeom>
            <a:solidFill>
              <a:srgbClr val="B0D0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44" name="íṡḻïďè"/>
            <p:cNvSpPr/>
            <p:nvPr/>
          </p:nvSpPr>
          <p:spPr bwMode="auto">
            <a:xfrm>
              <a:off x="5459428" y="2001790"/>
              <a:ext cx="318287" cy="1584661"/>
            </a:xfrm>
            <a:custGeom>
              <a:avLst/>
              <a:gdLst>
                <a:gd name="T0" fmla="*/ 0 w 94"/>
                <a:gd name="T1" fmla="*/ 0 h 468"/>
                <a:gd name="T2" fmla="*/ 13 w 94"/>
                <a:gd name="T3" fmla="*/ 59 h 468"/>
                <a:gd name="T4" fmla="*/ 25 w 94"/>
                <a:gd name="T5" fmla="*/ 117 h 468"/>
                <a:gd name="T6" fmla="*/ 50 w 94"/>
                <a:gd name="T7" fmla="*/ 233 h 468"/>
                <a:gd name="T8" fmla="*/ 73 w 94"/>
                <a:gd name="T9" fmla="*/ 350 h 468"/>
                <a:gd name="T10" fmla="*/ 84 w 94"/>
                <a:gd name="T11" fmla="*/ 410 h 468"/>
                <a:gd name="T12" fmla="*/ 94 w 94"/>
                <a:gd name="T13" fmla="*/ 468 h 468"/>
                <a:gd name="T14" fmla="*/ 82 w 94"/>
                <a:gd name="T15" fmla="*/ 410 h 468"/>
                <a:gd name="T16" fmla="*/ 69 w 94"/>
                <a:gd name="T17" fmla="*/ 352 h 468"/>
                <a:gd name="T18" fmla="*/ 44 w 94"/>
                <a:gd name="T19" fmla="*/ 235 h 468"/>
                <a:gd name="T20" fmla="*/ 21 w 94"/>
                <a:gd name="T21" fmla="*/ 117 h 468"/>
                <a:gd name="T22" fmla="*/ 11 w 94"/>
                <a:gd name="T23" fmla="*/ 59 h 468"/>
                <a:gd name="T24" fmla="*/ 0 w 94"/>
                <a:gd name="T25"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 h="468">
                  <a:moveTo>
                    <a:pt x="0" y="0"/>
                  </a:moveTo>
                  <a:lnTo>
                    <a:pt x="13" y="59"/>
                  </a:lnTo>
                  <a:lnTo>
                    <a:pt x="25" y="117"/>
                  </a:lnTo>
                  <a:lnTo>
                    <a:pt x="50" y="233"/>
                  </a:lnTo>
                  <a:lnTo>
                    <a:pt x="73" y="350"/>
                  </a:lnTo>
                  <a:lnTo>
                    <a:pt x="84" y="410"/>
                  </a:lnTo>
                  <a:lnTo>
                    <a:pt x="94" y="468"/>
                  </a:lnTo>
                  <a:lnTo>
                    <a:pt x="82" y="410"/>
                  </a:lnTo>
                  <a:lnTo>
                    <a:pt x="69" y="352"/>
                  </a:lnTo>
                  <a:lnTo>
                    <a:pt x="44" y="235"/>
                  </a:lnTo>
                  <a:lnTo>
                    <a:pt x="21" y="117"/>
                  </a:lnTo>
                  <a:lnTo>
                    <a:pt x="11" y="59"/>
                  </a:lnTo>
                  <a:lnTo>
                    <a:pt x="0" y="0"/>
                  </a:lnTo>
                  <a:close/>
                </a:path>
              </a:pathLst>
            </a:custGeom>
            <a:solidFill>
              <a:srgbClr val="B0D0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45" name="îṡľíďé"/>
            <p:cNvSpPr/>
            <p:nvPr/>
          </p:nvSpPr>
          <p:spPr bwMode="auto">
            <a:xfrm>
              <a:off x="5137754" y="2729785"/>
              <a:ext cx="521448" cy="497747"/>
            </a:xfrm>
            <a:custGeom>
              <a:avLst/>
              <a:gdLst>
                <a:gd name="T0" fmla="*/ 65 w 74"/>
                <a:gd name="T1" fmla="*/ 42 h 71"/>
                <a:gd name="T2" fmla="*/ 67 w 74"/>
                <a:gd name="T3" fmla="*/ 31 h 71"/>
                <a:gd name="T4" fmla="*/ 53 w 74"/>
                <a:gd name="T5" fmla="*/ 16 h 71"/>
                <a:gd name="T6" fmla="*/ 41 w 74"/>
                <a:gd name="T7" fmla="*/ 21 h 71"/>
                <a:gd name="T8" fmla="*/ 50 w 74"/>
                <a:gd name="T9" fmla="*/ 8 h 71"/>
                <a:gd name="T10" fmla="*/ 36 w 74"/>
                <a:gd name="T11" fmla="*/ 0 h 71"/>
                <a:gd name="T12" fmla="*/ 36 w 74"/>
                <a:gd name="T13" fmla="*/ 0 h 71"/>
                <a:gd name="T14" fmla="*/ 36 w 74"/>
                <a:gd name="T15" fmla="*/ 0 h 71"/>
                <a:gd name="T16" fmla="*/ 23 w 74"/>
                <a:gd name="T17" fmla="*/ 9 h 71"/>
                <a:gd name="T18" fmla="*/ 32 w 74"/>
                <a:gd name="T19" fmla="*/ 22 h 71"/>
                <a:gd name="T20" fmla="*/ 19 w 74"/>
                <a:gd name="T21" fmla="*/ 17 h 71"/>
                <a:gd name="T22" fmla="*/ 7 w 74"/>
                <a:gd name="T23" fmla="*/ 33 h 71"/>
                <a:gd name="T24" fmla="*/ 9 w 74"/>
                <a:gd name="T25" fmla="*/ 44 h 71"/>
                <a:gd name="T26" fmla="*/ 11 w 74"/>
                <a:gd name="T27" fmla="*/ 64 h 71"/>
                <a:gd name="T28" fmla="*/ 37 w 74"/>
                <a:gd name="T29" fmla="*/ 59 h 71"/>
                <a:gd name="T30" fmla="*/ 37 w 74"/>
                <a:gd name="T31" fmla="*/ 59 h 71"/>
                <a:gd name="T32" fmla="*/ 37 w 74"/>
                <a:gd name="T33" fmla="*/ 59 h 71"/>
                <a:gd name="T34" fmla="*/ 64 w 74"/>
                <a:gd name="T35" fmla="*/ 63 h 71"/>
                <a:gd name="T36" fmla="*/ 65 w 74"/>
                <a:gd name="T37" fmla="*/ 4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71">
                  <a:moveTo>
                    <a:pt x="65" y="42"/>
                  </a:moveTo>
                  <a:cubicBezTo>
                    <a:pt x="56" y="47"/>
                    <a:pt x="67" y="37"/>
                    <a:pt x="67" y="31"/>
                  </a:cubicBezTo>
                  <a:cubicBezTo>
                    <a:pt x="67" y="26"/>
                    <a:pt x="60" y="10"/>
                    <a:pt x="53" y="16"/>
                  </a:cubicBezTo>
                  <a:cubicBezTo>
                    <a:pt x="46" y="22"/>
                    <a:pt x="39" y="23"/>
                    <a:pt x="41" y="21"/>
                  </a:cubicBezTo>
                  <a:cubicBezTo>
                    <a:pt x="43" y="20"/>
                    <a:pt x="51" y="14"/>
                    <a:pt x="50" y="8"/>
                  </a:cubicBezTo>
                  <a:cubicBezTo>
                    <a:pt x="48" y="2"/>
                    <a:pt x="36" y="0"/>
                    <a:pt x="36" y="0"/>
                  </a:cubicBezTo>
                  <a:cubicBezTo>
                    <a:pt x="36" y="0"/>
                    <a:pt x="36" y="0"/>
                    <a:pt x="36" y="0"/>
                  </a:cubicBezTo>
                  <a:cubicBezTo>
                    <a:pt x="36" y="0"/>
                    <a:pt x="36" y="0"/>
                    <a:pt x="36" y="0"/>
                  </a:cubicBezTo>
                  <a:cubicBezTo>
                    <a:pt x="36" y="0"/>
                    <a:pt x="24" y="3"/>
                    <a:pt x="23" y="9"/>
                  </a:cubicBezTo>
                  <a:cubicBezTo>
                    <a:pt x="22" y="15"/>
                    <a:pt x="30" y="20"/>
                    <a:pt x="32" y="22"/>
                  </a:cubicBezTo>
                  <a:cubicBezTo>
                    <a:pt x="34" y="23"/>
                    <a:pt x="27" y="23"/>
                    <a:pt x="19" y="17"/>
                  </a:cubicBezTo>
                  <a:cubicBezTo>
                    <a:pt x="12" y="11"/>
                    <a:pt x="6" y="27"/>
                    <a:pt x="7" y="33"/>
                  </a:cubicBezTo>
                  <a:cubicBezTo>
                    <a:pt x="7" y="38"/>
                    <a:pt x="18" y="48"/>
                    <a:pt x="9" y="44"/>
                  </a:cubicBezTo>
                  <a:cubicBezTo>
                    <a:pt x="0" y="39"/>
                    <a:pt x="6" y="58"/>
                    <a:pt x="11" y="64"/>
                  </a:cubicBezTo>
                  <a:cubicBezTo>
                    <a:pt x="17" y="71"/>
                    <a:pt x="33" y="65"/>
                    <a:pt x="37" y="59"/>
                  </a:cubicBezTo>
                  <a:cubicBezTo>
                    <a:pt x="37" y="59"/>
                    <a:pt x="37" y="59"/>
                    <a:pt x="37" y="59"/>
                  </a:cubicBezTo>
                  <a:cubicBezTo>
                    <a:pt x="37" y="59"/>
                    <a:pt x="37" y="59"/>
                    <a:pt x="37" y="59"/>
                  </a:cubicBezTo>
                  <a:cubicBezTo>
                    <a:pt x="43" y="64"/>
                    <a:pt x="59" y="70"/>
                    <a:pt x="64" y="63"/>
                  </a:cubicBezTo>
                  <a:cubicBezTo>
                    <a:pt x="69" y="56"/>
                    <a:pt x="74" y="38"/>
                    <a:pt x="65" y="42"/>
                  </a:cubicBezTo>
                  <a:close/>
                </a:path>
              </a:pathLst>
            </a:custGeom>
            <a:solidFill>
              <a:srgbClr val="B0D0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46" name="íṧļiḑè"/>
            <p:cNvSpPr/>
            <p:nvPr/>
          </p:nvSpPr>
          <p:spPr bwMode="auto">
            <a:xfrm>
              <a:off x="5391707" y="2770417"/>
              <a:ext cx="27088" cy="1252830"/>
            </a:xfrm>
            <a:custGeom>
              <a:avLst/>
              <a:gdLst>
                <a:gd name="T0" fmla="*/ 0 w 4"/>
                <a:gd name="T1" fmla="*/ 0 h 178"/>
                <a:gd name="T2" fmla="*/ 2 w 4"/>
                <a:gd name="T3" fmla="*/ 45 h 178"/>
                <a:gd name="T4" fmla="*/ 3 w 4"/>
                <a:gd name="T5" fmla="*/ 89 h 178"/>
                <a:gd name="T6" fmla="*/ 4 w 4"/>
                <a:gd name="T7" fmla="*/ 133 h 178"/>
                <a:gd name="T8" fmla="*/ 4 w 4"/>
                <a:gd name="T9" fmla="*/ 178 h 178"/>
                <a:gd name="T10" fmla="*/ 2 w 4"/>
                <a:gd name="T11" fmla="*/ 133 h 178"/>
                <a:gd name="T12" fmla="*/ 1 w 4"/>
                <a:gd name="T13" fmla="*/ 89 h 178"/>
                <a:gd name="T14" fmla="*/ 0 w 4"/>
                <a:gd name="T15" fmla="*/ 45 h 178"/>
                <a:gd name="T16" fmla="*/ 0 w 4"/>
                <a:gd name="T1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78">
                  <a:moveTo>
                    <a:pt x="0" y="0"/>
                  </a:moveTo>
                  <a:cubicBezTo>
                    <a:pt x="1" y="15"/>
                    <a:pt x="2" y="30"/>
                    <a:pt x="2" y="45"/>
                  </a:cubicBezTo>
                  <a:cubicBezTo>
                    <a:pt x="3" y="89"/>
                    <a:pt x="3" y="89"/>
                    <a:pt x="3" y="89"/>
                  </a:cubicBezTo>
                  <a:cubicBezTo>
                    <a:pt x="4" y="133"/>
                    <a:pt x="4" y="133"/>
                    <a:pt x="4" y="133"/>
                  </a:cubicBezTo>
                  <a:cubicBezTo>
                    <a:pt x="4" y="148"/>
                    <a:pt x="4" y="163"/>
                    <a:pt x="4" y="178"/>
                  </a:cubicBezTo>
                  <a:cubicBezTo>
                    <a:pt x="3" y="163"/>
                    <a:pt x="3" y="148"/>
                    <a:pt x="2" y="133"/>
                  </a:cubicBezTo>
                  <a:cubicBezTo>
                    <a:pt x="1" y="89"/>
                    <a:pt x="1" y="89"/>
                    <a:pt x="1" y="89"/>
                  </a:cubicBezTo>
                  <a:cubicBezTo>
                    <a:pt x="0" y="45"/>
                    <a:pt x="0" y="45"/>
                    <a:pt x="0" y="45"/>
                  </a:cubicBezTo>
                  <a:cubicBezTo>
                    <a:pt x="0" y="30"/>
                    <a:pt x="0" y="15"/>
                    <a:pt x="0" y="0"/>
                  </a:cubicBezTo>
                  <a:close/>
                </a:path>
              </a:pathLst>
            </a:custGeom>
            <a:solidFill>
              <a:srgbClr val="B0D0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47" name="îŝḷîḓé"/>
            <p:cNvSpPr/>
            <p:nvPr/>
          </p:nvSpPr>
          <p:spPr bwMode="auto">
            <a:xfrm>
              <a:off x="5777715" y="1480342"/>
              <a:ext cx="558695" cy="558695"/>
            </a:xfrm>
            <a:custGeom>
              <a:avLst/>
              <a:gdLst>
                <a:gd name="T0" fmla="*/ 69 w 79"/>
                <a:gd name="T1" fmla="*/ 51 h 79"/>
                <a:gd name="T2" fmla="*/ 73 w 79"/>
                <a:gd name="T3" fmla="*/ 40 h 79"/>
                <a:gd name="T4" fmla="*/ 61 w 79"/>
                <a:gd name="T5" fmla="*/ 20 h 79"/>
                <a:gd name="T6" fmla="*/ 47 w 79"/>
                <a:gd name="T7" fmla="*/ 24 h 79"/>
                <a:gd name="T8" fmla="*/ 58 w 79"/>
                <a:gd name="T9" fmla="*/ 12 h 79"/>
                <a:gd name="T10" fmla="*/ 45 w 79"/>
                <a:gd name="T11" fmla="*/ 0 h 79"/>
                <a:gd name="T12" fmla="*/ 45 w 79"/>
                <a:gd name="T13" fmla="*/ 1 h 79"/>
                <a:gd name="T14" fmla="*/ 45 w 79"/>
                <a:gd name="T15" fmla="*/ 0 h 79"/>
                <a:gd name="T16" fmla="*/ 30 w 79"/>
                <a:gd name="T17" fmla="*/ 7 h 79"/>
                <a:gd name="T18" fmla="*/ 37 w 79"/>
                <a:gd name="T19" fmla="*/ 23 h 79"/>
                <a:gd name="T20" fmla="*/ 25 w 79"/>
                <a:gd name="T21" fmla="*/ 15 h 79"/>
                <a:gd name="T22" fmla="*/ 8 w 79"/>
                <a:gd name="T23" fmla="*/ 30 h 79"/>
                <a:gd name="T24" fmla="*/ 8 w 79"/>
                <a:gd name="T25" fmla="*/ 42 h 79"/>
                <a:gd name="T26" fmla="*/ 7 w 79"/>
                <a:gd name="T27" fmla="*/ 65 h 79"/>
                <a:gd name="T28" fmla="*/ 36 w 79"/>
                <a:gd name="T29" fmla="*/ 64 h 79"/>
                <a:gd name="T30" fmla="*/ 36 w 79"/>
                <a:gd name="T31" fmla="*/ 63 h 79"/>
                <a:gd name="T32" fmla="*/ 36 w 79"/>
                <a:gd name="T33" fmla="*/ 64 h 79"/>
                <a:gd name="T34" fmla="*/ 63 w 79"/>
                <a:gd name="T35" fmla="*/ 73 h 79"/>
                <a:gd name="T36" fmla="*/ 69 w 79"/>
                <a:gd name="T37" fmla="*/ 5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 h="79">
                  <a:moveTo>
                    <a:pt x="69" y="51"/>
                  </a:moveTo>
                  <a:cubicBezTo>
                    <a:pt x="59" y="54"/>
                    <a:pt x="72" y="45"/>
                    <a:pt x="73" y="40"/>
                  </a:cubicBezTo>
                  <a:cubicBezTo>
                    <a:pt x="74" y="34"/>
                    <a:pt x="70" y="15"/>
                    <a:pt x="61" y="20"/>
                  </a:cubicBezTo>
                  <a:cubicBezTo>
                    <a:pt x="52" y="26"/>
                    <a:pt x="44" y="25"/>
                    <a:pt x="47" y="24"/>
                  </a:cubicBezTo>
                  <a:cubicBezTo>
                    <a:pt x="50" y="23"/>
                    <a:pt x="59" y="18"/>
                    <a:pt x="58" y="12"/>
                  </a:cubicBezTo>
                  <a:cubicBezTo>
                    <a:pt x="58" y="5"/>
                    <a:pt x="45" y="0"/>
                    <a:pt x="45" y="0"/>
                  </a:cubicBezTo>
                  <a:cubicBezTo>
                    <a:pt x="45" y="1"/>
                    <a:pt x="45" y="1"/>
                    <a:pt x="45" y="1"/>
                  </a:cubicBezTo>
                  <a:cubicBezTo>
                    <a:pt x="45" y="0"/>
                    <a:pt x="45" y="0"/>
                    <a:pt x="45" y="0"/>
                  </a:cubicBezTo>
                  <a:cubicBezTo>
                    <a:pt x="45" y="0"/>
                    <a:pt x="32" y="1"/>
                    <a:pt x="30" y="7"/>
                  </a:cubicBezTo>
                  <a:cubicBezTo>
                    <a:pt x="27" y="14"/>
                    <a:pt x="35" y="21"/>
                    <a:pt x="37" y="23"/>
                  </a:cubicBezTo>
                  <a:cubicBezTo>
                    <a:pt x="39" y="24"/>
                    <a:pt x="31" y="23"/>
                    <a:pt x="25" y="15"/>
                  </a:cubicBezTo>
                  <a:cubicBezTo>
                    <a:pt x="18" y="7"/>
                    <a:pt x="9" y="24"/>
                    <a:pt x="8" y="30"/>
                  </a:cubicBezTo>
                  <a:cubicBezTo>
                    <a:pt x="7" y="36"/>
                    <a:pt x="17" y="48"/>
                    <a:pt x="8" y="42"/>
                  </a:cubicBezTo>
                  <a:cubicBezTo>
                    <a:pt x="0" y="36"/>
                    <a:pt x="3" y="56"/>
                    <a:pt x="7" y="65"/>
                  </a:cubicBezTo>
                  <a:cubicBezTo>
                    <a:pt x="12" y="73"/>
                    <a:pt x="30" y="69"/>
                    <a:pt x="36" y="64"/>
                  </a:cubicBezTo>
                  <a:cubicBezTo>
                    <a:pt x="36" y="63"/>
                    <a:pt x="36" y="63"/>
                    <a:pt x="36" y="63"/>
                  </a:cubicBezTo>
                  <a:cubicBezTo>
                    <a:pt x="36" y="64"/>
                    <a:pt x="36" y="64"/>
                    <a:pt x="36" y="64"/>
                  </a:cubicBezTo>
                  <a:cubicBezTo>
                    <a:pt x="40" y="70"/>
                    <a:pt x="57" y="79"/>
                    <a:pt x="63" y="73"/>
                  </a:cubicBezTo>
                  <a:cubicBezTo>
                    <a:pt x="70" y="66"/>
                    <a:pt x="79" y="48"/>
                    <a:pt x="69" y="51"/>
                  </a:cubicBezTo>
                  <a:close/>
                </a:path>
              </a:pathLst>
            </a:custGeom>
            <a:solidFill>
              <a:srgbClr val="B0D0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48" name="iŝ1ïďê"/>
            <p:cNvSpPr/>
            <p:nvPr/>
          </p:nvSpPr>
          <p:spPr bwMode="auto">
            <a:xfrm>
              <a:off x="5835276" y="1517587"/>
              <a:ext cx="260725" cy="1899562"/>
            </a:xfrm>
            <a:custGeom>
              <a:avLst/>
              <a:gdLst>
                <a:gd name="T0" fmla="*/ 77 w 77"/>
                <a:gd name="T1" fmla="*/ 0 h 561"/>
                <a:gd name="T2" fmla="*/ 69 w 77"/>
                <a:gd name="T3" fmla="*/ 70 h 561"/>
                <a:gd name="T4" fmla="*/ 60 w 77"/>
                <a:gd name="T5" fmla="*/ 141 h 561"/>
                <a:gd name="T6" fmla="*/ 42 w 77"/>
                <a:gd name="T7" fmla="*/ 281 h 561"/>
                <a:gd name="T8" fmla="*/ 21 w 77"/>
                <a:gd name="T9" fmla="*/ 422 h 561"/>
                <a:gd name="T10" fmla="*/ 10 w 77"/>
                <a:gd name="T11" fmla="*/ 491 h 561"/>
                <a:gd name="T12" fmla="*/ 0 w 77"/>
                <a:gd name="T13" fmla="*/ 561 h 561"/>
                <a:gd name="T14" fmla="*/ 8 w 77"/>
                <a:gd name="T15" fmla="*/ 491 h 561"/>
                <a:gd name="T16" fmla="*/ 17 w 77"/>
                <a:gd name="T17" fmla="*/ 420 h 561"/>
                <a:gd name="T18" fmla="*/ 35 w 77"/>
                <a:gd name="T19" fmla="*/ 281 h 561"/>
                <a:gd name="T20" fmla="*/ 56 w 77"/>
                <a:gd name="T21" fmla="*/ 141 h 561"/>
                <a:gd name="T22" fmla="*/ 67 w 77"/>
                <a:gd name="T23" fmla="*/ 70 h 561"/>
                <a:gd name="T24" fmla="*/ 77 w 77"/>
                <a:gd name="T25"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561">
                  <a:moveTo>
                    <a:pt x="77" y="0"/>
                  </a:moveTo>
                  <a:lnTo>
                    <a:pt x="69" y="70"/>
                  </a:lnTo>
                  <a:lnTo>
                    <a:pt x="60" y="141"/>
                  </a:lnTo>
                  <a:lnTo>
                    <a:pt x="42" y="281"/>
                  </a:lnTo>
                  <a:lnTo>
                    <a:pt x="21" y="422"/>
                  </a:lnTo>
                  <a:lnTo>
                    <a:pt x="10" y="491"/>
                  </a:lnTo>
                  <a:lnTo>
                    <a:pt x="0" y="561"/>
                  </a:lnTo>
                  <a:lnTo>
                    <a:pt x="8" y="491"/>
                  </a:lnTo>
                  <a:lnTo>
                    <a:pt x="17" y="420"/>
                  </a:lnTo>
                  <a:lnTo>
                    <a:pt x="35" y="281"/>
                  </a:lnTo>
                  <a:lnTo>
                    <a:pt x="56" y="141"/>
                  </a:lnTo>
                  <a:lnTo>
                    <a:pt x="67" y="70"/>
                  </a:lnTo>
                  <a:lnTo>
                    <a:pt x="77" y="0"/>
                  </a:lnTo>
                  <a:close/>
                </a:path>
              </a:pathLst>
            </a:custGeom>
            <a:solidFill>
              <a:srgbClr val="B0D0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49" name="íṡľiḑê"/>
            <p:cNvSpPr/>
            <p:nvPr/>
          </p:nvSpPr>
          <p:spPr bwMode="auto">
            <a:xfrm>
              <a:off x="4839784" y="1686889"/>
              <a:ext cx="436799" cy="430026"/>
            </a:xfrm>
            <a:custGeom>
              <a:avLst/>
              <a:gdLst>
                <a:gd name="T0" fmla="*/ 55 w 62"/>
                <a:gd name="T1" fmla="*/ 33 h 61"/>
                <a:gd name="T2" fmla="*/ 55 w 62"/>
                <a:gd name="T3" fmla="*/ 24 h 61"/>
                <a:gd name="T4" fmla="*/ 43 w 62"/>
                <a:gd name="T5" fmla="*/ 12 h 61"/>
                <a:gd name="T6" fmla="*/ 33 w 62"/>
                <a:gd name="T7" fmla="*/ 18 h 61"/>
                <a:gd name="T8" fmla="*/ 39 w 62"/>
                <a:gd name="T9" fmla="*/ 6 h 61"/>
                <a:gd name="T10" fmla="*/ 27 w 62"/>
                <a:gd name="T11" fmla="*/ 0 h 61"/>
                <a:gd name="T12" fmla="*/ 27 w 62"/>
                <a:gd name="T13" fmla="*/ 0 h 61"/>
                <a:gd name="T14" fmla="*/ 27 w 62"/>
                <a:gd name="T15" fmla="*/ 0 h 61"/>
                <a:gd name="T16" fmla="*/ 17 w 62"/>
                <a:gd name="T17" fmla="*/ 9 h 61"/>
                <a:gd name="T18" fmla="*/ 25 w 62"/>
                <a:gd name="T19" fmla="*/ 18 h 61"/>
                <a:gd name="T20" fmla="*/ 15 w 62"/>
                <a:gd name="T21" fmla="*/ 15 h 61"/>
                <a:gd name="T22" fmla="*/ 5 w 62"/>
                <a:gd name="T23" fmla="*/ 30 h 61"/>
                <a:gd name="T24" fmla="*/ 8 w 62"/>
                <a:gd name="T25" fmla="*/ 39 h 61"/>
                <a:gd name="T26" fmla="*/ 11 w 62"/>
                <a:gd name="T27" fmla="*/ 56 h 61"/>
                <a:gd name="T28" fmla="*/ 33 w 62"/>
                <a:gd name="T29" fmla="*/ 49 h 61"/>
                <a:gd name="T30" fmla="*/ 33 w 62"/>
                <a:gd name="T31" fmla="*/ 49 h 61"/>
                <a:gd name="T32" fmla="*/ 33 w 62"/>
                <a:gd name="T33" fmla="*/ 49 h 61"/>
                <a:gd name="T34" fmla="*/ 55 w 62"/>
                <a:gd name="T35" fmla="*/ 51 h 61"/>
                <a:gd name="T36" fmla="*/ 55 w 62"/>
                <a:gd name="T37" fmla="*/ 3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61">
                  <a:moveTo>
                    <a:pt x="55" y="33"/>
                  </a:moveTo>
                  <a:cubicBezTo>
                    <a:pt x="48" y="38"/>
                    <a:pt x="56" y="29"/>
                    <a:pt x="55" y="24"/>
                  </a:cubicBezTo>
                  <a:cubicBezTo>
                    <a:pt x="55" y="20"/>
                    <a:pt x="48" y="6"/>
                    <a:pt x="43" y="12"/>
                  </a:cubicBezTo>
                  <a:cubicBezTo>
                    <a:pt x="38" y="18"/>
                    <a:pt x="31" y="19"/>
                    <a:pt x="33" y="18"/>
                  </a:cubicBezTo>
                  <a:cubicBezTo>
                    <a:pt x="35" y="16"/>
                    <a:pt x="41" y="11"/>
                    <a:pt x="39" y="6"/>
                  </a:cubicBezTo>
                  <a:cubicBezTo>
                    <a:pt x="38" y="1"/>
                    <a:pt x="27" y="0"/>
                    <a:pt x="27" y="0"/>
                  </a:cubicBezTo>
                  <a:cubicBezTo>
                    <a:pt x="27" y="0"/>
                    <a:pt x="27" y="0"/>
                    <a:pt x="27" y="0"/>
                  </a:cubicBezTo>
                  <a:cubicBezTo>
                    <a:pt x="27" y="0"/>
                    <a:pt x="27" y="0"/>
                    <a:pt x="27" y="0"/>
                  </a:cubicBezTo>
                  <a:cubicBezTo>
                    <a:pt x="27" y="0"/>
                    <a:pt x="17" y="3"/>
                    <a:pt x="17" y="9"/>
                  </a:cubicBezTo>
                  <a:cubicBezTo>
                    <a:pt x="16" y="14"/>
                    <a:pt x="23" y="17"/>
                    <a:pt x="25" y="18"/>
                  </a:cubicBezTo>
                  <a:cubicBezTo>
                    <a:pt x="27" y="19"/>
                    <a:pt x="21" y="20"/>
                    <a:pt x="15" y="15"/>
                  </a:cubicBezTo>
                  <a:cubicBezTo>
                    <a:pt x="8" y="11"/>
                    <a:pt x="4" y="25"/>
                    <a:pt x="5" y="30"/>
                  </a:cubicBezTo>
                  <a:cubicBezTo>
                    <a:pt x="6" y="34"/>
                    <a:pt x="16" y="41"/>
                    <a:pt x="8" y="39"/>
                  </a:cubicBezTo>
                  <a:cubicBezTo>
                    <a:pt x="0" y="36"/>
                    <a:pt x="6" y="51"/>
                    <a:pt x="11" y="56"/>
                  </a:cubicBezTo>
                  <a:cubicBezTo>
                    <a:pt x="16" y="61"/>
                    <a:pt x="29" y="54"/>
                    <a:pt x="33" y="49"/>
                  </a:cubicBezTo>
                  <a:cubicBezTo>
                    <a:pt x="33" y="49"/>
                    <a:pt x="33" y="49"/>
                    <a:pt x="33" y="49"/>
                  </a:cubicBezTo>
                  <a:cubicBezTo>
                    <a:pt x="33" y="49"/>
                    <a:pt x="33" y="49"/>
                    <a:pt x="33" y="49"/>
                  </a:cubicBezTo>
                  <a:cubicBezTo>
                    <a:pt x="37" y="54"/>
                    <a:pt x="51" y="57"/>
                    <a:pt x="55" y="51"/>
                  </a:cubicBezTo>
                  <a:cubicBezTo>
                    <a:pt x="59" y="45"/>
                    <a:pt x="62" y="29"/>
                    <a:pt x="55" y="33"/>
                  </a:cubicBezTo>
                  <a:close/>
                </a:path>
              </a:pathLst>
            </a:custGeom>
            <a:solidFill>
              <a:srgbClr val="B0D0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50" name="ïṡlïḍê"/>
            <p:cNvSpPr/>
            <p:nvPr/>
          </p:nvSpPr>
          <p:spPr bwMode="auto">
            <a:xfrm>
              <a:off x="5036174" y="1713977"/>
              <a:ext cx="253953" cy="2099337"/>
            </a:xfrm>
            <a:custGeom>
              <a:avLst/>
              <a:gdLst>
                <a:gd name="T0" fmla="*/ 0 w 36"/>
                <a:gd name="T1" fmla="*/ 0 h 298"/>
                <a:gd name="T2" fmla="*/ 10 w 36"/>
                <a:gd name="T3" fmla="*/ 74 h 298"/>
                <a:gd name="T4" fmla="*/ 19 w 36"/>
                <a:gd name="T5" fmla="*/ 149 h 298"/>
                <a:gd name="T6" fmla="*/ 28 w 36"/>
                <a:gd name="T7" fmla="*/ 223 h 298"/>
                <a:gd name="T8" fmla="*/ 36 w 36"/>
                <a:gd name="T9" fmla="*/ 298 h 298"/>
                <a:gd name="T10" fmla="*/ 26 w 36"/>
                <a:gd name="T11" fmla="*/ 224 h 298"/>
                <a:gd name="T12" fmla="*/ 17 w 36"/>
                <a:gd name="T13" fmla="*/ 149 h 298"/>
                <a:gd name="T14" fmla="*/ 8 w 36"/>
                <a:gd name="T15" fmla="*/ 74 h 298"/>
                <a:gd name="T16" fmla="*/ 0 w 36"/>
                <a:gd name="T17"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98">
                  <a:moveTo>
                    <a:pt x="0" y="0"/>
                  </a:moveTo>
                  <a:cubicBezTo>
                    <a:pt x="3" y="25"/>
                    <a:pt x="7" y="49"/>
                    <a:pt x="10" y="74"/>
                  </a:cubicBezTo>
                  <a:cubicBezTo>
                    <a:pt x="19" y="149"/>
                    <a:pt x="19" y="149"/>
                    <a:pt x="19" y="149"/>
                  </a:cubicBezTo>
                  <a:cubicBezTo>
                    <a:pt x="28" y="223"/>
                    <a:pt x="28" y="223"/>
                    <a:pt x="28" y="223"/>
                  </a:cubicBezTo>
                  <a:cubicBezTo>
                    <a:pt x="31" y="248"/>
                    <a:pt x="33" y="273"/>
                    <a:pt x="36" y="298"/>
                  </a:cubicBezTo>
                  <a:cubicBezTo>
                    <a:pt x="33" y="273"/>
                    <a:pt x="29" y="249"/>
                    <a:pt x="26" y="224"/>
                  </a:cubicBezTo>
                  <a:cubicBezTo>
                    <a:pt x="17" y="149"/>
                    <a:pt x="17" y="149"/>
                    <a:pt x="17" y="149"/>
                  </a:cubicBezTo>
                  <a:cubicBezTo>
                    <a:pt x="8" y="74"/>
                    <a:pt x="8" y="74"/>
                    <a:pt x="8" y="74"/>
                  </a:cubicBezTo>
                  <a:cubicBezTo>
                    <a:pt x="5" y="50"/>
                    <a:pt x="2" y="25"/>
                    <a:pt x="0" y="0"/>
                  </a:cubicBezTo>
                  <a:close/>
                </a:path>
              </a:pathLst>
            </a:custGeom>
            <a:solidFill>
              <a:srgbClr val="B0D0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51" name="i$ḻiḋè"/>
            <p:cNvSpPr/>
            <p:nvPr/>
          </p:nvSpPr>
          <p:spPr bwMode="auto">
            <a:xfrm>
              <a:off x="5777715" y="2171092"/>
              <a:ext cx="748313" cy="748313"/>
            </a:xfrm>
            <a:custGeom>
              <a:avLst/>
              <a:gdLst>
                <a:gd name="T0" fmla="*/ 92 w 106"/>
                <a:gd name="T1" fmla="*/ 69 h 106"/>
                <a:gd name="T2" fmla="*/ 98 w 106"/>
                <a:gd name="T3" fmla="*/ 54 h 106"/>
                <a:gd name="T4" fmla="*/ 84 w 106"/>
                <a:gd name="T5" fmla="*/ 28 h 106"/>
                <a:gd name="T6" fmla="*/ 65 w 106"/>
                <a:gd name="T7" fmla="*/ 31 h 106"/>
                <a:gd name="T8" fmla="*/ 81 w 106"/>
                <a:gd name="T9" fmla="*/ 16 h 106"/>
                <a:gd name="T10" fmla="*/ 64 w 106"/>
                <a:gd name="T11" fmla="*/ 0 h 106"/>
                <a:gd name="T12" fmla="*/ 64 w 106"/>
                <a:gd name="T13" fmla="*/ 0 h 106"/>
                <a:gd name="T14" fmla="*/ 64 w 106"/>
                <a:gd name="T15" fmla="*/ 0 h 106"/>
                <a:gd name="T16" fmla="*/ 42 w 106"/>
                <a:gd name="T17" fmla="*/ 8 h 106"/>
                <a:gd name="T18" fmla="*/ 51 w 106"/>
                <a:gd name="T19" fmla="*/ 29 h 106"/>
                <a:gd name="T20" fmla="*/ 35 w 106"/>
                <a:gd name="T21" fmla="*/ 17 h 106"/>
                <a:gd name="T22" fmla="*/ 12 w 106"/>
                <a:gd name="T23" fmla="*/ 36 h 106"/>
                <a:gd name="T24" fmla="*/ 11 w 106"/>
                <a:gd name="T25" fmla="*/ 52 h 106"/>
                <a:gd name="T26" fmla="*/ 8 w 106"/>
                <a:gd name="T27" fmla="*/ 82 h 106"/>
                <a:gd name="T28" fmla="*/ 47 w 106"/>
                <a:gd name="T29" fmla="*/ 83 h 106"/>
                <a:gd name="T30" fmla="*/ 47 w 106"/>
                <a:gd name="T31" fmla="*/ 83 h 106"/>
                <a:gd name="T32" fmla="*/ 47 w 106"/>
                <a:gd name="T33" fmla="*/ 83 h 106"/>
                <a:gd name="T34" fmla="*/ 83 w 106"/>
                <a:gd name="T35" fmla="*/ 98 h 106"/>
                <a:gd name="T36" fmla="*/ 92 w 106"/>
                <a:gd name="T37" fmla="*/ 6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106">
                  <a:moveTo>
                    <a:pt x="92" y="69"/>
                  </a:moveTo>
                  <a:cubicBezTo>
                    <a:pt x="78" y="73"/>
                    <a:pt x="96" y="62"/>
                    <a:pt x="98" y="54"/>
                  </a:cubicBezTo>
                  <a:cubicBezTo>
                    <a:pt x="100" y="46"/>
                    <a:pt x="96" y="21"/>
                    <a:pt x="84" y="28"/>
                  </a:cubicBezTo>
                  <a:cubicBezTo>
                    <a:pt x="72" y="34"/>
                    <a:pt x="61" y="33"/>
                    <a:pt x="65" y="31"/>
                  </a:cubicBezTo>
                  <a:cubicBezTo>
                    <a:pt x="68" y="30"/>
                    <a:pt x="81" y="25"/>
                    <a:pt x="81" y="16"/>
                  </a:cubicBezTo>
                  <a:cubicBezTo>
                    <a:pt x="81" y="7"/>
                    <a:pt x="64" y="0"/>
                    <a:pt x="64" y="0"/>
                  </a:cubicBezTo>
                  <a:cubicBezTo>
                    <a:pt x="64" y="0"/>
                    <a:pt x="64" y="0"/>
                    <a:pt x="64" y="0"/>
                  </a:cubicBezTo>
                  <a:cubicBezTo>
                    <a:pt x="64" y="0"/>
                    <a:pt x="64" y="0"/>
                    <a:pt x="64" y="0"/>
                  </a:cubicBezTo>
                  <a:cubicBezTo>
                    <a:pt x="64" y="0"/>
                    <a:pt x="46" y="0"/>
                    <a:pt x="42" y="8"/>
                  </a:cubicBezTo>
                  <a:cubicBezTo>
                    <a:pt x="39" y="16"/>
                    <a:pt x="48" y="26"/>
                    <a:pt x="51" y="29"/>
                  </a:cubicBezTo>
                  <a:cubicBezTo>
                    <a:pt x="54" y="31"/>
                    <a:pt x="44" y="28"/>
                    <a:pt x="35" y="17"/>
                  </a:cubicBezTo>
                  <a:cubicBezTo>
                    <a:pt x="27" y="7"/>
                    <a:pt x="13" y="28"/>
                    <a:pt x="12" y="36"/>
                  </a:cubicBezTo>
                  <a:cubicBezTo>
                    <a:pt x="10" y="44"/>
                    <a:pt x="23" y="61"/>
                    <a:pt x="11" y="52"/>
                  </a:cubicBezTo>
                  <a:cubicBezTo>
                    <a:pt x="0" y="43"/>
                    <a:pt x="3" y="71"/>
                    <a:pt x="8" y="82"/>
                  </a:cubicBezTo>
                  <a:cubicBezTo>
                    <a:pt x="14" y="94"/>
                    <a:pt x="38" y="90"/>
                    <a:pt x="47" y="83"/>
                  </a:cubicBezTo>
                  <a:cubicBezTo>
                    <a:pt x="47" y="83"/>
                    <a:pt x="47" y="83"/>
                    <a:pt x="47" y="83"/>
                  </a:cubicBezTo>
                  <a:cubicBezTo>
                    <a:pt x="47" y="83"/>
                    <a:pt x="47" y="83"/>
                    <a:pt x="47" y="83"/>
                  </a:cubicBezTo>
                  <a:cubicBezTo>
                    <a:pt x="52" y="93"/>
                    <a:pt x="73" y="106"/>
                    <a:pt x="83" y="98"/>
                  </a:cubicBezTo>
                  <a:cubicBezTo>
                    <a:pt x="92" y="90"/>
                    <a:pt x="106" y="65"/>
                    <a:pt x="92" y="69"/>
                  </a:cubicBezTo>
                  <a:close/>
                </a:path>
              </a:pathLst>
            </a:custGeom>
            <a:solidFill>
              <a:srgbClr val="B0D0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52" name="iSľiďé"/>
            <p:cNvSpPr/>
            <p:nvPr/>
          </p:nvSpPr>
          <p:spPr bwMode="auto">
            <a:xfrm>
              <a:off x="5875908" y="2262513"/>
              <a:ext cx="338603" cy="1584661"/>
            </a:xfrm>
            <a:custGeom>
              <a:avLst/>
              <a:gdLst>
                <a:gd name="T0" fmla="*/ 100 w 100"/>
                <a:gd name="T1" fmla="*/ 0 h 468"/>
                <a:gd name="T2" fmla="*/ 88 w 100"/>
                <a:gd name="T3" fmla="*/ 58 h 468"/>
                <a:gd name="T4" fmla="*/ 77 w 100"/>
                <a:gd name="T5" fmla="*/ 117 h 468"/>
                <a:gd name="T6" fmla="*/ 52 w 100"/>
                <a:gd name="T7" fmla="*/ 235 h 468"/>
                <a:gd name="T8" fmla="*/ 27 w 100"/>
                <a:gd name="T9" fmla="*/ 352 h 468"/>
                <a:gd name="T10" fmla="*/ 15 w 100"/>
                <a:gd name="T11" fmla="*/ 410 h 468"/>
                <a:gd name="T12" fmla="*/ 0 w 100"/>
                <a:gd name="T13" fmla="*/ 468 h 468"/>
                <a:gd name="T14" fmla="*/ 13 w 100"/>
                <a:gd name="T15" fmla="*/ 410 h 468"/>
                <a:gd name="T16" fmla="*/ 23 w 100"/>
                <a:gd name="T17" fmla="*/ 352 h 468"/>
                <a:gd name="T18" fmla="*/ 48 w 100"/>
                <a:gd name="T19" fmla="*/ 233 h 468"/>
                <a:gd name="T20" fmla="*/ 73 w 100"/>
                <a:gd name="T21" fmla="*/ 117 h 468"/>
                <a:gd name="T22" fmla="*/ 86 w 100"/>
                <a:gd name="T23" fmla="*/ 58 h 468"/>
                <a:gd name="T24" fmla="*/ 100 w 100"/>
                <a:gd name="T25"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 h="468">
                  <a:moveTo>
                    <a:pt x="100" y="0"/>
                  </a:moveTo>
                  <a:lnTo>
                    <a:pt x="88" y="58"/>
                  </a:lnTo>
                  <a:lnTo>
                    <a:pt x="77" y="117"/>
                  </a:lnTo>
                  <a:lnTo>
                    <a:pt x="52" y="235"/>
                  </a:lnTo>
                  <a:lnTo>
                    <a:pt x="27" y="352"/>
                  </a:lnTo>
                  <a:lnTo>
                    <a:pt x="15" y="410"/>
                  </a:lnTo>
                  <a:lnTo>
                    <a:pt x="0" y="468"/>
                  </a:lnTo>
                  <a:lnTo>
                    <a:pt x="13" y="410"/>
                  </a:lnTo>
                  <a:lnTo>
                    <a:pt x="23" y="352"/>
                  </a:lnTo>
                  <a:lnTo>
                    <a:pt x="48" y="233"/>
                  </a:lnTo>
                  <a:lnTo>
                    <a:pt x="73" y="117"/>
                  </a:lnTo>
                  <a:lnTo>
                    <a:pt x="86" y="58"/>
                  </a:lnTo>
                  <a:lnTo>
                    <a:pt x="100" y="0"/>
                  </a:lnTo>
                  <a:close/>
                </a:path>
              </a:pathLst>
            </a:custGeom>
            <a:solidFill>
              <a:srgbClr val="B0D0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53" name="išļiḓè"/>
            <p:cNvSpPr/>
            <p:nvPr/>
          </p:nvSpPr>
          <p:spPr bwMode="auto">
            <a:xfrm>
              <a:off x="3322844" y="4686908"/>
              <a:ext cx="1686241" cy="1083529"/>
            </a:xfrm>
            <a:custGeom>
              <a:avLst/>
              <a:gdLst>
                <a:gd name="T0" fmla="*/ 498 w 498"/>
                <a:gd name="T1" fmla="*/ 320 h 320"/>
                <a:gd name="T2" fmla="*/ 498 w 498"/>
                <a:gd name="T3" fmla="*/ 297 h 320"/>
                <a:gd name="T4" fmla="*/ 0 w 498"/>
                <a:gd name="T5" fmla="*/ 0 h 320"/>
                <a:gd name="T6" fmla="*/ 0 w 498"/>
                <a:gd name="T7" fmla="*/ 23 h 320"/>
                <a:gd name="T8" fmla="*/ 498 w 498"/>
                <a:gd name="T9" fmla="*/ 320 h 320"/>
              </a:gdLst>
              <a:ahLst/>
              <a:cxnLst>
                <a:cxn ang="0">
                  <a:pos x="T0" y="T1"/>
                </a:cxn>
                <a:cxn ang="0">
                  <a:pos x="T2" y="T3"/>
                </a:cxn>
                <a:cxn ang="0">
                  <a:pos x="T4" y="T5"/>
                </a:cxn>
                <a:cxn ang="0">
                  <a:pos x="T6" y="T7"/>
                </a:cxn>
                <a:cxn ang="0">
                  <a:pos x="T8" y="T9"/>
                </a:cxn>
              </a:cxnLst>
              <a:rect l="0" t="0" r="r" b="b"/>
              <a:pathLst>
                <a:path w="498" h="320">
                  <a:moveTo>
                    <a:pt x="498" y="320"/>
                  </a:moveTo>
                  <a:lnTo>
                    <a:pt x="498" y="297"/>
                  </a:lnTo>
                  <a:lnTo>
                    <a:pt x="0" y="0"/>
                  </a:lnTo>
                  <a:lnTo>
                    <a:pt x="0" y="23"/>
                  </a:lnTo>
                  <a:lnTo>
                    <a:pt x="498" y="320"/>
                  </a:lnTo>
                  <a:close/>
                </a:path>
              </a:pathLst>
            </a:custGeom>
            <a:solidFill>
              <a:srgbClr val="9BC6F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54" name="íṣľîdé"/>
            <p:cNvSpPr/>
            <p:nvPr/>
          </p:nvSpPr>
          <p:spPr bwMode="auto">
            <a:xfrm>
              <a:off x="5009085" y="3474711"/>
              <a:ext cx="3860071" cy="2295726"/>
            </a:xfrm>
            <a:custGeom>
              <a:avLst/>
              <a:gdLst>
                <a:gd name="T0" fmla="*/ 1140 w 1140"/>
                <a:gd name="T1" fmla="*/ 0 h 678"/>
                <a:gd name="T2" fmla="*/ 1140 w 1140"/>
                <a:gd name="T3" fmla="*/ 23 h 678"/>
                <a:gd name="T4" fmla="*/ 0 w 1140"/>
                <a:gd name="T5" fmla="*/ 678 h 678"/>
                <a:gd name="T6" fmla="*/ 0 w 1140"/>
                <a:gd name="T7" fmla="*/ 655 h 678"/>
                <a:gd name="T8" fmla="*/ 1140 w 1140"/>
                <a:gd name="T9" fmla="*/ 0 h 678"/>
              </a:gdLst>
              <a:ahLst/>
              <a:cxnLst>
                <a:cxn ang="0">
                  <a:pos x="T0" y="T1"/>
                </a:cxn>
                <a:cxn ang="0">
                  <a:pos x="T2" y="T3"/>
                </a:cxn>
                <a:cxn ang="0">
                  <a:pos x="T4" y="T5"/>
                </a:cxn>
                <a:cxn ang="0">
                  <a:pos x="T6" y="T7"/>
                </a:cxn>
                <a:cxn ang="0">
                  <a:pos x="T8" y="T9"/>
                </a:cxn>
              </a:cxnLst>
              <a:rect l="0" t="0" r="r" b="b"/>
              <a:pathLst>
                <a:path w="1140" h="678">
                  <a:moveTo>
                    <a:pt x="1140" y="0"/>
                  </a:moveTo>
                  <a:lnTo>
                    <a:pt x="1140" y="23"/>
                  </a:lnTo>
                  <a:lnTo>
                    <a:pt x="0" y="678"/>
                  </a:lnTo>
                  <a:lnTo>
                    <a:pt x="0" y="655"/>
                  </a:lnTo>
                  <a:lnTo>
                    <a:pt x="1140" y="0"/>
                  </a:lnTo>
                  <a:close/>
                </a:path>
              </a:pathLst>
            </a:custGeom>
            <a:solidFill>
              <a:srgbClr val="B0D0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55" name="íṡlîḋe"/>
            <p:cNvSpPr/>
            <p:nvPr/>
          </p:nvSpPr>
          <p:spPr bwMode="auto">
            <a:xfrm>
              <a:off x="3322844" y="2469062"/>
              <a:ext cx="5546312" cy="3223498"/>
            </a:xfrm>
            <a:custGeom>
              <a:avLst/>
              <a:gdLst>
                <a:gd name="T0" fmla="*/ 1140 w 1638"/>
                <a:gd name="T1" fmla="*/ 0 h 952"/>
                <a:gd name="T2" fmla="*/ 0 w 1638"/>
                <a:gd name="T3" fmla="*/ 655 h 952"/>
                <a:gd name="T4" fmla="*/ 498 w 1638"/>
                <a:gd name="T5" fmla="*/ 952 h 952"/>
                <a:gd name="T6" fmla="*/ 1638 w 1638"/>
                <a:gd name="T7" fmla="*/ 297 h 952"/>
                <a:gd name="T8" fmla="*/ 1140 w 1638"/>
                <a:gd name="T9" fmla="*/ 0 h 952"/>
              </a:gdLst>
              <a:ahLst/>
              <a:cxnLst>
                <a:cxn ang="0">
                  <a:pos x="T0" y="T1"/>
                </a:cxn>
                <a:cxn ang="0">
                  <a:pos x="T2" y="T3"/>
                </a:cxn>
                <a:cxn ang="0">
                  <a:pos x="T4" y="T5"/>
                </a:cxn>
                <a:cxn ang="0">
                  <a:pos x="T6" y="T7"/>
                </a:cxn>
                <a:cxn ang="0">
                  <a:pos x="T8" y="T9"/>
                </a:cxn>
              </a:cxnLst>
              <a:rect l="0" t="0" r="r" b="b"/>
              <a:pathLst>
                <a:path w="1638" h="952">
                  <a:moveTo>
                    <a:pt x="1140" y="0"/>
                  </a:moveTo>
                  <a:lnTo>
                    <a:pt x="0" y="655"/>
                  </a:lnTo>
                  <a:lnTo>
                    <a:pt x="498" y="952"/>
                  </a:lnTo>
                  <a:lnTo>
                    <a:pt x="1638" y="297"/>
                  </a:lnTo>
                  <a:lnTo>
                    <a:pt x="1140" y="0"/>
                  </a:lnTo>
                  <a:close/>
                </a:path>
              </a:pathLst>
            </a:custGeom>
            <a:gradFill>
              <a:gsLst>
                <a:gs pos="0">
                  <a:schemeClr val="bg1"/>
                </a:gs>
                <a:gs pos="100000">
                  <a:srgbClr val="DBEAFF"/>
                </a:gs>
              </a:gsLst>
              <a:lin ang="0" scaled="0"/>
            </a:gradFill>
            <a:ln>
              <a:noFill/>
            </a:ln>
          </p:spPr>
          <p:txBody>
            <a:bodyPr anchor="ctr"/>
            <a:lstStyle/>
            <a:p>
              <a:pPr algn="ctr"/>
              <a:endParaRPr/>
            </a:p>
          </p:txBody>
        </p:sp>
        <p:sp>
          <p:nvSpPr>
            <p:cNvPr id="656" name="ïŝlïḍé"/>
            <p:cNvSpPr/>
            <p:nvPr/>
          </p:nvSpPr>
          <p:spPr bwMode="auto">
            <a:xfrm>
              <a:off x="4995541" y="2763645"/>
              <a:ext cx="1164793" cy="900683"/>
            </a:xfrm>
            <a:custGeom>
              <a:avLst/>
              <a:gdLst>
                <a:gd name="T0" fmla="*/ 33 w 165"/>
                <a:gd name="T1" fmla="*/ 5 h 128"/>
                <a:gd name="T2" fmla="*/ 80 w 165"/>
                <a:gd name="T3" fmla="*/ 71 h 128"/>
                <a:gd name="T4" fmla="*/ 165 w 165"/>
                <a:gd name="T5" fmla="*/ 109 h 128"/>
                <a:gd name="T6" fmla="*/ 133 w 165"/>
                <a:gd name="T7" fmla="*/ 128 h 128"/>
                <a:gd name="T8" fmla="*/ 61 w 165"/>
                <a:gd name="T9" fmla="*/ 94 h 128"/>
                <a:gd name="T10" fmla="*/ 12 w 165"/>
                <a:gd name="T11" fmla="*/ 41 h 128"/>
                <a:gd name="T12" fmla="*/ 0 w 165"/>
                <a:gd name="T13" fmla="*/ 16 h 128"/>
                <a:gd name="T14" fmla="*/ 17 w 165"/>
                <a:gd name="T15" fmla="*/ 0 h 128"/>
                <a:gd name="T16" fmla="*/ 33 w 165"/>
                <a:gd name="T17" fmla="*/ 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28">
                  <a:moveTo>
                    <a:pt x="33" y="5"/>
                  </a:moveTo>
                  <a:cubicBezTo>
                    <a:pt x="33" y="5"/>
                    <a:pt x="69" y="57"/>
                    <a:pt x="80" y="71"/>
                  </a:cubicBezTo>
                  <a:cubicBezTo>
                    <a:pt x="91" y="84"/>
                    <a:pt x="165" y="109"/>
                    <a:pt x="165" y="109"/>
                  </a:cubicBezTo>
                  <a:cubicBezTo>
                    <a:pt x="133" y="128"/>
                    <a:pt x="133" y="128"/>
                    <a:pt x="133" y="128"/>
                  </a:cubicBezTo>
                  <a:cubicBezTo>
                    <a:pt x="133" y="128"/>
                    <a:pt x="78" y="103"/>
                    <a:pt x="61" y="94"/>
                  </a:cubicBezTo>
                  <a:cubicBezTo>
                    <a:pt x="45" y="85"/>
                    <a:pt x="12" y="41"/>
                    <a:pt x="12" y="41"/>
                  </a:cubicBezTo>
                  <a:cubicBezTo>
                    <a:pt x="0" y="16"/>
                    <a:pt x="0" y="16"/>
                    <a:pt x="0" y="16"/>
                  </a:cubicBezTo>
                  <a:cubicBezTo>
                    <a:pt x="17" y="0"/>
                    <a:pt x="17" y="0"/>
                    <a:pt x="17" y="0"/>
                  </a:cubicBezTo>
                  <a:lnTo>
                    <a:pt x="33" y="5"/>
                  </a:lnTo>
                  <a:close/>
                </a:path>
              </a:pathLst>
            </a:custGeom>
            <a:solidFill>
              <a:srgbClr val="FED4D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57" name="îSľîḓê"/>
            <p:cNvSpPr/>
            <p:nvPr/>
          </p:nvSpPr>
          <p:spPr bwMode="auto">
            <a:xfrm>
              <a:off x="4995541" y="2763645"/>
              <a:ext cx="233637" cy="423254"/>
            </a:xfrm>
            <a:custGeom>
              <a:avLst/>
              <a:gdLst>
                <a:gd name="T0" fmla="*/ 17 w 33"/>
                <a:gd name="T1" fmla="*/ 0 h 60"/>
                <a:gd name="T2" fmla="*/ 0 w 33"/>
                <a:gd name="T3" fmla="*/ 16 h 60"/>
                <a:gd name="T4" fmla="*/ 12 w 33"/>
                <a:gd name="T5" fmla="*/ 41 h 60"/>
                <a:gd name="T6" fmla="*/ 27 w 33"/>
                <a:gd name="T7" fmla="*/ 60 h 60"/>
                <a:gd name="T8" fmla="*/ 33 w 33"/>
                <a:gd name="T9" fmla="*/ 5 h 60"/>
                <a:gd name="T10" fmla="*/ 17 w 33"/>
                <a:gd name="T11" fmla="*/ 0 h 60"/>
              </a:gdLst>
              <a:ahLst/>
              <a:cxnLst>
                <a:cxn ang="0">
                  <a:pos x="T0" y="T1"/>
                </a:cxn>
                <a:cxn ang="0">
                  <a:pos x="T2" y="T3"/>
                </a:cxn>
                <a:cxn ang="0">
                  <a:pos x="T4" y="T5"/>
                </a:cxn>
                <a:cxn ang="0">
                  <a:pos x="T6" y="T7"/>
                </a:cxn>
                <a:cxn ang="0">
                  <a:pos x="T8" y="T9"/>
                </a:cxn>
                <a:cxn ang="0">
                  <a:pos x="T10" y="T11"/>
                </a:cxn>
              </a:cxnLst>
              <a:rect l="0" t="0" r="r" b="b"/>
              <a:pathLst>
                <a:path w="33" h="60">
                  <a:moveTo>
                    <a:pt x="17" y="0"/>
                  </a:moveTo>
                  <a:cubicBezTo>
                    <a:pt x="0" y="16"/>
                    <a:pt x="0" y="16"/>
                    <a:pt x="0" y="16"/>
                  </a:cubicBezTo>
                  <a:cubicBezTo>
                    <a:pt x="12" y="41"/>
                    <a:pt x="12" y="41"/>
                    <a:pt x="12" y="41"/>
                  </a:cubicBezTo>
                  <a:cubicBezTo>
                    <a:pt x="12" y="41"/>
                    <a:pt x="18" y="50"/>
                    <a:pt x="27" y="60"/>
                  </a:cubicBezTo>
                  <a:cubicBezTo>
                    <a:pt x="13" y="29"/>
                    <a:pt x="33" y="5"/>
                    <a:pt x="33" y="5"/>
                  </a:cubicBezTo>
                  <a:lnTo>
                    <a:pt x="17" y="0"/>
                  </a:lnTo>
                  <a:close/>
                </a:path>
              </a:pathLst>
            </a:custGeom>
            <a:solidFill>
              <a:srgbClr val="FFA9A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58" name="í$ľïdé"/>
            <p:cNvSpPr/>
            <p:nvPr/>
          </p:nvSpPr>
          <p:spPr bwMode="auto">
            <a:xfrm>
              <a:off x="4877031" y="3376517"/>
              <a:ext cx="1855543" cy="1103845"/>
            </a:xfrm>
            <a:custGeom>
              <a:avLst/>
              <a:gdLst>
                <a:gd name="T0" fmla="*/ 366 w 548"/>
                <a:gd name="T1" fmla="*/ 0 h 326"/>
                <a:gd name="T2" fmla="*/ 0 w 548"/>
                <a:gd name="T3" fmla="*/ 210 h 326"/>
                <a:gd name="T4" fmla="*/ 2 w 548"/>
                <a:gd name="T5" fmla="*/ 210 h 326"/>
                <a:gd name="T6" fmla="*/ 2 w 548"/>
                <a:gd name="T7" fmla="*/ 227 h 326"/>
                <a:gd name="T8" fmla="*/ 168 w 548"/>
                <a:gd name="T9" fmla="*/ 326 h 326"/>
                <a:gd name="T10" fmla="*/ 548 w 548"/>
                <a:gd name="T11" fmla="*/ 110 h 326"/>
                <a:gd name="T12" fmla="*/ 366 w 548"/>
                <a:gd name="T13" fmla="*/ 0 h 326"/>
              </a:gdLst>
              <a:ahLst/>
              <a:cxnLst>
                <a:cxn ang="0">
                  <a:pos x="T0" y="T1"/>
                </a:cxn>
                <a:cxn ang="0">
                  <a:pos x="T2" y="T3"/>
                </a:cxn>
                <a:cxn ang="0">
                  <a:pos x="T4" y="T5"/>
                </a:cxn>
                <a:cxn ang="0">
                  <a:pos x="T6" y="T7"/>
                </a:cxn>
                <a:cxn ang="0">
                  <a:pos x="T8" y="T9"/>
                </a:cxn>
                <a:cxn ang="0">
                  <a:pos x="T10" y="T11"/>
                </a:cxn>
                <a:cxn ang="0">
                  <a:pos x="T12" y="T13"/>
                </a:cxn>
              </a:cxnLst>
              <a:rect l="0" t="0" r="r" b="b"/>
              <a:pathLst>
                <a:path w="548" h="326">
                  <a:moveTo>
                    <a:pt x="366" y="0"/>
                  </a:moveTo>
                  <a:lnTo>
                    <a:pt x="0" y="210"/>
                  </a:lnTo>
                  <a:lnTo>
                    <a:pt x="2" y="210"/>
                  </a:lnTo>
                  <a:lnTo>
                    <a:pt x="2" y="227"/>
                  </a:lnTo>
                  <a:lnTo>
                    <a:pt x="168" y="326"/>
                  </a:lnTo>
                  <a:lnTo>
                    <a:pt x="548" y="110"/>
                  </a:lnTo>
                  <a:lnTo>
                    <a:pt x="366" y="0"/>
                  </a:lnTo>
                  <a:close/>
                </a:path>
              </a:pathLst>
            </a:custGeom>
            <a:solidFill>
              <a:srgbClr val="2948B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59" name="íŝļiḍê"/>
            <p:cNvSpPr/>
            <p:nvPr/>
          </p:nvSpPr>
          <p:spPr bwMode="auto">
            <a:xfrm>
              <a:off x="4050841" y="1185757"/>
              <a:ext cx="995492" cy="958247"/>
            </a:xfrm>
            <a:custGeom>
              <a:avLst/>
              <a:gdLst>
                <a:gd name="T0" fmla="*/ 45 w 141"/>
                <a:gd name="T1" fmla="*/ 136 h 136"/>
                <a:gd name="T2" fmla="*/ 7 w 141"/>
                <a:gd name="T3" fmla="*/ 82 h 136"/>
                <a:gd name="T4" fmla="*/ 39 w 141"/>
                <a:gd name="T5" fmla="*/ 19 h 136"/>
                <a:gd name="T6" fmla="*/ 86 w 141"/>
                <a:gd name="T7" fmla="*/ 10 h 136"/>
                <a:gd name="T8" fmla="*/ 128 w 141"/>
                <a:gd name="T9" fmla="*/ 0 h 136"/>
                <a:gd name="T10" fmla="*/ 109 w 141"/>
                <a:gd name="T11" fmla="*/ 63 h 136"/>
                <a:gd name="T12" fmla="*/ 53 w 141"/>
                <a:gd name="T13" fmla="*/ 93 h 136"/>
                <a:gd name="T14" fmla="*/ 54 w 141"/>
                <a:gd name="T15" fmla="*/ 111 h 136"/>
                <a:gd name="T16" fmla="*/ 45 w 141"/>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36">
                  <a:moveTo>
                    <a:pt x="45" y="136"/>
                  </a:moveTo>
                  <a:cubicBezTo>
                    <a:pt x="45" y="136"/>
                    <a:pt x="15" y="123"/>
                    <a:pt x="7" y="82"/>
                  </a:cubicBezTo>
                  <a:cubicBezTo>
                    <a:pt x="0" y="41"/>
                    <a:pt x="22" y="19"/>
                    <a:pt x="39" y="19"/>
                  </a:cubicBezTo>
                  <a:cubicBezTo>
                    <a:pt x="39" y="19"/>
                    <a:pt x="52" y="2"/>
                    <a:pt x="86" y="10"/>
                  </a:cubicBezTo>
                  <a:cubicBezTo>
                    <a:pt x="120" y="19"/>
                    <a:pt x="121" y="0"/>
                    <a:pt x="128" y="0"/>
                  </a:cubicBezTo>
                  <a:cubicBezTo>
                    <a:pt x="135" y="0"/>
                    <a:pt x="141" y="49"/>
                    <a:pt x="109" y="63"/>
                  </a:cubicBezTo>
                  <a:cubicBezTo>
                    <a:pt x="53" y="93"/>
                    <a:pt x="53" y="93"/>
                    <a:pt x="53" y="93"/>
                  </a:cubicBezTo>
                  <a:cubicBezTo>
                    <a:pt x="53" y="93"/>
                    <a:pt x="53" y="106"/>
                    <a:pt x="54" y="111"/>
                  </a:cubicBezTo>
                  <a:cubicBezTo>
                    <a:pt x="55" y="116"/>
                    <a:pt x="45" y="136"/>
                    <a:pt x="45" y="136"/>
                  </a:cubicBezTo>
                  <a:close/>
                </a:path>
              </a:pathLst>
            </a:custGeom>
            <a:solidFill>
              <a:srgbClr val="2948B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60" name="íṩlíďê"/>
            <p:cNvSpPr/>
            <p:nvPr/>
          </p:nvSpPr>
          <p:spPr bwMode="auto">
            <a:xfrm>
              <a:off x="4084701" y="1321198"/>
              <a:ext cx="910842" cy="822806"/>
            </a:xfrm>
            <a:custGeom>
              <a:avLst/>
              <a:gdLst>
                <a:gd name="T0" fmla="*/ 129 w 129"/>
                <a:gd name="T1" fmla="*/ 0 h 117"/>
                <a:gd name="T2" fmla="*/ 129 w 129"/>
                <a:gd name="T3" fmla="*/ 0 h 117"/>
                <a:gd name="T4" fmla="*/ 102 w 129"/>
                <a:gd name="T5" fmla="*/ 32 h 117"/>
                <a:gd name="T6" fmla="*/ 80 w 129"/>
                <a:gd name="T7" fmla="*/ 25 h 117"/>
                <a:gd name="T8" fmla="*/ 10 w 129"/>
                <a:gd name="T9" fmla="*/ 42 h 117"/>
                <a:gd name="T10" fmla="*/ 5 w 129"/>
                <a:gd name="T11" fmla="*/ 25 h 117"/>
                <a:gd name="T12" fmla="*/ 2 w 129"/>
                <a:gd name="T13" fmla="*/ 63 h 117"/>
                <a:gd name="T14" fmla="*/ 40 w 129"/>
                <a:gd name="T15" fmla="*/ 117 h 117"/>
                <a:gd name="T16" fmla="*/ 49 w 129"/>
                <a:gd name="T17" fmla="*/ 92 h 117"/>
                <a:gd name="T18" fmla="*/ 48 w 129"/>
                <a:gd name="T19" fmla="*/ 74 h 117"/>
                <a:gd name="T20" fmla="*/ 104 w 129"/>
                <a:gd name="T21" fmla="*/ 44 h 117"/>
                <a:gd name="T22" fmla="*/ 129 w 129"/>
                <a:gd name="T2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9" h="117">
                  <a:moveTo>
                    <a:pt x="129" y="0"/>
                  </a:moveTo>
                  <a:cubicBezTo>
                    <a:pt x="129" y="0"/>
                    <a:pt x="129" y="0"/>
                    <a:pt x="129" y="0"/>
                  </a:cubicBezTo>
                  <a:cubicBezTo>
                    <a:pt x="127" y="7"/>
                    <a:pt x="117" y="28"/>
                    <a:pt x="102" y="32"/>
                  </a:cubicBezTo>
                  <a:cubicBezTo>
                    <a:pt x="87" y="35"/>
                    <a:pt x="80" y="25"/>
                    <a:pt x="80" y="25"/>
                  </a:cubicBezTo>
                  <a:cubicBezTo>
                    <a:pt x="57" y="51"/>
                    <a:pt x="16" y="48"/>
                    <a:pt x="10" y="42"/>
                  </a:cubicBezTo>
                  <a:cubicBezTo>
                    <a:pt x="3" y="36"/>
                    <a:pt x="5" y="26"/>
                    <a:pt x="5" y="25"/>
                  </a:cubicBezTo>
                  <a:cubicBezTo>
                    <a:pt x="1" y="35"/>
                    <a:pt x="0" y="48"/>
                    <a:pt x="2" y="63"/>
                  </a:cubicBezTo>
                  <a:cubicBezTo>
                    <a:pt x="10" y="104"/>
                    <a:pt x="40" y="117"/>
                    <a:pt x="40" y="117"/>
                  </a:cubicBezTo>
                  <a:cubicBezTo>
                    <a:pt x="40" y="117"/>
                    <a:pt x="50" y="97"/>
                    <a:pt x="49" y="92"/>
                  </a:cubicBezTo>
                  <a:cubicBezTo>
                    <a:pt x="48" y="87"/>
                    <a:pt x="48" y="74"/>
                    <a:pt x="48" y="74"/>
                  </a:cubicBezTo>
                  <a:cubicBezTo>
                    <a:pt x="104" y="44"/>
                    <a:pt x="104" y="44"/>
                    <a:pt x="104" y="44"/>
                  </a:cubicBezTo>
                  <a:cubicBezTo>
                    <a:pt x="123" y="36"/>
                    <a:pt x="129" y="15"/>
                    <a:pt x="129" y="0"/>
                  </a:cubicBezTo>
                  <a:close/>
                </a:path>
              </a:pathLst>
            </a:custGeom>
            <a:solidFill>
              <a:srgbClr val="1721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61" name="iṣḷiḋe"/>
            <p:cNvSpPr/>
            <p:nvPr/>
          </p:nvSpPr>
          <p:spPr bwMode="auto">
            <a:xfrm>
              <a:off x="3803660" y="2184636"/>
              <a:ext cx="1296849" cy="1930035"/>
            </a:xfrm>
            <a:custGeom>
              <a:avLst/>
              <a:gdLst>
                <a:gd name="T0" fmla="*/ 35 w 184"/>
                <a:gd name="T1" fmla="*/ 131 h 274"/>
                <a:gd name="T2" fmla="*/ 71 w 184"/>
                <a:gd name="T3" fmla="*/ 274 h 274"/>
                <a:gd name="T4" fmla="*/ 73 w 184"/>
                <a:gd name="T5" fmla="*/ 274 h 274"/>
                <a:gd name="T6" fmla="*/ 182 w 184"/>
                <a:gd name="T7" fmla="*/ 211 h 274"/>
                <a:gd name="T8" fmla="*/ 177 w 184"/>
                <a:gd name="T9" fmla="*/ 88 h 274"/>
                <a:gd name="T10" fmla="*/ 151 w 184"/>
                <a:gd name="T11" fmla="*/ 10 h 274"/>
                <a:gd name="T12" fmla="*/ 79 w 184"/>
                <a:gd name="T13" fmla="*/ 5 h 274"/>
                <a:gd name="T14" fmla="*/ 13 w 184"/>
                <a:gd name="T15" fmla="*/ 59 h 274"/>
                <a:gd name="T16" fmla="*/ 0 w 184"/>
                <a:gd name="T17" fmla="*/ 126 h 274"/>
                <a:gd name="T18" fmla="*/ 35 w 184"/>
                <a:gd name="T19" fmla="*/ 131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274">
                  <a:moveTo>
                    <a:pt x="35" y="131"/>
                  </a:moveTo>
                  <a:cubicBezTo>
                    <a:pt x="35" y="131"/>
                    <a:pt x="68" y="228"/>
                    <a:pt x="71" y="274"/>
                  </a:cubicBezTo>
                  <a:cubicBezTo>
                    <a:pt x="71" y="274"/>
                    <a:pt x="72" y="274"/>
                    <a:pt x="73" y="274"/>
                  </a:cubicBezTo>
                  <a:cubicBezTo>
                    <a:pt x="182" y="211"/>
                    <a:pt x="182" y="211"/>
                    <a:pt x="182" y="211"/>
                  </a:cubicBezTo>
                  <a:cubicBezTo>
                    <a:pt x="183" y="186"/>
                    <a:pt x="184" y="133"/>
                    <a:pt x="177" y="88"/>
                  </a:cubicBezTo>
                  <a:cubicBezTo>
                    <a:pt x="173" y="54"/>
                    <a:pt x="168" y="20"/>
                    <a:pt x="151" y="10"/>
                  </a:cubicBezTo>
                  <a:cubicBezTo>
                    <a:pt x="133" y="0"/>
                    <a:pt x="79" y="5"/>
                    <a:pt x="79" y="5"/>
                  </a:cubicBezTo>
                  <a:cubicBezTo>
                    <a:pt x="79" y="5"/>
                    <a:pt x="23" y="36"/>
                    <a:pt x="13" y="59"/>
                  </a:cubicBezTo>
                  <a:cubicBezTo>
                    <a:pt x="13" y="59"/>
                    <a:pt x="2" y="82"/>
                    <a:pt x="0" y="126"/>
                  </a:cubicBezTo>
                  <a:cubicBezTo>
                    <a:pt x="0" y="126"/>
                    <a:pt x="30" y="132"/>
                    <a:pt x="35" y="131"/>
                  </a:cubicBezTo>
                  <a:close/>
                </a:path>
              </a:pathLst>
            </a:custGeom>
            <a:solidFill>
              <a:srgbClr val="FA329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62" name="íśľiḑé"/>
            <p:cNvSpPr/>
            <p:nvPr/>
          </p:nvSpPr>
          <p:spPr bwMode="auto">
            <a:xfrm>
              <a:off x="4050841" y="3109020"/>
              <a:ext cx="1036124" cy="1005651"/>
            </a:xfrm>
            <a:custGeom>
              <a:avLst/>
              <a:gdLst>
                <a:gd name="T0" fmla="*/ 44 w 147"/>
                <a:gd name="T1" fmla="*/ 82 h 143"/>
                <a:gd name="T2" fmla="*/ 0 w 147"/>
                <a:gd name="T3" fmla="*/ 0 h 143"/>
                <a:gd name="T4" fmla="*/ 0 w 147"/>
                <a:gd name="T5" fmla="*/ 0 h 143"/>
                <a:gd name="T6" fmla="*/ 36 w 147"/>
                <a:gd name="T7" fmla="*/ 143 h 143"/>
                <a:gd name="T8" fmla="*/ 38 w 147"/>
                <a:gd name="T9" fmla="*/ 143 h 143"/>
                <a:gd name="T10" fmla="*/ 147 w 147"/>
                <a:gd name="T11" fmla="*/ 80 h 143"/>
                <a:gd name="T12" fmla="*/ 44 w 147"/>
                <a:gd name="T13" fmla="*/ 82 h 143"/>
              </a:gdLst>
              <a:ahLst/>
              <a:cxnLst>
                <a:cxn ang="0">
                  <a:pos x="T0" y="T1"/>
                </a:cxn>
                <a:cxn ang="0">
                  <a:pos x="T2" y="T3"/>
                </a:cxn>
                <a:cxn ang="0">
                  <a:pos x="T4" y="T5"/>
                </a:cxn>
                <a:cxn ang="0">
                  <a:pos x="T6" y="T7"/>
                </a:cxn>
                <a:cxn ang="0">
                  <a:pos x="T8" y="T9"/>
                </a:cxn>
                <a:cxn ang="0">
                  <a:pos x="T10" y="T11"/>
                </a:cxn>
                <a:cxn ang="0">
                  <a:pos x="T12" y="T13"/>
                </a:cxn>
              </a:cxnLst>
              <a:rect l="0" t="0" r="r" b="b"/>
              <a:pathLst>
                <a:path w="147" h="143">
                  <a:moveTo>
                    <a:pt x="44" y="82"/>
                  </a:moveTo>
                  <a:cubicBezTo>
                    <a:pt x="27" y="68"/>
                    <a:pt x="0" y="0"/>
                    <a:pt x="0" y="0"/>
                  </a:cubicBezTo>
                  <a:cubicBezTo>
                    <a:pt x="0" y="0"/>
                    <a:pt x="0" y="0"/>
                    <a:pt x="0" y="0"/>
                  </a:cubicBezTo>
                  <a:cubicBezTo>
                    <a:pt x="0" y="0"/>
                    <a:pt x="33" y="97"/>
                    <a:pt x="36" y="143"/>
                  </a:cubicBezTo>
                  <a:cubicBezTo>
                    <a:pt x="36" y="143"/>
                    <a:pt x="37" y="143"/>
                    <a:pt x="38" y="143"/>
                  </a:cubicBezTo>
                  <a:cubicBezTo>
                    <a:pt x="147" y="80"/>
                    <a:pt x="147" y="80"/>
                    <a:pt x="147" y="80"/>
                  </a:cubicBezTo>
                  <a:cubicBezTo>
                    <a:pt x="147" y="80"/>
                    <a:pt x="60" y="96"/>
                    <a:pt x="44" y="82"/>
                  </a:cubicBezTo>
                  <a:close/>
                </a:path>
              </a:pathLst>
            </a:custGeom>
            <a:solidFill>
              <a:srgbClr val="DD12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63" name="ïšḻîḋê"/>
            <p:cNvSpPr/>
            <p:nvPr/>
          </p:nvSpPr>
          <p:spPr bwMode="auto">
            <a:xfrm>
              <a:off x="3803660" y="2215109"/>
              <a:ext cx="944703" cy="887139"/>
            </a:xfrm>
            <a:custGeom>
              <a:avLst/>
              <a:gdLst>
                <a:gd name="T0" fmla="*/ 118 w 134"/>
                <a:gd name="T1" fmla="*/ 38 h 126"/>
                <a:gd name="T2" fmla="*/ 109 w 134"/>
                <a:gd name="T3" fmla="*/ 0 h 126"/>
                <a:gd name="T4" fmla="*/ 79 w 134"/>
                <a:gd name="T5" fmla="*/ 1 h 126"/>
                <a:gd name="T6" fmla="*/ 13 w 134"/>
                <a:gd name="T7" fmla="*/ 55 h 126"/>
                <a:gd name="T8" fmla="*/ 0 w 134"/>
                <a:gd name="T9" fmla="*/ 122 h 126"/>
                <a:gd name="T10" fmla="*/ 22 w 134"/>
                <a:gd name="T11" fmla="*/ 126 h 126"/>
                <a:gd name="T12" fmla="*/ 36 w 134"/>
                <a:gd name="T13" fmla="*/ 48 h 126"/>
                <a:gd name="T14" fmla="*/ 76 w 134"/>
                <a:gd name="T15" fmla="*/ 18 h 126"/>
                <a:gd name="T16" fmla="*/ 118 w 134"/>
                <a:gd name="T17" fmla="*/ 3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26">
                  <a:moveTo>
                    <a:pt x="118" y="38"/>
                  </a:moveTo>
                  <a:cubicBezTo>
                    <a:pt x="134" y="31"/>
                    <a:pt x="121" y="12"/>
                    <a:pt x="109" y="0"/>
                  </a:cubicBezTo>
                  <a:cubicBezTo>
                    <a:pt x="93" y="0"/>
                    <a:pt x="79" y="1"/>
                    <a:pt x="79" y="1"/>
                  </a:cubicBezTo>
                  <a:cubicBezTo>
                    <a:pt x="79" y="1"/>
                    <a:pt x="23" y="32"/>
                    <a:pt x="13" y="55"/>
                  </a:cubicBezTo>
                  <a:cubicBezTo>
                    <a:pt x="13" y="55"/>
                    <a:pt x="2" y="78"/>
                    <a:pt x="0" y="122"/>
                  </a:cubicBezTo>
                  <a:cubicBezTo>
                    <a:pt x="0" y="122"/>
                    <a:pt x="12" y="125"/>
                    <a:pt x="22" y="126"/>
                  </a:cubicBezTo>
                  <a:cubicBezTo>
                    <a:pt x="22" y="126"/>
                    <a:pt x="26" y="67"/>
                    <a:pt x="36" y="48"/>
                  </a:cubicBezTo>
                  <a:cubicBezTo>
                    <a:pt x="47" y="29"/>
                    <a:pt x="76" y="18"/>
                    <a:pt x="76" y="18"/>
                  </a:cubicBezTo>
                  <a:cubicBezTo>
                    <a:pt x="76" y="18"/>
                    <a:pt x="92" y="50"/>
                    <a:pt x="118" y="38"/>
                  </a:cubicBezTo>
                  <a:close/>
                </a:path>
              </a:pathLst>
            </a:custGeom>
            <a:solidFill>
              <a:srgbClr val="DD12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64" name="iṥlíḋé"/>
            <p:cNvSpPr/>
            <p:nvPr/>
          </p:nvSpPr>
          <p:spPr bwMode="auto">
            <a:xfrm>
              <a:off x="4358968" y="2045808"/>
              <a:ext cx="423254" cy="497747"/>
            </a:xfrm>
            <a:custGeom>
              <a:avLst/>
              <a:gdLst>
                <a:gd name="T0" fmla="*/ 39 w 60"/>
                <a:gd name="T1" fmla="*/ 62 h 71"/>
                <a:gd name="T2" fmla="*/ 44 w 60"/>
                <a:gd name="T3" fmla="*/ 21 h 71"/>
                <a:gd name="T4" fmla="*/ 43 w 60"/>
                <a:gd name="T5" fmla="*/ 7 h 71"/>
                <a:gd name="T6" fmla="*/ 2 w 60"/>
                <a:gd name="T7" fmla="*/ 0 h 71"/>
                <a:gd name="T8" fmla="*/ 0 w 60"/>
                <a:gd name="T9" fmla="*/ 25 h 71"/>
                <a:gd name="T10" fmla="*/ 39 w 60"/>
                <a:gd name="T11" fmla="*/ 62 h 71"/>
              </a:gdLst>
              <a:ahLst/>
              <a:cxnLst>
                <a:cxn ang="0">
                  <a:pos x="T0" y="T1"/>
                </a:cxn>
                <a:cxn ang="0">
                  <a:pos x="T2" y="T3"/>
                </a:cxn>
                <a:cxn ang="0">
                  <a:pos x="T4" y="T5"/>
                </a:cxn>
                <a:cxn ang="0">
                  <a:pos x="T6" y="T7"/>
                </a:cxn>
                <a:cxn ang="0">
                  <a:pos x="T8" y="T9"/>
                </a:cxn>
                <a:cxn ang="0">
                  <a:pos x="T10" y="T11"/>
                </a:cxn>
              </a:cxnLst>
              <a:rect l="0" t="0" r="r" b="b"/>
              <a:pathLst>
                <a:path w="60" h="71">
                  <a:moveTo>
                    <a:pt x="39" y="62"/>
                  </a:moveTo>
                  <a:cubicBezTo>
                    <a:pt x="60" y="54"/>
                    <a:pt x="44" y="21"/>
                    <a:pt x="44" y="21"/>
                  </a:cubicBezTo>
                  <a:cubicBezTo>
                    <a:pt x="43" y="7"/>
                    <a:pt x="43" y="7"/>
                    <a:pt x="43" y="7"/>
                  </a:cubicBezTo>
                  <a:cubicBezTo>
                    <a:pt x="2" y="0"/>
                    <a:pt x="2" y="0"/>
                    <a:pt x="2" y="0"/>
                  </a:cubicBezTo>
                  <a:cubicBezTo>
                    <a:pt x="0" y="25"/>
                    <a:pt x="0" y="25"/>
                    <a:pt x="0" y="25"/>
                  </a:cubicBezTo>
                  <a:cubicBezTo>
                    <a:pt x="1" y="38"/>
                    <a:pt x="17" y="71"/>
                    <a:pt x="39" y="62"/>
                  </a:cubicBezTo>
                  <a:close/>
                </a:path>
              </a:pathLst>
            </a:custGeom>
            <a:solidFill>
              <a:srgbClr val="FED4D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65" name="îşlîḋe"/>
            <p:cNvSpPr/>
            <p:nvPr/>
          </p:nvSpPr>
          <p:spPr bwMode="auto">
            <a:xfrm>
              <a:off x="4358968" y="2045808"/>
              <a:ext cx="331831" cy="497747"/>
            </a:xfrm>
            <a:custGeom>
              <a:avLst/>
              <a:gdLst>
                <a:gd name="T0" fmla="*/ 19 w 47"/>
                <a:gd name="T1" fmla="*/ 44 h 71"/>
                <a:gd name="T2" fmla="*/ 19 w 47"/>
                <a:gd name="T3" fmla="*/ 5 h 71"/>
                <a:gd name="T4" fmla="*/ 19 w 47"/>
                <a:gd name="T5" fmla="*/ 3 h 71"/>
                <a:gd name="T6" fmla="*/ 2 w 47"/>
                <a:gd name="T7" fmla="*/ 0 h 71"/>
                <a:gd name="T8" fmla="*/ 0 w 47"/>
                <a:gd name="T9" fmla="*/ 25 h 71"/>
                <a:gd name="T10" fmla="*/ 39 w 47"/>
                <a:gd name="T11" fmla="*/ 62 h 71"/>
                <a:gd name="T12" fmla="*/ 47 w 47"/>
                <a:gd name="T13" fmla="*/ 55 h 71"/>
                <a:gd name="T14" fmla="*/ 19 w 47"/>
                <a:gd name="T15" fmla="*/ 44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71">
                  <a:moveTo>
                    <a:pt x="19" y="44"/>
                  </a:moveTo>
                  <a:cubicBezTo>
                    <a:pt x="11" y="32"/>
                    <a:pt x="19" y="5"/>
                    <a:pt x="19" y="5"/>
                  </a:cubicBezTo>
                  <a:cubicBezTo>
                    <a:pt x="19" y="5"/>
                    <a:pt x="19" y="4"/>
                    <a:pt x="19" y="3"/>
                  </a:cubicBezTo>
                  <a:cubicBezTo>
                    <a:pt x="2" y="0"/>
                    <a:pt x="2" y="0"/>
                    <a:pt x="2" y="0"/>
                  </a:cubicBezTo>
                  <a:cubicBezTo>
                    <a:pt x="0" y="25"/>
                    <a:pt x="0" y="25"/>
                    <a:pt x="0" y="25"/>
                  </a:cubicBezTo>
                  <a:cubicBezTo>
                    <a:pt x="1" y="38"/>
                    <a:pt x="17" y="71"/>
                    <a:pt x="39" y="62"/>
                  </a:cubicBezTo>
                  <a:cubicBezTo>
                    <a:pt x="43" y="61"/>
                    <a:pt x="46" y="58"/>
                    <a:pt x="47" y="55"/>
                  </a:cubicBezTo>
                  <a:cubicBezTo>
                    <a:pt x="43" y="58"/>
                    <a:pt x="27" y="57"/>
                    <a:pt x="19" y="44"/>
                  </a:cubicBezTo>
                  <a:close/>
                </a:path>
              </a:pathLst>
            </a:custGeom>
            <a:solidFill>
              <a:srgbClr val="FFA9A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66" name="íś1íḍe"/>
            <p:cNvSpPr/>
            <p:nvPr/>
          </p:nvSpPr>
          <p:spPr bwMode="auto">
            <a:xfrm>
              <a:off x="4128718" y="1446482"/>
              <a:ext cx="738154" cy="788945"/>
            </a:xfrm>
            <a:custGeom>
              <a:avLst/>
              <a:gdLst>
                <a:gd name="T0" fmla="*/ 98 w 105"/>
                <a:gd name="T1" fmla="*/ 8 h 112"/>
                <a:gd name="T2" fmla="*/ 82 w 105"/>
                <a:gd name="T3" fmla="*/ 96 h 112"/>
                <a:gd name="T4" fmla="*/ 24 w 105"/>
                <a:gd name="T5" fmla="*/ 72 h 112"/>
                <a:gd name="T6" fmla="*/ 2 w 105"/>
                <a:gd name="T7" fmla="*/ 49 h 112"/>
                <a:gd name="T8" fmla="*/ 21 w 105"/>
                <a:gd name="T9" fmla="*/ 46 h 112"/>
                <a:gd name="T10" fmla="*/ 30 w 105"/>
                <a:gd name="T11" fmla="*/ 3 h 112"/>
                <a:gd name="T12" fmla="*/ 54 w 105"/>
                <a:gd name="T13" fmla="*/ 0 h 112"/>
                <a:gd name="T14" fmla="*/ 75 w 105"/>
                <a:gd name="T15" fmla="*/ 9 h 112"/>
                <a:gd name="T16" fmla="*/ 98 w 105"/>
                <a:gd name="T17"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12">
                  <a:moveTo>
                    <a:pt x="98" y="8"/>
                  </a:moveTo>
                  <a:cubicBezTo>
                    <a:pt x="98" y="8"/>
                    <a:pt x="105" y="77"/>
                    <a:pt x="82" y="96"/>
                  </a:cubicBezTo>
                  <a:cubicBezTo>
                    <a:pt x="82" y="96"/>
                    <a:pt x="38" y="112"/>
                    <a:pt x="24" y="72"/>
                  </a:cubicBezTo>
                  <a:cubicBezTo>
                    <a:pt x="24" y="72"/>
                    <a:pt x="5" y="65"/>
                    <a:pt x="2" y="49"/>
                  </a:cubicBezTo>
                  <a:cubicBezTo>
                    <a:pt x="0" y="32"/>
                    <a:pt x="18" y="35"/>
                    <a:pt x="21" y="46"/>
                  </a:cubicBezTo>
                  <a:cubicBezTo>
                    <a:pt x="30" y="3"/>
                    <a:pt x="30" y="3"/>
                    <a:pt x="30" y="3"/>
                  </a:cubicBezTo>
                  <a:cubicBezTo>
                    <a:pt x="54" y="0"/>
                    <a:pt x="54" y="0"/>
                    <a:pt x="54" y="0"/>
                  </a:cubicBezTo>
                  <a:cubicBezTo>
                    <a:pt x="75" y="9"/>
                    <a:pt x="75" y="9"/>
                    <a:pt x="75" y="9"/>
                  </a:cubicBezTo>
                  <a:lnTo>
                    <a:pt x="98" y="8"/>
                  </a:lnTo>
                  <a:close/>
                </a:path>
              </a:pathLst>
            </a:custGeom>
            <a:solidFill>
              <a:srgbClr val="FED4D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67" name="iś1iḍê"/>
            <p:cNvSpPr/>
            <p:nvPr/>
          </p:nvSpPr>
          <p:spPr bwMode="auto">
            <a:xfrm>
              <a:off x="4128718" y="1446482"/>
              <a:ext cx="697522" cy="704294"/>
            </a:xfrm>
            <a:custGeom>
              <a:avLst/>
              <a:gdLst>
                <a:gd name="T0" fmla="*/ 84 w 99"/>
                <a:gd name="T1" fmla="*/ 7 h 100"/>
                <a:gd name="T2" fmla="*/ 75 w 99"/>
                <a:gd name="T3" fmla="*/ 9 h 100"/>
                <a:gd name="T4" fmla="*/ 54 w 99"/>
                <a:gd name="T5" fmla="*/ 0 h 100"/>
                <a:gd name="T6" fmla="*/ 30 w 99"/>
                <a:gd name="T7" fmla="*/ 3 h 100"/>
                <a:gd name="T8" fmla="*/ 21 w 99"/>
                <a:gd name="T9" fmla="*/ 46 h 100"/>
                <a:gd name="T10" fmla="*/ 2 w 99"/>
                <a:gd name="T11" fmla="*/ 49 h 100"/>
                <a:gd name="T12" fmla="*/ 24 w 99"/>
                <a:gd name="T13" fmla="*/ 72 h 100"/>
                <a:gd name="T14" fmla="*/ 70 w 99"/>
                <a:gd name="T15" fmla="*/ 98 h 100"/>
                <a:gd name="T16" fmla="*/ 37 w 99"/>
                <a:gd name="T17" fmla="*/ 67 h 100"/>
                <a:gd name="T18" fmla="*/ 67 w 99"/>
                <a:gd name="T19" fmla="*/ 38 h 100"/>
                <a:gd name="T20" fmla="*/ 79 w 99"/>
                <a:gd name="T21" fmla="*/ 25 h 100"/>
                <a:gd name="T22" fmla="*/ 99 w 99"/>
                <a:gd name="T23" fmla="*/ 26 h 100"/>
                <a:gd name="T24" fmla="*/ 86 w 99"/>
                <a:gd name="T25" fmla="*/ 12 h 100"/>
                <a:gd name="T26" fmla="*/ 84 w 99"/>
                <a:gd name="T27" fmla="*/ 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100">
                  <a:moveTo>
                    <a:pt x="84" y="7"/>
                  </a:moveTo>
                  <a:cubicBezTo>
                    <a:pt x="75" y="9"/>
                    <a:pt x="75" y="9"/>
                    <a:pt x="75" y="9"/>
                  </a:cubicBezTo>
                  <a:cubicBezTo>
                    <a:pt x="54" y="0"/>
                    <a:pt x="54" y="0"/>
                    <a:pt x="54" y="0"/>
                  </a:cubicBezTo>
                  <a:cubicBezTo>
                    <a:pt x="30" y="3"/>
                    <a:pt x="30" y="3"/>
                    <a:pt x="30" y="3"/>
                  </a:cubicBezTo>
                  <a:cubicBezTo>
                    <a:pt x="21" y="46"/>
                    <a:pt x="21" y="46"/>
                    <a:pt x="21" y="46"/>
                  </a:cubicBezTo>
                  <a:cubicBezTo>
                    <a:pt x="18" y="35"/>
                    <a:pt x="0" y="32"/>
                    <a:pt x="2" y="49"/>
                  </a:cubicBezTo>
                  <a:cubicBezTo>
                    <a:pt x="5" y="65"/>
                    <a:pt x="24" y="72"/>
                    <a:pt x="24" y="72"/>
                  </a:cubicBezTo>
                  <a:cubicBezTo>
                    <a:pt x="34" y="98"/>
                    <a:pt x="56" y="100"/>
                    <a:pt x="70" y="98"/>
                  </a:cubicBezTo>
                  <a:cubicBezTo>
                    <a:pt x="44" y="95"/>
                    <a:pt x="37" y="76"/>
                    <a:pt x="37" y="67"/>
                  </a:cubicBezTo>
                  <a:cubicBezTo>
                    <a:pt x="36" y="57"/>
                    <a:pt x="35" y="45"/>
                    <a:pt x="67" y="38"/>
                  </a:cubicBezTo>
                  <a:cubicBezTo>
                    <a:pt x="67" y="38"/>
                    <a:pt x="79" y="34"/>
                    <a:pt x="79" y="25"/>
                  </a:cubicBezTo>
                  <a:cubicBezTo>
                    <a:pt x="79" y="25"/>
                    <a:pt x="89" y="32"/>
                    <a:pt x="99" y="26"/>
                  </a:cubicBezTo>
                  <a:cubicBezTo>
                    <a:pt x="97" y="15"/>
                    <a:pt x="86" y="12"/>
                    <a:pt x="86" y="12"/>
                  </a:cubicBezTo>
                  <a:lnTo>
                    <a:pt x="84" y="7"/>
                  </a:lnTo>
                  <a:close/>
                </a:path>
              </a:pathLst>
            </a:custGeom>
            <a:solidFill>
              <a:srgbClr val="FFA9A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68" name="íṡlïdé"/>
            <p:cNvSpPr/>
            <p:nvPr/>
          </p:nvSpPr>
          <p:spPr bwMode="auto">
            <a:xfrm>
              <a:off x="4866872" y="2255741"/>
              <a:ext cx="423254" cy="656889"/>
            </a:xfrm>
            <a:custGeom>
              <a:avLst/>
              <a:gdLst>
                <a:gd name="T0" fmla="*/ 0 w 60"/>
                <a:gd name="T1" fmla="*/ 0 h 93"/>
                <a:gd name="T2" fmla="*/ 60 w 60"/>
                <a:gd name="T3" fmla="*/ 70 h 93"/>
                <a:gd name="T4" fmla="*/ 28 w 60"/>
                <a:gd name="T5" fmla="*/ 88 h 93"/>
                <a:gd name="T6" fmla="*/ 0 w 60"/>
                <a:gd name="T7" fmla="*/ 0 h 93"/>
              </a:gdLst>
              <a:ahLst/>
              <a:cxnLst>
                <a:cxn ang="0">
                  <a:pos x="T0" y="T1"/>
                </a:cxn>
                <a:cxn ang="0">
                  <a:pos x="T2" y="T3"/>
                </a:cxn>
                <a:cxn ang="0">
                  <a:pos x="T4" y="T5"/>
                </a:cxn>
                <a:cxn ang="0">
                  <a:pos x="T6" y="T7"/>
                </a:cxn>
              </a:cxnLst>
              <a:rect l="0" t="0" r="r" b="b"/>
              <a:pathLst>
                <a:path w="60" h="93">
                  <a:moveTo>
                    <a:pt x="0" y="0"/>
                  </a:moveTo>
                  <a:cubicBezTo>
                    <a:pt x="0" y="0"/>
                    <a:pt x="42" y="18"/>
                    <a:pt x="60" y="70"/>
                  </a:cubicBezTo>
                  <a:cubicBezTo>
                    <a:pt x="60" y="70"/>
                    <a:pt x="46" y="83"/>
                    <a:pt x="28" y="88"/>
                  </a:cubicBezTo>
                  <a:cubicBezTo>
                    <a:pt x="10" y="93"/>
                    <a:pt x="0" y="0"/>
                    <a:pt x="0" y="0"/>
                  </a:cubicBezTo>
                  <a:close/>
                </a:path>
              </a:pathLst>
            </a:custGeom>
            <a:solidFill>
              <a:srgbClr val="FA329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69" name="ïşlíḋè"/>
            <p:cNvSpPr/>
            <p:nvPr/>
          </p:nvSpPr>
          <p:spPr bwMode="auto">
            <a:xfrm>
              <a:off x="5029402" y="2621432"/>
              <a:ext cx="108353" cy="253953"/>
            </a:xfrm>
            <a:custGeom>
              <a:avLst/>
              <a:gdLst>
                <a:gd name="T0" fmla="*/ 0 w 15"/>
                <a:gd name="T1" fmla="*/ 0 h 36"/>
                <a:gd name="T2" fmla="*/ 3 w 15"/>
                <a:gd name="T3" fmla="*/ 25 h 36"/>
                <a:gd name="T4" fmla="*/ 5 w 15"/>
                <a:gd name="T5" fmla="*/ 36 h 36"/>
                <a:gd name="T6" fmla="*/ 5 w 15"/>
                <a:gd name="T7" fmla="*/ 36 h 36"/>
                <a:gd name="T8" fmla="*/ 15 w 15"/>
                <a:gd name="T9" fmla="*/ 33 h 36"/>
                <a:gd name="T10" fmla="*/ 0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0" y="0"/>
                  </a:moveTo>
                  <a:cubicBezTo>
                    <a:pt x="1" y="8"/>
                    <a:pt x="2" y="17"/>
                    <a:pt x="3" y="25"/>
                  </a:cubicBezTo>
                  <a:cubicBezTo>
                    <a:pt x="4" y="29"/>
                    <a:pt x="4" y="33"/>
                    <a:pt x="5" y="36"/>
                  </a:cubicBezTo>
                  <a:cubicBezTo>
                    <a:pt x="5" y="36"/>
                    <a:pt x="5" y="36"/>
                    <a:pt x="5" y="36"/>
                  </a:cubicBezTo>
                  <a:cubicBezTo>
                    <a:pt x="8" y="35"/>
                    <a:pt x="12" y="34"/>
                    <a:pt x="15" y="33"/>
                  </a:cubicBezTo>
                  <a:cubicBezTo>
                    <a:pt x="2" y="14"/>
                    <a:pt x="0" y="0"/>
                    <a:pt x="0" y="0"/>
                  </a:cubicBezTo>
                  <a:close/>
                </a:path>
              </a:pathLst>
            </a:custGeom>
            <a:solidFill>
              <a:srgbClr val="DD128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70" name="îṧľiḍe"/>
            <p:cNvSpPr/>
            <p:nvPr/>
          </p:nvSpPr>
          <p:spPr bwMode="auto">
            <a:xfrm>
              <a:off x="4226914" y="1355058"/>
              <a:ext cx="633188" cy="416482"/>
            </a:xfrm>
            <a:custGeom>
              <a:avLst/>
              <a:gdLst>
                <a:gd name="T0" fmla="*/ 7 w 90"/>
                <a:gd name="T1" fmla="*/ 59 h 59"/>
                <a:gd name="T2" fmla="*/ 64 w 90"/>
                <a:gd name="T3" fmla="*/ 33 h 59"/>
                <a:gd name="T4" fmla="*/ 85 w 90"/>
                <a:gd name="T5" fmla="*/ 39 h 59"/>
                <a:gd name="T6" fmla="*/ 88 w 90"/>
                <a:gd name="T7" fmla="*/ 19 h 59"/>
                <a:gd name="T8" fmla="*/ 69 w 90"/>
                <a:gd name="T9" fmla="*/ 8 h 59"/>
                <a:gd name="T10" fmla="*/ 26 w 90"/>
                <a:gd name="T11" fmla="*/ 1 h 59"/>
                <a:gd name="T12" fmla="*/ 10 w 90"/>
                <a:gd name="T13" fmla="*/ 11 h 59"/>
                <a:gd name="T14" fmla="*/ 2 w 90"/>
                <a:gd name="T15" fmla="*/ 25 h 59"/>
                <a:gd name="T16" fmla="*/ 0 w 90"/>
                <a:gd name="T17" fmla="*/ 40 h 59"/>
                <a:gd name="T18" fmla="*/ 7 w 90"/>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59">
                  <a:moveTo>
                    <a:pt x="7" y="59"/>
                  </a:moveTo>
                  <a:cubicBezTo>
                    <a:pt x="7" y="59"/>
                    <a:pt x="53" y="54"/>
                    <a:pt x="64" y="33"/>
                  </a:cubicBezTo>
                  <a:cubicBezTo>
                    <a:pt x="64" y="33"/>
                    <a:pt x="74" y="41"/>
                    <a:pt x="85" y="39"/>
                  </a:cubicBezTo>
                  <a:cubicBezTo>
                    <a:pt x="85" y="39"/>
                    <a:pt x="90" y="23"/>
                    <a:pt x="88" y="19"/>
                  </a:cubicBezTo>
                  <a:cubicBezTo>
                    <a:pt x="86" y="16"/>
                    <a:pt x="80" y="10"/>
                    <a:pt x="69" y="8"/>
                  </a:cubicBezTo>
                  <a:cubicBezTo>
                    <a:pt x="57" y="7"/>
                    <a:pt x="29" y="0"/>
                    <a:pt x="26" y="1"/>
                  </a:cubicBezTo>
                  <a:cubicBezTo>
                    <a:pt x="23" y="2"/>
                    <a:pt x="15" y="6"/>
                    <a:pt x="10" y="11"/>
                  </a:cubicBezTo>
                  <a:cubicBezTo>
                    <a:pt x="5" y="16"/>
                    <a:pt x="2" y="21"/>
                    <a:pt x="2" y="25"/>
                  </a:cubicBezTo>
                  <a:cubicBezTo>
                    <a:pt x="1" y="28"/>
                    <a:pt x="0" y="40"/>
                    <a:pt x="0" y="40"/>
                  </a:cubicBezTo>
                  <a:cubicBezTo>
                    <a:pt x="0" y="40"/>
                    <a:pt x="7" y="53"/>
                    <a:pt x="7" y="59"/>
                  </a:cubicBezTo>
                  <a:close/>
                </a:path>
              </a:pathLst>
            </a:custGeom>
            <a:solidFill>
              <a:srgbClr val="2948B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71" name="iṧḻíḓe"/>
            <p:cNvSpPr/>
            <p:nvPr/>
          </p:nvSpPr>
          <p:spPr bwMode="auto">
            <a:xfrm>
              <a:off x="4883803" y="3715120"/>
              <a:ext cx="1848771" cy="765242"/>
            </a:xfrm>
            <a:custGeom>
              <a:avLst/>
              <a:gdLst>
                <a:gd name="T0" fmla="*/ 531 w 546"/>
                <a:gd name="T1" fmla="*/ 0 h 226"/>
                <a:gd name="T2" fmla="*/ 166 w 546"/>
                <a:gd name="T3" fmla="*/ 210 h 226"/>
                <a:gd name="T4" fmla="*/ 0 w 546"/>
                <a:gd name="T5" fmla="*/ 110 h 226"/>
                <a:gd name="T6" fmla="*/ 0 w 546"/>
                <a:gd name="T7" fmla="*/ 127 h 226"/>
                <a:gd name="T8" fmla="*/ 166 w 546"/>
                <a:gd name="T9" fmla="*/ 226 h 226"/>
                <a:gd name="T10" fmla="*/ 546 w 546"/>
                <a:gd name="T11" fmla="*/ 10 h 226"/>
                <a:gd name="T12" fmla="*/ 531 w 546"/>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546" h="226">
                  <a:moveTo>
                    <a:pt x="531" y="0"/>
                  </a:moveTo>
                  <a:lnTo>
                    <a:pt x="166" y="210"/>
                  </a:lnTo>
                  <a:lnTo>
                    <a:pt x="0" y="110"/>
                  </a:lnTo>
                  <a:lnTo>
                    <a:pt x="0" y="127"/>
                  </a:lnTo>
                  <a:lnTo>
                    <a:pt x="166" y="226"/>
                  </a:lnTo>
                  <a:lnTo>
                    <a:pt x="546" y="10"/>
                  </a:lnTo>
                  <a:lnTo>
                    <a:pt x="531" y="0"/>
                  </a:lnTo>
                  <a:close/>
                </a:path>
              </a:pathLst>
            </a:custGeom>
            <a:solidFill>
              <a:srgbClr val="6187E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72" name="îṩļïḋê"/>
            <p:cNvSpPr/>
            <p:nvPr/>
          </p:nvSpPr>
          <p:spPr bwMode="auto">
            <a:xfrm>
              <a:off x="3830748" y="3088704"/>
              <a:ext cx="1361183" cy="992107"/>
            </a:xfrm>
            <a:custGeom>
              <a:avLst/>
              <a:gdLst>
                <a:gd name="T0" fmla="*/ 189 w 193"/>
                <a:gd name="T1" fmla="*/ 116 h 141"/>
                <a:gd name="T2" fmla="*/ 156 w 193"/>
                <a:gd name="T3" fmla="*/ 110 h 141"/>
                <a:gd name="T4" fmla="*/ 135 w 193"/>
                <a:gd name="T5" fmla="*/ 120 h 141"/>
                <a:gd name="T6" fmla="*/ 76 w 193"/>
                <a:gd name="T7" fmla="*/ 96 h 141"/>
                <a:gd name="T8" fmla="*/ 38 w 193"/>
                <a:gd name="T9" fmla="*/ 73 h 141"/>
                <a:gd name="T10" fmla="*/ 42 w 193"/>
                <a:gd name="T11" fmla="*/ 37 h 141"/>
                <a:gd name="T12" fmla="*/ 31 w 193"/>
                <a:gd name="T13" fmla="*/ 3 h 141"/>
                <a:gd name="T14" fmla="*/ 4 w 193"/>
                <a:gd name="T15" fmla="*/ 0 h 141"/>
                <a:gd name="T16" fmla="*/ 4 w 193"/>
                <a:gd name="T17" fmla="*/ 0 h 141"/>
                <a:gd name="T18" fmla="*/ 4 w 193"/>
                <a:gd name="T19" fmla="*/ 93 h 141"/>
                <a:gd name="T20" fmla="*/ 127 w 193"/>
                <a:gd name="T21" fmla="*/ 138 h 141"/>
                <a:gd name="T22" fmla="*/ 151 w 193"/>
                <a:gd name="T23" fmla="*/ 136 h 141"/>
                <a:gd name="T24" fmla="*/ 185 w 193"/>
                <a:gd name="T25" fmla="*/ 135 h 141"/>
                <a:gd name="T26" fmla="*/ 189 w 193"/>
                <a:gd name="T27" fmla="*/ 11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141">
                  <a:moveTo>
                    <a:pt x="189" y="116"/>
                  </a:moveTo>
                  <a:cubicBezTo>
                    <a:pt x="186" y="111"/>
                    <a:pt x="170" y="109"/>
                    <a:pt x="156" y="110"/>
                  </a:cubicBezTo>
                  <a:cubicBezTo>
                    <a:pt x="143" y="110"/>
                    <a:pt x="135" y="120"/>
                    <a:pt x="135" y="120"/>
                  </a:cubicBezTo>
                  <a:cubicBezTo>
                    <a:pt x="135" y="120"/>
                    <a:pt x="94" y="102"/>
                    <a:pt x="76" y="96"/>
                  </a:cubicBezTo>
                  <a:cubicBezTo>
                    <a:pt x="59" y="90"/>
                    <a:pt x="40" y="83"/>
                    <a:pt x="38" y="73"/>
                  </a:cubicBezTo>
                  <a:cubicBezTo>
                    <a:pt x="36" y="64"/>
                    <a:pt x="42" y="37"/>
                    <a:pt x="42" y="37"/>
                  </a:cubicBezTo>
                  <a:cubicBezTo>
                    <a:pt x="36" y="17"/>
                    <a:pt x="31" y="3"/>
                    <a:pt x="31" y="3"/>
                  </a:cubicBezTo>
                  <a:cubicBezTo>
                    <a:pt x="28" y="4"/>
                    <a:pt x="13" y="2"/>
                    <a:pt x="4" y="0"/>
                  </a:cubicBezTo>
                  <a:cubicBezTo>
                    <a:pt x="4" y="0"/>
                    <a:pt x="4" y="0"/>
                    <a:pt x="4" y="0"/>
                  </a:cubicBezTo>
                  <a:cubicBezTo>
                    <a:pt x="4" y="0"/>
                    <a:pt x="0" y="74"/>
                    <a:pt x="4" y="93"/>
                  </a:cubicBezTo>
                  <a:cubicBezTo>
                    <a:pt x="7" y="112"/>
                    <a:pt x="119" y="135"/>
                    <a:pt x="127" y="138"/>
                  </a:cubicBezTo>
                  <a:cubicBezTo>
                    <a:pt x="136" y="141"/>
                    <a:pt x="146" y="140"/>
                    <a:pt x="151" y="136"/>
                  </a:cubicBezTo>
                  <a:cubicBezTo>
                    <a:pt x="155" y="132"/>
                    <a:pt x="180" y="140"/>
                    <a:pt x="185" y="135"/>
                  </a:cubicBezTo>
                  <a:cubicBezTo>
                    <a:pt x="190" y="131"/>
                    <a:pt x="193" y="121"/>
                    <a:pt x="189" y="116"/>
                  </a:cubicBezTo>
                  <a:close/>
                </a:path>
              </a:pathLst>
            </a:custGeom>
            <a:solidFill>
              <a:srgbClr val="FED4D5"/>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73" name="îš1ídê"/>
            <p:cNvSpPr/>
            <p:nvPr/>
          </p:nvSpPr>
          <p:spPr bwMode="auto">
            <a:xfrm>
              <a:off x="3857836" y="3088704"/>
              <a:ext cx="270882" cy="443571"/>
            </a:xfrm>
            <a:custGeom>
              <a:avLst/>
              <a:gdLst>
                <a:gd name="T0" fmla="*/ 34 w 38"/>
                <a:gd name="T1" fmla="*/ 63 h 63"/>
                <a:gd name="T2" fmla="*/ 34 w 38"/>
                <a:gd name="T3" fmla="*/ 63 h 63"/>
                <a:gd name="T4" fmla="*/ 38 w 38"/>
                <a:gd name="T5" fmla="*/ 37 h 63"/>
                <a:gd name="T6" fmla="*/ 27 w 38"/>
                <a:gd name="T7" fmla="*/ 3 h 63"/>
                <a:gd name="T8" fmla="*/ 0 w 38"/>
                <a:gd name="T9" fmla="*/ 0 h 63"/>
                <a:gd name="T10" fmla="*/ 25 w 38"/>
                <a:gd name="T11" fmla="*/ 35 h 63"/>
                <a:gd name="T12" fmla="*/ 34 w 38"/>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38" h="63">
                  <a:moveTo>
                    <a:pt x="34" y="63"/>
                  </a:moveTo>
                  <a:cubicBezTo>
                    <a:pt x="34" y="63"/>
                    <a:pt x="34" y="63"/>
                    <a:pt x="34" y="63"/>
                  </a:cubicBezTo>
                  <a:cubicBezTo>
                    <a:pt x="35" y="52"/>
                    <a:pt x="38" y="37"/>
                    <a:pt x="38" y="37"/>
                  </a:cubicBezTo>
                  <a:cubicBezTo>
                    <a:pt x="32" y="17"/>
                    <a:pt x="27" y="3"/>
                    <a:pt x="27" y="3"/>
                  </a:cubicBezTo>
                  <a:cubicBezTo>
                    <a:pt x="24" y="4"/>
                    <a:pt x="9" y="2"/>
                    <a:pt x="0" y="0"/>
                  </a:cubicBezTo>
                  <a:cubicBezTo>
                    <a:pt x="0" y="0"/>
                    <a:pt x="17" y="18"/>
                    <a:pt x="25" y="35"/>
                  </a:cubicBezTo>
                  <a:cubicBezTo>
                    <a:pt x="33" y="52"/>
                    <a:pt x="34" y="63"/>
                    <a:pt x="34" y="63"/>
                  </a:cubicBezTo>
                  <a:close/>
                </a:path>
              </a:pathLst>
            </a:custGeom>
            <a:solidFill>
              <a:srgbClr val="FFA9A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74" name="íṧḷîḑè"/>
            <p:cNvSpPr/>
            <p:nvPr/>
          </p:nvSpPr>
          <p:spPr bwMode="auto">
            <a:xfrm>
              <a:off x="4233686" y="1497271"/>
              <a:ext cx="612872" cy="274269"/>
            </a:xfrm>
            <a:custGeom>
              <a:avLst/>
              <a:gdLst>
                <a:gd name="T0" fmla="*/ 81 w 87"/>
                <a:gd name="T1" fmla="*/ 7 h 39"/>
                <a:gd name="T2" fmla="*/ 59 w 87"/>
                <a:gd name="T3" fmla="*/ 0 h 39"/>
                <a:gd name="T4" fmla="*/ 0 w 87"/>
                <a:gd name="T5" fmla="*/ 20 h 39"/>
                <a:gd name="T6" fmla="*/ 6 w 87"/>
                <a:gd name="T7" fmla="*/ 39 h 39"/>
                <a:gd name="T8" fmla="*/ 63 w 87"/>
                <a:gd name="T9" fmla="*/ 13 h 39"/>
                <a:gd name="T10" fmla="*/ 84 w 87"/>
                <a:gd name="T11" fmla="*/ 19 h 39"/>
                <a:gd name="T12" fmla="*/ 87 w 87"/>
                <a:gd name="T13" fmla="*/ 4 h 39"/>
                <a:gd name="T14" fmla="*/ 81 w 87"/>
                <a:gd name="T15" fmla="*/ 7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39">
                  <a:moveTo>
                    <a:pt x="81" y="7"/>
                  </a:moveTo>
                  <a:cubicBezTo>
                    <a:pt x="66" y="10"/>
                    <a:pt x="59" y="0"/>
                    <a:pt x="59" y="0"/>
                  </a:cubicBezTo>
                  <a:cubicBezTo>
                    <a:pt x="42" y="19"/>
                    <a:pt x="15" y="22"/>
                    <a:pt x="0" y="20"/>
                  </a:cubicBezTo>
                  <a:cubicBezTo>
                    <a:pt x="1" y="23"/>
                    <a:pt x="6" y="34"/>
                    <a:pt x="6" y="39"/>
                  </a:cubicBezTo>
                  <a:cubicBezTo>
                    <a:pt x="6" y="39"/>
                    <a:pt x="52" y="34"/>
                    <a:pt x="63" y="13"/>
                  </a:cubicBezTo>
                  <a:cubicBezTo>
                    <a:pt x="63" y="13"/>
                    <a:pt x="73" y="21"/>
                    <a:pt x="84" y="19"/>
                  </a:cubicBezTo>
                  <a:cubicBezTo>
                    <a:pt x="84" y="19"/>
                    <a:pt x="87" y="10"/>
                    <a:pt x="87" y="4"/>
                  </a:cubicBezTo>
                  <a:cubicBezTo>
                    <a:pt x="85" y="5"/>
                    <a:pt x="83" y="6"/>
                    <a:pt x="81" y="7"/>
                  </a:cubicBezTo>
                  <a:close/>
                </a:path>
              </a:pathLst>
            </a:custGeom>
            <a:solidFill>
              <a:srgbClr val="17218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75" name="ïš1îḓé"/>
            <p:cNvSpPr/>
            <p:nvPr/>
          </p:nvSpPr>
          <p:spPr bwMode="auto">
            <a:xfrm>
              <a:off x="5439112" y="2827981"/>
              <a:ext cx="1354411" cy="772014"/>
            </a:xfrm>
            <a:custGeom>
              <a:avLst/>
              <a:gdLst>
                <a:gd name="T0" fmla="*/ 0 w 400"/>
                <a:gd name="T1" fmla="*/ 218 h 228"/>
                <a:gd name="T2" fmla="*/ 21 w 400"/>
                <a:gd name="T3" fmla="*/ 228 h 228"/>
                <a:gd name="T4" fmla="*/ 400 w 400"/>
                <a:gd name="T5" fmla="*/ 10 h 228"/>
                <a:gd name="T6" fmla="*/ 382 w 400"/>
                <a:gd name="T7" fmla="*/ 0 h 228"/>
                <a:gd name="T8" fmla="*/ 0 w 400"/>
                <a:gd name="T9" fmla="*/ 218 h 228"/>
              </a:gdLst>
              <a:ahLst/>
              <a:cxnLst>
                <a:cxn ang="0">
                  <a:pos x="T0" y="T1"/>
                </a:cxn>
                <a:cxn ang="0">
                  <a:pos x="T2" y="T3"/>
                </a:cxn>
                <a:cxn ang="0">
                  <a:pos x="T4" y="T5"/>
                </a:cxn>
                <a:cxn ang="0">
                  <a:pos x="T6" y="T7"/>
                </a:cxn>
                <a:cxn ang="0">
                  <a:pos x="T8" y="T9"/>
                </a:cxn>
              </a:cxnLst>
              <a:rect l="0" t="0" r="r" b="b"/>
              <a:pathLst>
                <a:path w="400" h="228">
                  <a:moveTo>
                    <a:pt x="0" y="218"/>
                  </a:moveTo>
                  <a:lnTo>
                    <a:pt x="21" y="228"/>
                  </a:lnTo>
                  <a:lnTo>
                    <a:pt x="400" y="10"/>
                  </a:lnTo>
                  <a:lnTo>
                    <a:pt x="382" y="0"/>
                  </a:lnTo>
                  <a:lnTo>
                    <a:pt x="0" y="218"/>
                  </a:lnTo>
                  <a:close/>
                </a:path>
              </a:pathLst>
            </a:custGeom>
            <a:solidFill>
              <a:srgbClr val="7099E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76" name="îsḷïḋé"/>
            <p:cNvSpPr/>
            <p:nvPr/>
          </p:nvSpPr>
          <p:spPr bwMode="auto">
            <a:xfrm>
              <a:off x="5445884" y="2861841"/>
              <a:ext cx="1347639" cy="1662540"/>
            </a:xfrm>
            <a:custGeom>
              <a:avLst/>
              <a:gdLst>
                <a:gd name="T0" fmla="*/ 0 w 398"/>
                <a:gd name="T1" fmla="*/ 208 h 491"/>
                <a:gd name="T2" fmla="*/ 0 w 398"/>
                <a:gd name="T3" fmla="*/ 478 h 491"/>
                <a:gd name="T4" fmla="*/ 19 w 398"/>
                <a:gd name="T5" fmla="*/ 491 h 491"/>
                <a:gd name="T6" fmla="*/ 398 w 398"/>
                <a:gd name="T7" fmla="*/ 275 h 491"/>
                <a:gd name="T8" fmla="*/ 398 w 398"/>
                <a:gd name="T9" fmla="*/ 0 h 491"/>
                <a:gd name="T10" fmla="*/ 19 w 398"/>
                <a:gd name="T11" fmla="*/ 218 h 491"/>
                <a:gd name="T12" fmla="*/ 0 w 398"/>
                <a:gd name="T13" fmla="*/ 208 h 491"/>
              </a:gdLst>
              <a:ahLst/>
              <a:cxnLst>
                <a:cxn ang="0">
                  <a:pos x="T0" y="T1"/>
                </a:cxn>
                <a:cxn ang="0">
                  <a:pos x="T2" y="T3"/>
                </a:cxn>
                <a:cxn ang="0">
                  <a:pos x="T4" y="T5"/>
                </a:cxn>
                <a:cxn ang="0">
                  <a:pos x="T6" y="T7"/>
                </a:cxn>
                <a:cxn ang="0">
                  <a:pos x="T8" y="T9"/>
                </a:cxn>
                <a:cxn ang="0">
                  <a:pos x="T10" y="T11"/>
                </a:cxn>
                <a:cxn ang="0">
                  <a:pos x="T12" y="T13"/>
                </a:cxn>
              </a:cxnLst>
              <a:rect l="0" t="0" r="r" b="b"/>
              <a:pathLst>
                <a:path w="398" h="491">
                  <a:moveTo>
                    <a:pt x="0" y="208"/>
                  </a:moveTo>
                  <a:lnTo>
                    <a:pt x="0" y="478"/>
                  </a:lnTo>
                  <a:lnTo>
                    <a:pt x="19" y="491"/>
                  </a:lnTo>
                  <a:lnTo>
                    <a:pt x="398" y="275"/>
                  </a:lnTo>
                  <a:lnTo>
                    <a:pt x="398" y="0"/>
                  </a:lnTo>
                  <a:lnTo>
                    <a:pt x="19" y="218"/>
                  </a:lnTo>
                  <a:lnTo>
                    <a:pt x="0" y="208"/>
                  </a:lnTo>
                  <a:close/>
                </a:path>
              </a:pathLst>
            </a:custGeom>
            <a:solidFill>
              <a:srgbClr val="2948B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77" name="ïšļïḋé"/>
            <p:cNvSpPr/>
            <p:nvPr/>
          </p:nvSpPr>
          <p:spPr bwMode="auto">
            <a:xfrm>
              <a:off x="5445884" y="3566135"/>
              <a:ext cx="64336" cy="958247"/>
            </a:xfrm>
            <a:custGeom>
              <a:avLst/>
              <a:gdLst>
                <a:gd name="T0" fmla="*/ 19 w 19"/>
                <a:gd name="T1" fmla="*/ 10 h 283"/>
                <a:gd name="T2" fmla="*/ 19 w 19"/>
                <a:gd name="T3" fmla="*/ 283 h 283"/>
                <a:gd name="T4" fmla="*/ 0 w 19"/>
                <a:gd name="T5" fmla="*/ 270 h 283"/>
                <a:gd name="T6" fmla="*/ 0 w 19"/>
                <a:gd name="T7" fmla="*/ 0 h 283"/>
                <a:gd name="T8" fmla="*/ 19 w 19"/>
                <a:gd name="T9" fmla="*/ 10 h 283"/>
              </a:gdLst>
              <a:ahLst/>
              <a:cxnLst>
                <a:cxn ang="0">
                  <a:pos x="T0" y="T1"/>
                </a:cxn>
                <a:cxn ang="0">
                  <a:pos x="T2" y="T3"/>
                </a:cxn>
                <a:cxn ang="0">
                  <a:pos x="T4" y="T5"/>
                </a:cxn>
                <a:cxn ang="0">
                  <a:pos x="T6" y="T7"/>
                </a:cxn>
                <a:cxn ang="0">
                  <a:pos x="T8" y="T9"/>
                </a:cxn>
              </a:cxnLst>
              <a:rect l="0" t="0" r="r" b="b"/>
              <a:pathLst>
                <a:path w="19" h="283">
                  <a:moveTo>
                    <a:pt x="19" y="10"/>
                  </a:moveTo>
                  <a:lnTo>
                    <a:pt x="19" y="283"/>
                  </a:lnTo>
                  <a:lnTo>
                    <a:pt x="0" y="270"/>
                  </a:lnTo>
                  <a:lnTo>
                    <a:pt x="0" y="0"/>
                  </a:lnTo>
                  <a:lnTo>
                    <a:pt x="19" y="10"/>
                  </a:lnTo>
                  <a:close/>
                </a:path>
              </a:pathLst>
            </a:custGeom>
            <a:solidFill>
              <a:srgbClr val="4E6FD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78" name="işḷiḓè"/>
            <p:cNvSpPr/>
            <p:nvPr/>
          </p:nvSpPr>
          <p:spPr bwMode="auto">
            <a:xfrm>
              <a:off x="6136633" y="3586451"/>
              <a:ext cx="155757" cy="199777"/>
            </a:xfrm>
            <a:prstGeom prst="ellipse">
              <a:avLst/>
            </a:prstGeom>
            <a:solidFill>
              <a:srgbClr val="4E6FD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684" name="文本框 683"/>
          <p:cNvSpPr txBox="1"/>
          <p:nvPr/>
        </p:nvSpPr>
        <p:spPr>
          <a:xfrm>
            <a:off x="5646712" y="248332"/>
            <a:ext cx="3381812" cy="583565"/>
          </a:xfrm>
          <a:prstGeom prst="rect">
            <a:avLst/>
          </a:prstGeom>
          <a:noFill/>
        </p:spPr>
        <p:txBody>
          <a:bodyPr wrap="square" rtlCol="0">
            <a:spAutoFit/>
          </a:bodyPr>
          <a:lstStyle/>
          <a:p>
            <a:r>
              <a:rPr lang="en-US" altLang="zh-CN" sz="1600" dirty="0">
                <a:solidFill>
                  <a:srgbClr val="F7674A"/>
                </a:solidFill>
              </a:rPr>
              <a:t>Deadline:  </a:t>
            </a:r>
            <a:r>
              <a:rPr lang="en-US" altLang="zh-CN" b="1" dirty="0">
                <a:solidFill>
                  <a:srgbClr val="F7674A"/>
                </a:solidFill>
              </a:rPr>
              <a:t>May 15, 2022</a:t>
            </a:r>
          </a:p>
          <a:p>
            <a:r>
              <a:rPr lang="en-US" altLang="zh-CN" sz="1400" b="1" dirty="0">
                <a:solidFill>
                  <a:srgbClr val="F7674A"/>
                </a:solidFill>
              </a:rPr>
              <a:t>April 30 </a:t>
            </a:r>
            <a:r>
              <a:rPr lang="en-US" altLang="zh-CN" sz="1400" dirty="0">
                <a:solidFill>
                  <a:srgbClr val="F7674A"/>
                </a:solidFill>
              </a:rPr>
              <a:t>for School of Economics  </a:t>
            </a:r>
            <a:endParaRPr lang="zh-CN" altLang="en-US" sz="1200" dirty="0">
              <a:solidFill>
                <a:srgbClr val="F7674A"/>
              </a:solidFill>
            </a:endParaRPr>
          </a:p>
        </p:txBody>
      </p:sp>
      <p:sp>
        <p:nvSpPr>
          <p:cNvPr id="685" name="矩形 684"/>
          <p:cNvSpPr/>
          <p:nvPr/>
        </p:nvSpPr>
        <p:spPr>
          <a:xfrm>
            <a:off x="5661890" y="219572"/>
            <a:ext cx="2784489" cy="619427"/>
          </a:xfrm>
          <a:prstGeom prst="rect">
            <a:avLst/>
          </a:prstGeom>
          <a:noFill/>
          <a:ln w="34925">
            <a:solidFill>
              <a:srgbClr val="C00000">
                <a:alpha val="76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a:p>
        </p:txBody>
      </p:sp>
      <p:sp>
        <p:nvSpPr>
          <p:cNvPr id="689" name="矩形 688"/>
          <p:cNvSpPr/>
          <p:nvPr/>
        </p:nvSpPr>
        <p:spPr>
          <a:xfrm>
            <a:off x="782111" y="2755260"/>
            <a:ext cx="569387" cy="923330"/>
          </a:xfrm>
          <a:prstGeom prst="rect">
            <a:avLst/>
          </a:prstGeom>
          <a:noFill/>
        </p:spPr>
        <p:txBody>
          <a:bodyPr wrap="none" lIns="91440" tIns="45720" rIns="91440" bIns="45720">
            <a:spAutoFit/>
          </a:bodyPr>
          <a:lstStyle/>
          <a:p>
            <a:pPr algn="ctr"/>
            <a:r>
              <a:rPr lang="en-US" altLang="zh-CN" sz="54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rPr>
              <a:t>1</a:t>
            </a:r>
            <a:endParaRPr lang="zh-CN" altLang="en-US" sz="54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690" name="矩形 689"/>
          <p:cNvSpPr/>
          <p:nvPr/>
        </p:nvSpPr>
        <p:spPr>
          <a:xfrm>
            <a:off x="2870942" y="3980346"/>
            <a:ext cx="569388" cy="923330"/>
          </a:xfrm>
          <a:prstGeom prst="rect">
            <a:avLst/>
          </a:prstGeom>
          <a:noFill/>
        </p:spPr>
        <p:txBody>
          <a:bodyPr wrap="none" lIns="91440" tIns="45720" rIns="91440" bIns="45720">
            <a:spAutoFit/>
          </a:bodyPr>
          <a:lstStyle/>
          <a:p>
            <a:pPr algn="ctr"/>
            <a:r>
              <a:rPr lang="en-US" altLang="zh-CN" sz="54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2</a:t>
            </a:r>
            <a:endParaRPr lang="zh-CN" altLang="en-US" sz="54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691" name="矩形 690"/>
          <p:cNvSpPr/>
          <p:nvPr/>
        </p:nvSpPr>
        <p:spPr>
          <a:xfrm>
            <a:off x="9599602" y="2801039"/>
            <a:ext cx="569388" cy="923330"/>
          </a:xfrm>
          <a:prstGeom prst="rect">
            <a:avLst/>
          </a:prstGeom>
          <a:noFill/>
        </p:spPr>
        <p:txBody>
          <a:bodyPr wrap="none" lIns="91440" tIns="45720" rIns="91440" bIns="45720">
            <a:spAutoFit/>
          </a:bodyPr>
          <a:lstStyle/>
          <a:p>
            <a:pPr algn="ctr"/>
            <a:r>
              <a:rPr lang="en-US" altLang="zh-CN" sz="54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5</a:t>
            </a:r>
            <a:endParaRPr lang="zh-CN" altLang="en-US" sz="54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692" name="矩形 691"/>
          <p:cNvSpPr/>
          <p:nvPr/>
        </p:nvSpPr>
        <p:spPr>
          <a:xfrm>
            <a:off x="7488008" y="4007385"/>
            <a:ext cx="569388" cy="923330"/>
          </a:xfrm>
          <a:prstGeom prst="rect">
            <a:avLst/>
          </a:prstGeom>
          <a:noFill/>
        </p:spPr>
        <p:txBody>
          <a:bodyPr wrap="none" lIns="91440" tIns="45720" rIns="91440" bIns="45720">
            <a:spAutoFit/>
          </a:bodyPr>
          <a:lstStyle/>
          <a:p>
            <a:pPr algn="ctr"/>
            <a:r>
              <a:rPr lang="en-US" altLang="zh-CN" sz="54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4</a:t>
            </a:r>
            <a:endParaRPr lang="zh-CN" altLang="en-US" sz="54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693" name="矩形 692"/>
          <p:cNvSpPr/>
          <p:nvPr/>
        </p:nvSpPr>
        <p:spPr>
          <a:xfrm>
            <a:off x="5046655" y="5102216"/>
            <a:ext cx="569388" cy="923330"/>
          </a:xfrm>
          <a:prstGeom prst="rect">
            <a:avLst/>
          </a:prstGeom>
          <a:noFill/>
        </p:spPr>
        <p:txBody>
          <a:bodyPr wrap="none" lIns="91440" tIns="45720" rIns="91440" bIns="45720">
            <a:spAutoFit/>
          </a:bodyPr>
          <a:lstStyle/>
          <a:p>
            <a:pPr algn="ctr"/>
            <a:r>
              <a:rPr lang="en-US" altLang="zh-CN" sz="54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3</a:t>
            </a:r>
            <a:endParaRPr lang="zh-CN" altLang="en-US" sz="54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Tree>
    <p:custDataLst>
      <p:tags r:id="rId1"/>
    </p:custData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750"/>
                                        <p:tgtEl>
                                          <p:spTgt spid="3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750"/>
                                        <p:tgtEl>
                                          <p:spTgt spid="25"/>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3"/>
                                        </p:tgtEl>
                                        <p:attrNameLst>
                                          <p:attrName>style.visibility</p:attrName>
                                        </p:attrNameLst>
                                      </p:cBhvr>
                                      <p:to>
                                        <p:strVal val="visible"/>
                                      </p:to>
                                    </p:set>
                                    <p:animEffect transition="in" filter="fade">
                                      <p:cBhvr>
                                        <p:cTn id="16" dur="750"/>
                                        <p:tgtEl>
                                          <p:spTgt spid="33"/>
                                        </p:tgtEl>
                                      </p:cBhvr>
                                    </p:animEffect>
                                  </p:childTnLst>
                                </p:cTn>
                              </p:par>
                              <p:par>
                                <p:cTn id="17" presetID="10" presetClass="entr" presetSubtype="0" fill="hold" nodeType="withEffect">
                                  <p:stCondLst>
                                    <p:cond delay="5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750"/>
                                        <p:tgtEl>
                                          <p:spTgt spid="10"/>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750"/>
                                        <p:tgtEl>
                                          <p:spTgt spid="23"/>
                                        </p:tgtEl>
                                      </p:cBhvr>
                                    </p:animEffect>
                                  </p:childTnLst>
                                </p:cTn>
                              </p:par>
                              <p:par>
                                <p:cTn id="23" presetID="10" presetClass="entr" presetSubtype="0" fill="hold" nodeType="withEffect">
                                  <p:stCondLst>
                                    <p:cond delay="500"/>
                                  </p:stCondLst>
                                  <p:childTnLst>
                                    <p:set>
                                      <p:cBhvr>
                                        <p:cTn id="24" dur="1" fill="hold">
                                          <p:stCondLst>
                                            <p:cond delay="0"/>
                                          </p:stCondLst>
                                        </p:cTn>
                                        <p:tgtEl>
                                          <p:spTgt spid="641"/>
                                        </p:tgtEl>
                                        <p:attrNameLst>
                                          <p:attrName>style.visibility</p:attrName>
                                        </p:attrNameLst>
                                      </p:cBhvr>
                                      <p:to>
                                        <p:strVal val="visible"/>
                                      </p:to>
                                    </p:set>
                                    <p:animEffect transition="in" filter="fade">
                                      <p:cBhvr>
                                        <p:cTn id="25" dur="750"/>
                                        <p:tgtEl>
                                          <p:spTgt spid="641"/>
                                        </p:tgtEl>
                                      </p:cBhvr>
                                    </p:animEffect>
                                  </p:childTnLst>
                                </p:cTn>
                              </p:par>
                              <p:par>
                                <p:cTn id="26" presetID="10" presetClass="entr" presetSubtype="0" fill="hold" nodeType="withEffect">
                                  <p:stCondLst>
                                    <p:cond delay="10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750"/>
                                        <p:tgtEl>
                                          <p:spTgt spid="11"/>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750"/>
                                        <p:tgtEl>
                                          <p:spTgt spid="19"/>
                                        </p:tgtEl>
                                      </p:cBhvr>
                                    </p:animEffect>
                                  </p:childTnLst>
                                </p:cTn>
                              </p:par>
                              <p:par>
                                <p:cTn id="32" presetID="10" presetClass="entr" presetSubtype="0" fill="hold" grpId="0" nodeType="withEffect">
                                  <p:stCondLst>
                                    <p:cond delay="100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750"/>
                                        <p:tgtEl>
                                          <p:spTgt spid="29"/>
                                        </p:tgtEl>
                                      </p:cBhvr>
                                    </p:animEffect>
                                  </p:childTnLst>
                                </p:cTn>
                              </p:par>
                              <p:par>
                                <p:cTn id="35" presetID="10" presetClass="entr" presetSubtype="0" fill="hold" nodeType="withEffect">
                                  <p:stCondLst>
                                    <p:cond delay="150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750"/>
                                        <p:tgtEl>
                                          <p:spTgt spid="13"/>
                                        </p:tgtEl>
                                      </p:cBhvr>
                                    </p:animEffect>
                                  </p:childTnLst>
                                </p:cTn>
                              </p:par>
                              <p:par>
                                <p:cTn id="38" presetID="10" presetClass="entr" presetSubtype="0" fill="hold" grpId="0" nodeType="withEffect">
                                  <p:stCondLst>
                                    <p:cond delay="150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750"/>
                                        <p:tgtEl>
                                          <p:spTgt spid="15"/>
                                        </p:tgtEl>
                                      </p:cBhvr>
                                    </p:animEffect>
                                  </p:childTnLst>
                                </p:cTn>
                              </p:par>
                              <p:par>
                                <p:cTn id="41" presetID="10" presetClass="entr" presetSubtype="0" fill="hold" grpId="0" nodeType="withEffect">
                                  <p:stCondLst>
                                    <p:cond delay="150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750"/>
                                        <p:tgtEl>
                                          <p:spTgt spid="21"/>
                                        </p:tgtEl>
                                      </p:cBhvr>
                                    </p:animEffect>
                                  </p:childTnLst>
                                </p:cTn>
                              </p:par>
                              <p:par>
                                <p:cTn id="44" presetID="10" presetClass="entr" presetSubtype="0" fill="hold" nodeType="withEffect">
                                  <p:stCondLst>
                                    <p:cond delay="1500"/>
                                  </p:stCondLst>
                                  <p:childTnLst>
                                    <p:set>
                                      <p:cBhvr>
                                        <p:cTn id="45" dur="1" fill="hold">
                                          <p:stCondLst>
                                            <p:cond delay="0"/>
                                          </p:stCondLst>
                                        </p:cTn>
                                        <p:tgtEl>
                                          <p:spTgt spid="313"/>
                                        </p:tgtEl>
                                        <p:attrNameLst>
                                          <p:attrName>style.visibility</p:attrName>
                                        </p:attrNameLst>
                                      </p:cBhvr>
                                      <p:to>
                                        <p:strVal val="visible"/>
                                      </p:to>
                                    </p:set>
                                    <p:animEffect transition="in" filter="fade">
                                      <p:cBhvr>
                                        <p:cTn id="46" dur="750"/>
                                        <p:tgtEl>
                                          <p:spTgt spid="313"/>
                                        </p:tgtEl>
                                      </p:cBhvr>
                                    </p:animEffect>
                                  </p:childTnLst>
                                </p:cTn>
                              </p:par>
                              <p:par>
                                <p:cTn id="47" presetID="10" presetClass="entr" presetSubtype="0" fill="hold" nodeType="withEffect">
                                  <p:stCondLst>
                                    <p:cond delay="200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750"/>
                                        <p:tgtEl>
                                          <p:spTgt spid="12"/>
                                        </p:tgtEl>
                                      </p:cBhvr>
                                    </p:animEffect>
                                  </p:childTnLst>
                                </p:cTn>
                              </p:par>
                              <p:par>
                                <p:cTn id="50" presetID="10" presetClass="entr" presetSubtype="0" fill="hold" grpId="0" nodeType="withEffect">
                                  <p:stCondLst>
                                    <p:cond delay="2000"/>
                                  </p:stCondLst>
                                  <p:childTnLst>
                                    <p:set>
                                      <p:cBhvr>
                                        <p:cTn id="51" dur="1" fill="hold">
                                          <p:stCondLst>
                                            <p:cond delay="0"/>
                                          </p:stCondLst>
                                        </p:cTn>
                                        <p:tgtEl>
                                          <p:spTgt spid="35"/>
                                        </p:tgtEl>
                                        <p:attrNameLst>
                                          <p:attrName>style.visibility</p:attrName>
                                        </p:attrNameLst>
                                      </p:cBhvr>
                                      <p:to>
                                        <p:strVal val="visible"/>
                                      </p:to>
                                    </p:set>
                                    <p:animEffect transition="in" filter="fade">
                                      <p:cBhvr>
                                        <p:cTn id="52" dur="750"/>
                                        <p:tgtEl>
                                          <p:spTgt spid="35"/>
                                        </p:tgtEl>
                                      </p:cBhvr>
                                    </p:animEffect>
                                  </p:childTnLst>
                                </p:cTn>
                              </p:par>
                              <p:par>
                                <p:cTn id="53" presetID="10" presetClass="entr" presetSubtype="0" fill="hold" grpId="0" nodeType="withEffect">
                                  <p:stCondLst>
                                    <p:cond delay="2000"/>
                                  </p:stCondLst>
                                  <p:childTnLst>
                                    <p:set>
                                      <p:cBhvr>
                                        <p:cTn id="54" dur="1" fill="hold">
                                          <p:stCondLst>
                                            <p:cond delay="0"/>
                                          </p:stCondLst>
                                        </p:cTn>
                                        <p:tgtEl>
                                          <p:spTgt spid="27"/>
                                        </p:tgtEl>
                                        <p:attrNameLst>
                                          <p:attrName>style.visibility</p:attrName>
                                        </p:attrNameLst>
                                      </p:cBhvr>
                                      <p:to>
                                        <p:strVal val="visible"/>
                                      </p:to>
                                    </p:set>
                                    <p:animEffect transition="in" filter="fade">
                                      <p:cBhvr>
                                        <p:cTn id="55" dur="750"/>
                                        <p:tgtEl>
                                          <p:spTgt spid="27"/>
                                        </p:tgtEl>
                                      </p:cBhvr>
                                    </p:animEffect>
                                  </p:childTnLst>
                                </p:cTn>
                              </p:par>
                              <p:par>
                                <p:cTn id="56" presetID="10" presetClass="entr" presetSubtype="0" fill="hold" nodeType="withEffect">
                                  <p:stCondLst>
                                    <p:cond delay="2000"/>
                                  </p:stCondLst>
                                  <p:childTnLst>
                                    <p:set>
                                      <p:cBhvr>
                                        <p:cTn id="57" dur="1" fill="hold">
                                          <p:stCondLst>
                                            <p:cond delay="0"/>
                                          </p:stCondLst>
                                        </p:cTn>
                                        <p:tgtEl>
                                          <p:spTgt spid="464"/>
                                        </p:tgtEl>
                                        <p:attrNameLst>
                                          <p:attrName>style.visibility</p:attrName>
                                        </p:attrNameLst>
                                      </p:cBhvr>
                                      <p:to>
                                        <p:strVal val="visible"/>
                                      </p:to>
                                    </p:set>
                                    <p:animEffect transition="in" filter="fade">
                                      <p:cBhvr>
                                        <p:cTn id="58" dur="750"/>
                                        <p:tgtEl>
                                          <p:spTgt spid="464"/>
                                        </p:tgtEl>
                                      </p:cBhvr>
                                    </p:animEffec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685"/>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6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bldLvl="0" animBg="1"/>
      <p:bldP spid="37" grpId="0" bldLvl="0" animBg="1"/>
      <p:bldP spid="15" grpId="0" bldLvl="0" animBg="1"/>
      <p:bldP spid="35" grpId="0" bldLvl="0" animBg="1"/>
      <p:bldP spid="19" grpId="0" bldLvl="0" animBg="1"/>
      <p:bldP spid="21" grpId="0"/>
      <p:bldP spid="23" grpId="0"/>
      <p:bldP spid="25" grpId="0"/>
      <p:bldP spid="27" grpId="0"/>
      <p:bldP spid="29" grpId="0"/>
      <p:bldP spid="684" grpId="0"/>
      <p:bldP spid="685" grpId="0" bldLvl="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1487488" y="0"/>
            <a:ext cx="10704512" cy="3429000"/>
          </a:xfrm>
          <a:custGeom>
            <a:avLst/>
            <a:gdLst>
              <a:gd name="connsiteX0" fmla="*/ 0 w 8028384"/>
              <a:gd name="connsiteY0" fmla="*/ 0 h 2571750"/>
              <a:gd name="connsiteX1" fmla="*/ 8028384 w 8028384"/>
              <a:gd name="connsiteY1" fmla="*/ 0 h 2571750"/>
              <a:gd name="connsiteX2" fmla="*/ 8028384 w 8028384"/>
              <a:gd name="connsiteY2" fmla="*/ 2571750 h 2571750"/>
              <a:gd name="connsiteX3" fmla="*/ 0 w 8028384"/>
              <a:gd name="connsiteY3" fmla="*/ 2571750 h 2571750"/>
              <a:gd name="connsiteX4" fmla="*/ 0 w 8028384"/>
              <a:gd name="connsiteY4" fmla="*/ 0 h 2571750"/>
              <a:gd name="connsiteX0-1" fmla="*/ 0 w 8028384"/>
              <a:gd name="connsiteY0-2" fmla="*/ 0 h 2571750"/>
              <a:gd name="connsiteX1-3" fmla="*/ 8028384 w 8028384"/>
              <a:gd name="connsiteY1-4" fmla="*/ 0 h 2571750"/>
              <a:gd name="connsiteX2-5" fmla="*/ 8028384 w 8028384"/>
              <a:gd name="connsiteY2-6" fmla="*/ 2571750 h 2571750"/>
              <a:gd name="connsiteX3-7" fmla="*/ 2445165 w 8028384"/>
              <a:gd name="connsiteY3-8" fmla="*/ 2571078 h 2571750"/>
              <a:gd name="connsiteX4-9" fmla="*/ 0 w 8028384"/>
              <a:gd name="connsiteY4-10" fmla="*/ 2571750 h 2571750"/>
              <a:gd name="connsiteX5" fmla="*/ 0 w 8028384"/>
              <a:gd name="connsiteY5" fmla="*/ 0 h 2571750"/>
              <a:gd name="connsiteX0-11" fmla="*/ 0 w 8028384"/>
              <a:gd name="connsiteY0-12" fmla="*/ 0 h 2571750"/>
              <a:gd name="connsiteX1-13" fmla="*/ 8028384 w 8028384"/>
              <a:gd name="connsiteY1-14" fmla="*/ 0 h 2571750"/>
              <a:gd name="connsiteX2-15" fmla="*/ 8028384 w 8028384"/>
              <a:gd name="connsiteY2-16" fmla="*/ 2571750 h 2571750"/>
              <a:gd name="connsiteX3-17" fmla="*/ 2445165 w 8028384"/>
              <a:gd name="connsiteY3-18" fmla="*/ 2571078 h 2571750"/>
              <a:gd name="connsiteX4-19" fmla="*/ 0 w 8028384"/>
              <a:gd name="connsiteY4-20" fmla="*/ 0 h 257175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028384" h="2571750">
                <a:moveTo>
                  <a:pt x="0" y="0"/>
                </a:moveTo>
                <a:lnTo>
                  <a:pt x="8028384" y="0"/>
                </a:lnTo>
                <a:lnTo>
                  <a:pt x="8028384" y="2571750"/>
                </a:lnTo>
                <a:lnTo>
                  <a:pt x="2445165" y="2571078"/>
                </a:lnTo>
                <a:lnTo>
                  <a:pt x="0" y="0"/>
                </a:lnTo>
                <a:close/>
              </a:path>
            </a:pathLst>
          </a:custGeom>
          <a:blipFill dpi="0" rotWithShape="1">
            <a:blip r:embed="rId3" cstate="print">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a:fillRect t="-62398" b="-46580"/>
            </a:stretch>
          </a:blipFill>
          <a:ln>
            <a:noFill/>
          </a:ln>
          <a:effectLst>
            <a:outerShdw blurRad="254000" dist="635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 name="等腰三角形 2"/>
          <p:cNvSpPr/>
          <p:nvPr/>
        </p:nvSpPr>
        <p:spPr>
          <a:xfrm rot="5400000">
            <a:off x="-1751169" y="1751170"/>
            <a:ext cx="6858000" cy="3355661"/>
          </a:xfrm>
          <a:prstGeom prst="triangle">
            <a:avLst/>
          </a:prstGeom>
          <a:gradFill>
            <a:gsLst>
              <a:gs pos="0">
                <a:srgbClr val="007BD3"/>
              </a:gs>
              <a:gs pos="0">
                <a:srgbClr val="016DBB">
                  <a:alpha val="100000"/>
                </a:srgbClr>
              </a:gs>
              <a:gs pos="0">
                <a:srgbClr val="025FA3">
                  <a:alpha val="100000"/>
                </a:srgbClr>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1" name="矩形 20"/>
          <p:cNvSpPr/>
          <p:nvPr/>
        </p:nvSpPr>
        <p:spPr>
          <a:xfrm>
            <a:off x="6541749" y="4636458"/>
            <a:ext cx="5300980" cy="922020"/>
          </a:xfrm>
          <a:prstGeom prst="rect">
            <a:avLst/>
          </a:prstGeom>
        </p:spPr>
        <p:txBody>
          <a:bodyPr wrap="none" lIns="91440" tIns="45720" rIns="91440" bIns="45720">
            <a:spAutoFit/>
          </a:bodyPr>
          <a:lstStyle/>
          <a:p>
            <a:pPr algn="l" defTabSz="1218565">
              <a:defRPr/>
            </a:pPr>
            <a:r>
              <a:rPr lang="zh-CN" altLang="en-US" sz="5400" b="1" kern="0" spc="800" dirty="0">
                <a:solidFill>
                  <a:srgbClr val="002060"/>
                </a:solidFill>
                <a:latin typeface="Arial" panose="020B0604020202020204" pitchFamily="34" charset="0"/>
                <a:ea typeface="微软雅黑" panose="020B0503020204020204" pitchFamily="34" charset="-122"/>
                <a:cs typeface="Arial" panose="020B0604020202020204" pitchFamily="34" charset="0"/>
                <a:sym typeface="+mn-ea"/>
              </a:rPr>
              <a:t>L</a:t>
            </a:r>
            <a:r>
              <a:rPr lang="en-US" altLang="zh-CN" sz="5400" b="1" kern="0" spc="800" dirty="0">
                <a:solidFill>
                  <a:srgbClr val="002060"/>
                </a:solidFill>
                <a:latin typeface="Arial" panose="020B0604020202020204" pitchFamily="34" charset="0"/>
                <a:ea typeface="微软雅黑" panose="020B0503020204020204" pitchFamily="34" charset="-122"/>
                <a:cs typeface="Arial" panose="020B0604020202020204" pitchFamily="34" charset="0"/>
                <a:sym typeface="+mn-ea"/>
              </a:rPr>
              <a:t>IFE</a:t>
            </a:r>
            <a:r>
              <a:rPr lang="zh-CN" altLang="en-US" sz="5400" b="1" kern="0" spc="800" dirty="0">
                <a:solidFill>
                  <a:srgbClr val="002060"/>
                </a:solidFill>
                <a:latin typeface="Arial" panose="020B0604020202020204" pitchFamily="34" charset="0"/>
                <a:ea typeface="微软雅黑" panose="020B0503020204020204" pitchFamily="34" charset="-122"/>
                <a:cs typeface="Arial" panose="020B0604020202020204" pitchFamily="34" charset="0"/>
                <a:sym typeface="+mn-ea"/>
              </a:rPr>
              <a:t> </a:t>
            </a:r>
            <a:r>
              <a:rPr lang="en-US" altLang="zh-CN" sz="5400" b="1" kern="0" spc="800" dirty="0">
                <a:solidFill>
                  <a:srgbClr val="002060"/>
                </a:solidFill>
                <a:latin typeface="Arial" panose="020B0604020202020204" pitchFamily="34" charset="0"/>
                <a:ea typeface="微软雅黑" panose="020B0503020204020204" pitchFamily="34" charset="-122"/>
                <a:cs typeface="Arial" panose="020B0604020202020204" pitchFamily="34" charset="0"/>
                <a:sym typeface="+mn-ea"/>
              </a:rPr>
              <a:t>IN</a:t>
            </a:r>
            <a:r>
              <a:rPr lang="zh-CN" altLang="en-US" sz="5400" b="1" kern="0" spc="800" dirty="0">
                <a:solidFill>
                  <a:srgbClr val="002060"/>
                </a:solidFill>
                <a:latin typeface="Arial" panose="020B0604020202020204" pitchFamily="34" charset="0"/>
                <a:ea typeface="微软雅黑" panose="020B0503020204020204" pitchFamily="34" charset="-122"/>
                <a:cs typeface="Arial" panose="020B0604020202020204" pitchFamily="34" charset="0"/>
                <a:sym typeface="+mn-ea"/>
              </a:rPr>
              <a:t> </a:t>
            </a:r>
            <a:r>
              <a:rPr lang="en-US" altLang="zh-CN" sz="5400" b="1" kern="0" spc="800" dirty="0">
                <a:solidFill>
                  <a:srgbClr val="002060"/>
                </a:solidFill>
                <a:latin typeface="Arial" panose="020B0604020202020204" pitchFamily="34" charset="0"/>
                <a:ea typeface="微软雅黑" panose="020B0503020204020204" pitchFamily="34" charset="-122"/>
                <a:cs typeface="Arial" panose="020B0604020202020204" pitchFamily="34" charset="0"/>
                <a:sym typeface="+mn-ea"/>
              </a:rPr>
              <a:t>SHU</a:t>
            </a:r>
          </a:p>
        </p:txBody>
      </p:sp>
      <p:sp>
        <p:nvSpPr>
          <p:cNvPr id="24" name="矩形 3"/>
          <p:cNvSpPr/>
          <p:nvPr/>
        </p:nvSpPr>
        <p:spPr>
          <a:xfrm>
            <a:off x="1487488" y="0"/>
            <a:ext cx="10704512" cy="3429000"/>
          </a:xfrm>
          <a:custGeom>
            <a:avLst/>
            <a:gdLst>
              <a:gd name="connsiteX0" fmla="*/ 0 w 8028384"/>
              <a:gd name="connsiteY0" fmla="*/ 0 h 2571750"/>
              <a:gd name="connsiteX1" fmla="*/ 8028384 w 8028384"/>
              <a:gd name="connsiteY1" fmla="*/ 0 h 2571750"/>
              <a:gd name="connsiteX2" fmla="*/ 8028384 w 8028384"/>
              <a:gd name="connsiteY2" fmla="*/ 2571750 h 2571750"/>
              <a:gd name="connsiteX3" fmla="*/ 0 w 8028384"/>
              <a:gd name="connsiteY3" fmla="*/ 2571750 h 2571750"/>
              <a:gd name="connsiteX4" fmla="*/ 0 w 8028384"/>
              <a:gd name="connsiteY4" fmla="*/ 0 h 2571750"/>
              <a:gd name="connsiteX0-1" fmla="*/ 0 w 8028384"/>
              <a:gd name="connsiteY0-2" fmla="*/ 0 h 2571750"/>
              <a:gd name="connsiteX1-3" fmla="*/ 8028384 w 8028384"/>
              <a:gd name="connsiteY1-4" fmla="*/ 0 h 2571750"/>
              <a:gd name="connsiteX2-5" fmla="*/ 8028384 w 8028384"/>
              <a:gd name="connsiteY2-6" fmla="*/ 2571750 h 2571750"/>
              <a:gd name="connsiteX3-7" fmla="*/ 2445165 w 8028384"/>
              <a:gd name="connsiteY3-8" fmla="*/ 2571078 h 2571750"/>
              <a:gd name="connsiteX4-9" fmla="*/ 0 w 8028384"/>
              <a:gd name="connsiteY4-10" fmla="*/ 2571750 h 2571750"/>
              <a:gd name="connsiteX5" fmla="*/ 0 w 8028384"/>
              <a:gd name="connsiteY5" fmla="*/ 0 h 2571750"/>
              <a:gd name="connsiteX0-11" fmla="*/ 0 w 8028384"/>
              <a:gd name="connsiteY0-12" fmla="*/ 0 h 2571750"/>
              <a:gd name="connsiteX1-13" fmla="*/ 8028384 w 8028384"/>
              <a:gd name="connsiteY1-14" fmla="*/ 0 h 2571750"/>
              <a:gd name="connsiteX2-15" fmla="*/ 8028384 w 8028384"/>
              <a:gd name="connsiteY2-16" fmla="*/ 2571750 h 2571750"/>
              <a:gd name="connsiteX3-17" fmla="*/ 2445165 w 8028384"/>
              <a:gd name="connsiteY3-18" fmla="*/ 2571078 h 2571750"/>
              <a:gd name="connsiteX4-19" fmla="*/ 0 w 8028384"/>
              <a:gd name="connsiteY4-20" fmla="*/ 0 h 257175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028384" h="2571750">
                <a:moveTo>
                  <a:pt x="0" y="0"/>
                </a:moveTo>
                <a:lnTo>
                  <a:pt x="8028384" y="0"/>
                </a:lnTo>
                <a:lnTo>
                  <a:pt x="8028384" y="2571750"/>
                </a:lnTo>
                <a:lnTo>
                  <a:pt x="2445165" y="2571078"/>
                </a:lnTo>
                <a:lnTo>
                  <a:pt x="0" y="0"/>
                </a:lnTo>
                <a:close/>
              </a:path>
            </a:pathLst>
          </a:custGeom>
          <a:gradFill>
            <a:gsLst>
              <a:gs pos="0">
                <a:srgbClr val="007BD3"/>
              </a:gs>
              <a:gs pos="0">
                <a:srgbClr val="034373">
                  <a:alpha val="8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5" name="矩形 24"/>
          <p:cNvSpPr/>
          <p:nvPr/>
        </p:nvSpPr>
        <p:spPr>
          <a:xfrm>
            <a:off x="476332" y="2595743"/>
            <a:ext cx="1428596" cy="1323439"/>
          </a:xfrm>
          <a:prstGeom prst="rect">
            <a:avLst/>
          </a:prstGeom>
          <a:gradFill>
            <a:gsLst>
              <a:gs pos="0">
                <a:srgbClr val="23607C"/>
              </a:gs>
              <a:gs pos="0">
                <a:srgbClr val="0C364F"/>
              </a:gs>
            </a:gsLst>
            <a:lin ang="0" scaled="1"/>
          </a:gradFill>
        </p:spPr>
        <p:txBody>
          <a:bodyPr wrap="none" lIns="91440" tIns="45720" rIns="91440" bIns="45720">
            <a:spAutoFit/>
          </a:bodyPr>
          <a:lstStyle/>
          <a:p>
            <a:pPr defTabSz="1218565">
              <a:defRPr/>
            </a:pPr>
            <a:r>
              <a:rPr lang="en-US" altLang="zh-CN" sz="8000" b="1" kern="0" spc="400" dirty="0" smtClean="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Arial" panose="020B0604020202020204" pitchFamily="34" charset="0"/>
              </a:rPr>
              <a:t>04</a:t>
            </a:r>
            <a:endParaRPr lang="zh-CN" altLang="en-US" sz="8000" b="1" kern="0" spc="40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77484983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bldLst>
      <p:bldP spid="4" grpId="0" bldLvl="0" animBg="1"/>
      <p:bldP spid="3" grpId="0" bldLvl="0" animBg="1"/>
      <p:bldP spid="21" grpId="0"/>
      <p:bldP spid="24" grpId="0" bldLvl="0" animBg="1"/>
      <p:bldP spid="25" grpId="0" bldLvl="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3" name="标题 1"/>
          <p:cNvSpPr txBox="1">
            <a:spLocks noGrp="1"/>
          </p:cNvSpPr>
          <p:nvPr>
            <p:ph type="title" idx="4294967295"/>
          </p:nvPr>
        </p:nvSpPr>
        <p:spPr>
          <a:xfrm>
            <a:off x="493474" y="134620"/>
            <a:ext cx="10778412" cy="829194"/>
          </a:xfrm>
          <a:prstGeom prst="rect">
            <a:avLst/>
          </a:prstGeom>
        </p:spPr>
        <p:txBody>
          <a:bodyPr/>
          <a:lstStyle/>
          <a:p>
            <a:pPr defTabSz="640080">
              <a:defRPr sz="2520" b="1">
                <a:solidFill>
                  <a:schemeClr val="accent2"/>
                </a:solidFill>
                <a:latin typeface="+mn-lt"/>
                <a:ea typeface="+mn-lt"/>
                <a:cs typeface="+mn-lt"/>
                <a:sym typeface="+mn-lt"/>
              </a:defRPr>
            </a:pPr>
            <a:r>
              <a:rPr lang="en-US" altLang="zh-CN" sz="3200" kern="0" spc="400" dirty="0">
                <a:solidFill>
                  <a:srgbClr val="002060"/>
                </a:solidFill>
                <a:latin typeface="Arial" panose="020B0604020202020204" pitchFamily="34" charset="0"/>
                <a:ea typeface="微软雅黑" panose="020B0503020204020204" pitchFamily="34" charset="-122"/>
                <a:cs typeface="Arial" panose="020B0604020202020204" pitchFamily="34" charset="0"/>
              </a:rPr>
              <a:t>Student Housing</a:t>
            </a:r>
          </a:p>
        </p:txBody>
      </p:sp>
      <p:grpSp>
        <p:nvGrpSpPr>
          <p:cNvPr id="1478" name="组合 10"/>
          <p:cNvGrpSpPr/>
          <p:nvPr/>
        </p:nvGrpSpPr>
        <p:grpSpPr>
          <a:xfrm>
            <a:off x="163831" y="1431437"/>
            <a:ext cx="10683240" cy="5149178"/>
            <a:chOff x="0" y="0"/>
            <a:chExt cx="10683239" cy="5149176"/>
          </a:xfrm>
        </p:grpSpPr>
        <p:pic>
          <p:nvPicPr>
            <p:cNvPr id="1474" name="图片 9" descr="图片 9"/>
            <p:cNvPicPr>
              <a:picLocks noChangeAspect="1"/>
            </p:cNvPicPr>
            <p:nvPr/>
          </p:nvPicPr>
          <p:blipFill>
            <a:blip r:embed="rId2"/>
            <a:stretch>
              <a:fillRect/>
            </a:stretch>
          </p:blipFill>
          <p:spPr>
            <a:xfrm>
              <a:off x="5623559" y="1864172"/>
              <a:ext cx="5059681" cy="3285004"/>
            </a:xfrm>
            <a:prstGeom prst="rect">
              <a:avLst/>
            </a:prstGeom>
            <a:ln w="12700" cap="flat">
              <a:noFill/>
              <a:miter lim="400000"/>
              <a:headEnd/>
              <a:tailEnd/>
            </a:ln>
            <a:effectLst/>
          </p:spPr>
        </p:pic>
        <p:grpSp>
          <p:nvGrpSpPr>
            <p:cNvPr id="1477" name="组合 4"/>
            <p:cNvGrpSpPr/>
            <p:nvPr/>
          </p:nvGrpSpPr>
          <p:grpSpPr>
            <a:xfrm>
              <a:off x="0" y="-1"/>
              <a:ext cx="5115560" cy="5149178"/>
              <a:chOff x="0" y="0"/>
              <a:chExt cx="5115559" cy="5149176"/>
            </a:xfrm>
          </p:grpSpPr>
          <p:pic>
            <p:nvPicPr>
              <p:cNvPr id="1475" name="Picture 3" descr="Picture 3"/>
              <p:cNvPicPr>
                <a:picLocks noChangeAspect="1"/>
              </p:cNvPicPr>
              <p:nvPr/>
            </p:nvPicPr>
            <p:blipFill>
              <a:blip r:embed="rId3"/>
              <a:srcRect l="7536"/>
              <a:stretch>
                <a:fillRect/>
              </a:stretch>
            </p:blipFill>
            <p:spPr>
              <a:xfrm>
                <a:off x="0" y="-1"/>
                <a:ext cx="3708401" cy="265469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4837"/>
                      <a:pt x="0" y="10802"/>
                    </a:cubicBezTo>
                    <a:cubicBezTo>
                      <a:pt x="0" y="16766"/>
                      <a:pt x="4835" y="21600"/>
                      <a:pt x="10800" y="21600"/>
                    </a:cubicBezTo>
                    <a:cubicBezTo>
                      <a:pt x="16765" y="21600"/>
                      <a:pt x="21600" y="16766"/>
                      <a:pt x="21600" y="10802"/>
                    </a:cubicBezTo>
                    <a:cubicBezTo>
                      <a:pt x="21600" y="4837"/>
                      <a:pt x="16765" y="0"/>
                      <a:pt x="10800" y="0"/>
                    </a:cubicBezTo>
                    <a:close/>
                  </a:path>
                </a:pathLst>
              </a:custGeom>
              <a:ln w="12700" cap="flat">
                <a:noFill/>
                <a:miter lim="400000"/>
                <a:headEnd/>
                <a:tailEnd/>
              </a:ln>
              <a:effectLst/>
            </p:spPr>
          </p:pic>
          <p:pic>
            <p:nvPicPr>
              <p:cNvPr id="1476" name="Picture 5" descr="Picture 5"/>
              <p:cNvPicPr>
                <a:picLocks noChangeAspect="1"/>
              </p:cNvPicPr>
              <p:nvPr/>
            </p:nvPicPr>
            <p:blipFill>
              <a:blip r:embed="rId4"/>
              <a:srcRect l="22640"/>
              <a:stretch>
                <a:fillRect/>
              </a:stretch>
            </p:blipFill>
            <p:spPr>
              <a:xfrm>
                <a:off x="1407159" y="2006748"/>
                <a:ext cx="3708401" cy="314242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close/>
                  </a:path>
                </a:pathLst>
              </a:custGeom>
              <a:ln w="12700" cap="flat">
                <a:noFill/>
                <a:miter lim="400000"/>
                <a:headEnd/>
                <a:tailEnd/>
              </a:ln>
              <a:effectLst/>
            </p:spPr>
          </p:pic>
        </p:grpSp>
      </p:grpSp>
      <p:pic>
        <p:nvPicPr>
          <p:cNvPr id="9" name="图片 8" descr="微信图片_20181122172554.jpg"/>
          <p:cNvPicPr>
            <a:picLocks noChangeAspect="1"/>
          </p:cNvPicPr>
          <p:nvPr/>
        </p:nvPicPr>
        <p:blipFill>
          <a:blip r:embed="rId5"/>
          <a:stretch>
            <a:fillRect/>
          </a:stretch>
        </p:blipFill>
        <p:spPr>
          <a:xfrm>
            <a:off x="4524364" y="500042"/>
            <a:ext cx="6643734" cy="2786062"/>
          </a:xfrm>
          <a:prstGeom prst="rect">
            <a:avLst/>
          </a:prstGeom>
        </p:spPr>
      </p:pic>
      <p:sp>
        <p:nvSpPr>
          <p:cNvPr id="3" name="等腰三角形 2"/>
          <p:cNvSpPr/>
          <p:nvPr/>
        </p:nvSpPr>
        <p:spPr>
          <a:xfrm rot="5400000">
            <a:off x="-174172" y="174171"/>
            <a:ext cx="841829" cy="493486"/>
          </a:xfrm>
          <a:prstGeom prst="triangle">
            <a:avLst/>
          </a:prstGeom>
          <a:gradFill>
            <a:gsLst>
              <a:gs pos="0">
                <a:srgbClr val="007BD3"/>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3028465201"/>
      </p:ext>
    </p:extLst>
  </p:cSld>
  <p:clrMapOvr>
    <a:masterClrMapping/>
  </p:clrMapOvr>
  <p:transition spd="slow">
    <p:dissolv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5"/>
          <p:cNvSpPr txBox="1"/>
          <p:nvPr/>
        </p:nvSpPr>
        <p:spPr>
          <a:xfrm>
            <a:off x="493219" y="129460"/>
            <a:ext cx="8746362" cy="583565"/>
          </a:xfrm>
          <a:prstGeom prst="rect">
            <a:avLst/>
          </a:prstGeom>
          <a:noFill/>
        </p:spPr>
        <p:txBody>
          <a:bodyPr wrap="square" rtlCol="0">
            <a:spAutoFit/>
          </a:bodyPr>
          <a:lstStyle/>
          <a:p>
            <a:pPr lvl="0">
              <a:defRPr/>
            </a:pPr>
            <a:r>
              <a:rPr lang="en-US" altLang="zh-CN" sz="3200" b="1" kern="0" spc="400" dirty="0">
                <a:solidFill>
                  <a:srgbClr val="002060"/>
                </a:solidFill>
                <a:latin typeface="Arial" panose="020B0604020202020204" pitchFamily="34" charset="0"/>
                <a:ea typeface="微软雅黑" panose="020B0503020204020204" pitchFamily="34" charset="-122"/>
                <a:cs typeface="Arial" panose="020B0604020202020204" pitchFamily="34" charset="0"/>
              </a:rPr>
              <a:t>LIBRARY</a:t>
            </a:r>
          </a:p>
        </p:txBody>
      </p:sp>
      <p:pic>
        <p:nvPicPr>
          <p:cNvPr id="22" name="图片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7443" y="1346678"/>
            <a:ext cx="4276057" cy="2364086"/>
          </a:xfrm>
          <a:prstGeom prst="rect">
            <a:avLst/>
          </a:prstGeom>
          <a:effectLst>
            <a:outerShdw blurRad="63500" sx="102000" sy="102000" algn="ctr" rotWithShape="0">
              <a:prstClr val="black">
                <a:alpha val="40000"/>
              </a:prstClr>
            </a:outerShdw>
          </a:effectLst>
        </p:spPr>
      </p:pic>
      <p:pic>
        <p:nvPicPr>
          <p:cNvPr id="26" name="图片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20521" y="1346678"/>
            <a:ext cx="4029346" cy="2364087"/>
          </a:xfrm>
          <a:prstGeom prst="rect">
            <a:avLst/>
          </a:prstGeom>
          <a:effectLst>
            <a:outerShdw blurRad="63500" sx="102000" sy="102000" algn="ctr" rotWithShape="0">
              <a:prstClr val="black">
                <a:alpha val="40000"/>
              </a:prstClr>
            </a:outerShdw>
          </a:effectLst>
        </p:spPr>
      </p:pic>
      <p:sp>
        <p:nvSpPr>
          <p:cNvPr id="28" name="KSO_Img9"/>
          <p:cNvSpPr/>
          <p:nvPr/>
        </p:nvSpPr>
        <p:spPr>
          <a:xfrm>
            <a:off x="6520521" y="3924473"/>
            <a:ext cx="4029346" cy="2569797"/>
          </a:xfrm>
          <a:prstGeom prst="rect">
            <a:avLst/>
          </a:prstGeom>
          <a:blipFill rotWithShape="1">
            <a:blip r:embed="rId5"/>
            <a:srcRect/>
            <a:stretch>
              <a:fillRect/>
            </a:stretch>
          </a:blip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cxnSp>
        <p:nvCxnSpPr>
          <p:cNvPr id="29" name="直接连接符 32"/>
          <p:cNvCxnSpPr/>
          <p:nvPr/>
        </p:nvCxnSpPr>
        <p:spPr>
          <a:xfrm flipV="1">
            <a:off x="6157010" y="1269975"/>
            <a:ext cx="0" cy="5235151"/>
          </a:xfrm>
          <a:prstGeom prst="line">
            <a:avLst/>
          </a:prstGeom>
          <a:ln w="15875" cmpd="sng">
            <a:prstDash val="sysDash"/>
          </a:ln>
        </p:spPr>
        <p:style>
          <a:lnRef idx="1">
            <a:schemeClr val="accent1"/>
          </a:lnRef>
          <a:fillRef idx="0">
            <a:schemeClr val="accent1"/>
          </a:fillRef>
          <a:effectRef idx="0">
            <a:schemeClr val="accent1"/>
          </a:effectRef>
          <a:fontRef idx="minor">
            <a:schemeClr val="tx1"/>
          </a:fontRef>
        </p:style>
      </p:cxnSp>
      <p:pic>
        <p:nvPicPr>
          <p:cNvPr id="2" name="图片 1"/>
          <p:cNvPicPr>
            <a:picLocks noChangeAspect="1"/>
          </p:cNvPicPr>
          <p:nvPr/>
        </p:nvPicPr>
        <p:blipFill>
          <a:blip r:embed="rId6"/>
          <a:stretch>
            <a:fillRect/>
          </a:stretch>
        </p:blipFill>
        <p:spPr>
          <a:xfrm>
            <a:off x="1497451" y="3924472"/>
            <a:ext cx="4289092" cy="2580653"/>
          </a:xfrm>
          <a:prstGeom prst="rect">
            <a:avLst/>
          </a:prstGeom>
          <a:effectLst>
            <a:outerShdw blurRad="63500" sx="102000" sy="102000" algn="ctr" rotWithShape="0">
              <a:prstClr val="black">
                <a:alpha val="40000"/>
              </a:prstClr>
            </a:outerShdw>
          </a:effectLst>
        </p:spPr>
      </p:pic>
      <p:sp>
        <p:nvSpPr>
          <p:cNvPr id="3" name="等腰三角形 2"/>
          <p:cNvSpPr/>
          <p:nvPr/>
        </p:nvSpPr>
        <p:spPr>
          <a:xfrm rot="5400000">
            <a:off x="-174172" y="174171"/>
            <a:ext cx="841829" cy="493486"/>
          </a:xfrm>
          <a:prstGeom prst="triangle">
            <a:avLst/>
          </a:prstGeom>
          <a:gradFill>
            <a:gsLst>
              <a:gs pos="0">
                <a:srgbClr val="007BD3"/>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Tree>
    <p:extLst>
      <p:ext uri="{BB962C8B-B14F-4D97-AF65-F5344CB8AC3E}">
        <p14:creationId xmlns:p14="http://schemas.microsoft.com/office/powerpoint/2010/main" val="396246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1" name="TextBox 9"/>
          <p:cNvSpPr txBox="1"/>
          <p:nvPr/>
        </p:nvSpPr>
        <p:spPr>
          <a:xfrm>
            <a:off x="3472585" y="234648"/>
            <a:ext cx="6469437" cy="980143"/>
          </a:xfrm>
          <a:prstGeom prst="rect">
            <a:avLst/>
          </a:prstGeom>
          <a:ln w="12700">
            <a:miter lim="400000"/>
          </a:ln>
        </p:spPr>
        <p:txBody>
          <a:bodyPr wrap="square" lIns="58612" tIns="58612" rIns="58612" bIns="58612">
            <a:spAutoFit/>
          </a:bodyPr>
          <a:lstStyle/>
          <a:p>
            <a:pPr algn="just">
              <a:defRPr sz="3600" b="1">
                <a:solidFill>
                  <a:schemeClr val="accent2"/>
                </a:solidFill>
              </a:defRPr>
            </a:pPr>
            <a:r>
              <a:rPr lang="en-US" altLang="zh-CN" sz="2800" kern="0" spc="400" dirty="0" smtClean="0">
                <a:solidFill>
                  <a:srgbClr val="002060"/>
                </a:solidFill>
                <a:latin typeface="Arial" panose="020B0604020202020204" pitchFamily="34" charset="0"/>
                <a:ea typeface="微软雅黑" panose="020B0503020204020204" pitchFamily="34" charset="-122"/>
                <a:cs typeface="Arial" panose="020B0604020202020204" pitchFamily="34" charset="0"/>
              </a:rPr>
              <a:t>Shanghai University Vietnam Alumni Association</a:t>
            </a:r>
            <a:endParaRPr sz="1800" dirty="0">
              <a:solidFill>
                <a:srgbClr val="262626"/>
              </a:solidFill>
            </a:endParaRPr>
          </a:p>
        </p:txBody>
      </p:sp>
      <p:pic>
        <p:nvPicPr>
          <p:cNvPr id="51204" name="Picture 4" descr="https://alumni.shu.edu.cn/Portals/544/3(1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7575" y="3258589"/>
            <a:ext cx="5715000" cy="3599411"/>
          </a:xfrm>
          <a:prstGeom prst="rect">
            <a:avLst/>
          </a:prstGeom>
          <a:noFill/>
          <a:extLst>
            <a:ext uri="{909E8E84-426E-40DD-AFC4-6F175D3DCCD1}">
              <a14:hiddenFill xmlns:a14="http://schemas.microsoft.com/office/drawing/2010/main">
                <a:solidFill>
                  <a:srgbClr val="FFFFFF"/>
                </a:solidFill>
              </a14:hiddenFill>
            </a:ext>
          </a:extLst>
        </p:spPr>
      </p:pic>
      <p:pic>
        <p:nvPicPr>
          <p:cNvPr id="51202" name="Picture 2" descr="https://alumni.shu.edu.cn/Portals/544/1(2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574" y="1214791"/>
            <a:ext cx="6159789" cy="38892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11425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00">
        <p15:prstTrans prst="pageCurlDouble"/>
      </p:transition>
    </mc:Choice>
    <mc:Fallback xmlns="">
      <p:transition spd="slow">
        <p:fade/>
      </p:transition>
    </mc:Fallback>
  </mc:AlternateContent>
  <p:timing>
    <p:tnLst>
      <p:par>
        <p:cTn id="1" dur="indefinite" restart="never" fill="hold" nodeType="tmRoot"/>
      </p:par>
    </p:tnLst>
    <p:bldLst>
      <p:bldP spid="1481" grpId="0" animBg="1" advAuto="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1" name="TextBox 9"/>
          <p:cNvSpPr txBox="1"/>
          <p:nvPr/>
        </p:nvSpPr>
        <p:spPr>
          <a:xfrm>
            <a:off x="3140075" y="458470"/>
            <a:ext cx="7982585" cy="608965"/>
          </a:xfrm>
          <a:prstGeom prst="rect">
            <a:avLst/>
          </a:prstGeom>
          <a:ln w="12700">
            <a:miter lim="400000"/>
          </a:ln>
        </p:spPr>
        <p:txBody>
          <a:bodyPr wrap="square" lIns="58612" tIns="58612" rIns="58612" bIns="58612">
            <a:spAutoFit/>
          </a:bodyPr>
          <a:lstStyle/>
          <a:p>
            <a:pPr>
              <a:defRPr sz="3600" b="1">
                <a:solidFill>
                  <a:schemeClr val="accent2"/>
                </a:solidFill>
              </a:defRPr>
            </a:pPr>
            <a:r>
              <a:rPr lang="en-US" altLang="zh-CN" sz="2800" kern="0" spc="400" dirty="0">
                <a:solidFill>
                  <a:srgbClr val="002060"/>
                </a:solidFill>
                <a:latin typeface="Arial" panose="020B0604020202020204" pitchFamily="34" charset="0"/>
                <a:ea typeface="微软雅黑" panose="020B0503020204020204" pitchFamily="34" charset="-122"/>
                <a:cs typeface="Arial" panose="020B0604020202020204" pitchFamily="34" charset="0"/>
              </a:rPr>
              <a:t>International</a:t>
            </a:r>
            <a:r>
              <a:rPr lang="en-US" altLang="zh-CN" sz="2800" kern="0" spc="400" dirty="0">
                <a:solidFill>
                  <a:srgbClr val="002060"/>
                </a:solidFill>
                <a:latin typeface="Arial" panose="020B0604020202020204" pitchFamily="34" charset="0"/>
                <a:ea typeface="微软雅黑" panose="020B0503020204020204" pitchFamily="34" charset="-122"/>
                <a:cs typeface="Arial" panose="020B0604020202020204" pitchFamily="34" charset="0"/>
                <a:sym typeface="华文细黑" panose="02010600040101010101" charset="-122"/>
              </a:rPr>
              <a:t> </a:t>
            </a:r>
            <a:r>
              <a:rPr lang="en-US" altLang="zh-CN" sz="2800" kern="0" spc="400" dirty="0">
                <a:solidFill>
                  <a:srgbClr val="002060"/>
                </a:solidFill>
                <a:latin typeface="Arial" panose="020B0604020202020204" pitchFamily="34" charset="0"/>
                <a:ea typeface="微软雅黑" panose="020B0503020204020204" pitchFamily="34" charset="-122"/>
                <a:cs typeface="Arial" panose="020B0604020202020204" pitchFamily="34" charset="0"/>
              </a:rPr>
              <a:t>Students</a:t>
            </a:r>
            <a:r>
              <a:rPr lang="en-US" altLang="zh-CN" sz="2800" kern="0" spc="400" dirty="0">
                <a:solidFill>
                  <a:srgbClr val="002060"/>
                </a:solidFill>
                <a:latin typeface="Arial" panose="020B0604020202020204" pitchFamily="34" charset="0"/>
                <a:ea typeface="微软雅黑" panose="020B0503020204020204" pitchFamily="34" charset="-122"/>
                <a:cs typeface="Arial" panose="020B0604020202020204" pitchFamily="34" charset="0"/>
                <a:sym typeface="华文细黑" panose="02010600040101010101" charset="-122"/>
              </a:rPr>
              <a:t> </a:t>
            </a:r>
            <a:r>
              <a:rPr lang="en-US" altLang="zh-CN" sz="2800" kern="0" spc="400" dirty="0">
                <a:solidFill>
                  <a:srgbClr val="002060"/>
                </a:solidFill>
                <a:latin typeface="Arial" panose="020B0604020202020204" pitchFamily="34" charset="0"/>
                <a:ea typeface="微软雅黑" panose="020B0503020204020204" pitchFamily="34" charset="-122"/>
                <a:cs typeface="Arial" panose="020B0604020202020204" pitchFamily="34" charset="0"/>
              </a:rPr>
              <a:t>Ambassador</a:t>
            </a:r>
            <a:r>
              <a:rPr lang="en-US" altLang="zh-CN" sz="3200" kern="0" spc="400" dirty="0">
                <a:solidFill>
                  <a:srgbClr val="002060"/>
                </a:solidFill>
                <a:latin typeface="微软雅黑" panose="020B0503020204020204" pitchFamily="34" charset="-122"/>
                <a:ea typeface="微软雅黑" panose="020B0503020204020204" pitchFamily="34" charset="-122"/>
              </a:rPr>
              <a:t> </a:t>
            </a:r>
            <a:endParaRPr sz="1800">
              <a:solidFill>
                <a:srgbClr val="262626"/>
              </a:solidFill>
            </a:endParaRPr>
          </a:p>
        </p:txBody>
      </p:sp>
      <p:pic>
        <p:nvPicPr>
          <p:cNvPr id="1483" name="图片 4" descr="图片 4"/>
          <p:cNvPicPr>
            <a:picLocks noChangeAspect="1"/>
          </p:cNvPicPr>
          <p:nvPr/>
        </p:nvPicPr>
        <p:blipFill>
          <a:blip r:embed="rId2"/>
          <a:stretch>
            <a:fillRect/>
          </a:stretch>
        </p:blipFill>
        <p:spPr>
          <a:xfrm>
            <a:off x="156047" y="1131138"/>
            <a:ext cx="8377286" cy="3384910"/>
          </a:xfrm>
          <a:prstGeom prst="rect">
            <a:avLst/>
          </a:prstGeom>
          <a:ln w="12700">
            <a:miter lim="400000"/>
            <a:headEnd/>
            <a:tailEnd/>
          </a:ln>
        </p:spPr>
      </p:pic>
      <p:pic>
        <p:nvPicPr>
          <p:cNvPr id="1485" name="图片 6" descr="图片 6"/>
          <p:cNvPicPr>
            <a:picLocks noChangeAspect="1"/>
          </p:cNvPicPr>
          <p:nvPr/>
        </p:nvPicPr>
        <p:blipFill>
          <a:blip r:embed="rId3"/>
          <a:stretch>
            <a:fillRect/>
          </a:stretch>
        </p:blipFill>
        <p:spPr>
          <a:xfrm>
            <a:off x="5379720" y="3187700"/>
            <a:ext cx="6795260" cy="3674182"/>
          </a:xfrm>
          <a:prstGeom prst="rect">
            <a:avLst/>
          </a:prstGeom>
          <a:ln>
            <a:solidFill>
              <a:srgbClr val="DEEBF7"/>
            </a:solidFill>
          </a:ln>
        </p:spPr>
      </p:pic>
      <p:sp>
        <p:nvSpPr>
          <p:cNvPr id="1484" name="TextBox 9"/>
          <p:cNvSpPr txBox="1"/>
          <p:nvPr/>
        </p:nvSpPr>
        <p:spPr>
          <a:xfrm>
            <a:off x="156210" y="5279390"/>
            <a:ext cx="5593080" cy="978535"/>
          </a:xfrm>
          <a:prstGeom prst="rect">
            <a:avLst/>
          </a:prstGeom>
          <a:ln w="12700">
            <a:miter lim="400000"/>
          </a:ln>
        </p:spPr>
        <p:txBody>
          <a:bodyPr wrap="square" lIns="58612" tIns="58612" rIns="58612" bIns="58612">
            <a:spAutoFit/>
          </a:bodyPr>
          <a:lstStyle/>
          <a:p>
            <a:pPr>
              <a:defRPr sz="3600" b="1">
                <a:solidFill>
                  <a:schemeClr val="accent2"/>
                </a:solidFill>
              </a:defRPr>
            </a:pPr>
            <a:r>
              <a:rPr lang="en-US" altLang="zh-CN" sz="2800" kern="0" spc="400" dirty="0">
                <a:solidFill>
                  <a:srgbClr val="002060"/>
                </a:solidFill>
                <a:latin typeface="Arial" panose="020B0604020202020204" pitchFamily="34" charset="0"/>
                <a:ea typeface="微软雅黑" panose="020B0503020204020204" pitchFamily="34" charset="-122"/>
                <a:cs typeface="Arial" panose="020B0604020202020204" pitchFamily="34" charset="0"/>
              </a:rPr>
              <a:t>International</a:t>
            </a:r>
            <a:r>
              <a:rPr lang="en-US" altLang="zh-CN" sz="2800" kern="0" spc="400" dirty="0">
                <a:solidFill>
                  <a:srgbClr val="002060"/>
                </a:solidFill>
                <a:latin typeface="Arial" panose="020B0604020202020204" pitchFamily="34" charset="0"/>
                <a:ea typeface="微软雅黑" panose="020B0503020204020204" pitchFamily="34" charset="-122"/>
                <a:cs typeface="Arial" panose="020B0604020202020204" pitchFamily="34" charset="0"/>
                <a:sym typeface="华文细黑" panose="02010600040101010101" charset="-122"/>
              </a:rPr>
              <a:t> </a:t>
            </a:r>
            <a:r>
              <a:rPr lang="en-US" altLang="zh-CN" sz="2800" kern="0" spc="400" dirty="0">
                <a:solidFill>
                  <a:srgbClr val="002060"/>
                </a:solidFill>
                <a:latin typeface="Arial" panose="020B0604020202020204" pitchFamily="34" charset="0"/>
                <a:ea typeface="微软雅黑" panose="020B0503020204020204" pitchFamily="34" charset="-122"/>
                <a:cs typeface="Arial" panose="020B0604020202020204" pitchFamily="34" charset="0"/>
              </a:rPr>
              <a:t>Students</a:t>
            </a:r>
            <a:r>
              <a:rPr lang="en-US" altLang="zh-CN" sz="2800" kern="0" spc="400" dirty="0">
                <a:solidFill>
                  <a:srgbClr val="002060"/>
                </a:solidFill>
                <a:latin typeface="Arial" panose="020B0604020202020204" pitchFamily="34" charset="0"/>
                <a:ea typeface="微软雅黑" panose="020B0503020204020204" pitchFamily="34" charset="-122"/>
                <a:cs typeface="Arial" panose="020B0604020202020204" pitchFamily="34" charset="0"/>
                <a:sym typeface="华文细黑" panose="02010600040101010101" charset="-122"/>
              </a:rPr>
              <a:t> </a:t>
            </a:r>
            <a:r>
              <a:rPr lang="en-US" altLang="zh-CN" sz="2800" kern="0" spc="400" dirty="0">
                <a:solidFill>
                  <a:srgbClr val="002060"/>
                </a:solidFill>
                <a:latin typeface="Arial" panose="020B0604020202020204" pitchFamily="34" charset="0"/>
                <a:ea typeface="微软雅黑" panose="020B0503020204020204" pitchFamily="34" charset="-122"/>
                <a:cs typeface="Arial" panose="020B0604020202020204" pitchFamily="34" charset="0"/>
              </a:rPr>
              <a:t>Unions </a:t>
            </a:r>
            <a:endParaRPr sz="2800" dirty="0">
              <a:solidFill>
                <a:srgbClr val="26262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3420974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00">
        <p15:prstTrans prst="pageCurlDouble"/>
      </p:transition>
    </mc:Choice>
    <mc:Fallback xmlns="">
      <p:transition spd="slow">
        <p:fade/>
      </p:transition>
    </mc:Fallback>
  </mc:AlternateContent>
  <p:timing>
    <p:tnLst>
      <p:par>
        <p:cTn id="1" dur="indefinite" restart="never" fill="hold" nodeType="tmRoot"/>
      </p:par>
    </p:tnLst>
    <p:bldLst>
      <p:bldP spid="1481" grpId="0" animBg="1" advAuto="0"/>
      <p:bldP spid="1483" grpId="0" bldLvl="0" animBg="1" advAuto="0"/>
      <p:bldP spid="1485" grpId="0" bldLvl="0" animBg="1" advAuto="0"/>
      <p:bldP spid="1484" grpId="0" animBg="1" advAuto="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87" name="Picture 2" descr="Picture 2"/>
          <p:cNvPicPr>
            <a:picLocks noChangeAspect="1"/>
          </p:cNvPicPr>
          <p:nvPr/>
        </p:nvPicPr>
        <p:blipFill>
          <a:blip r:embed="rId2"/>
          <a:stretch>
            <a:fillRect/>
          </a:stretch>
        </p:blipFill>
        <p:spPr>
          <a:xfrm>
            <a:off x="191022" y="1106545"/>
            <a:ext cx="3874684" cy="3487214"/>
          </a:xfrm>
          <a:custGeom>
            <a:avLst/>
            <a:gdLst/>
            <a:ahLst/>
            <a:cxnLst>
              <a:cxn ang="0">
                <a:pos x="wd2" y="hd2"/>
              </a:cxn>
              <a:cxn ang="5400000">
                <a:pos x="wd2" y="hd2"/>
              </a:cxn>
              <a:cxn ang="10800000">
                <a:pos x="wd2" y="hd2"/>
              </a:cxn>
              <a:cxn ang="16200000">
                <a:pos x="wd2" y="hd2"/>
              </a:cxn>
            </a:cxnLst>
            <a:rect l="0" t="0" r="r" b="b"/>
            <a:pathLst>
              <a:path w="21600" h="21600" extrusionOk="0">
                <a:moveTo>
                  <a:pt x="10799" y="0"/>
                </a:moveTo>
                <a:cubicBezTo>
                  <a:pt x="4834" y="0"/>
                  <a:pt x="0" y="4834"/>
                  <a:pt x="0" y="10799"/>
                </a:cubicBezTo>
                <a:cubicBezTo>
                  <a:pt x="0" y="16763"/>
                  <a:pt x="4834" y="21600"/>
                  <a:pt x="10799" y="21600"/>
                </a:cubicBezTo>
                <a:cubicBezTo>
                  <a:pt x="16764" y="21600"/>
                  <a:pt x="21600" y="16763"/>
                  <a:pt x="21600" y="10799"/>
                </a:cubicBezTo>
                <a:cubicBezTo>
                  <a:pt x="21600" y="4834"/>
                  <a:pt x="16764" y="0"/>
                  <a:pt x="10799" y="0"/>
                </a:cubicBezTo>
                <a:close/>
              </a:path>
            </a:pathLst>
          </a:custGeom>
          <a:ln w="12700">
            <a:miter lim="400000"/>
            <a:headEnd/>
            <a:tailEnd/>
          </a:ln>
        </p:spPr>
      </p:pic>
      <p:sp>
        <p:nvSpPr>
          <p:cNvPr id="1488" name="矩形 12"/>
          <p:cNvSpPr txBox="1"/>
          <p:nvPr/>
        </p:nvSpPr>
        <p:spPr>
          <a:xfrm>
            <a:off x="391969" y="468832"/>
            <a:ext cx="5517765" cy="670560"/>
          </a:xfrm>
          <a:prstGeom prst="rect">
            <a:avLst/>
          </a:prstGeom>
          <a:ln w="12700">
            <a:miter lim="400000"/>
          </a:ln>
        </p:spPr>
        <p:txBody>
          <a:bodyPr lIns="58612" tIns="58612" rIns="58612" bIns="58612" anchor="ctr">
            <a:spAutoFit/>
          </a:bodyPr>
          <a:lstStyle/>
          <a:p>
            <a:pPr>
              <a:defRPr sz="3100" b="1"/>
            </a:pPr>
            <a:r>
              <a:rPr sz="1800"/>
              <a:t>   </a:t>
            </a:r>
            <a:r>
              <a:rPr sz="3600">
                <a:solidFill>
                  <a:schemeClr val="accent2"/>
                </a:solidFill>
                <a:latin typeface="Arial" panose="020B0604020202020204" pitchFamily="34" charset="0"/>
                <a:cs typeface="Arial" panose="020B0604020202020204" pitchFamily="34" charset="0"/>
              </a:rPr>
              <a:t>U</a:t>
            </a:r>
            <a:r>
              <a:rPr sz="1800">
                <a:latin typeface="Arial" panose="020B0604020202020204" pitchFamily="34" charset="0"/>
                <a:cs typeface="Arial" panose="020B0604020202020204" pitchFamily="34" charset="0"/>
              </a:rPr>
              <a:t>NIVERSITY </a:t>
            </a:r>
            <a:r>
              <a:rPr sz="3600">
                <a:solidFill>
                  <a:schemeClr val="accent2"/>
                </a:solidFill>
                <a:latin typeface="Arial" panose="020B0604020202020204" pitchFamily="34" charset="0"/>
                <a:cs typeface="Arial" panose="020B0604020202020204" pitchFamily="34" charset="0"/>
              </a:rPr>
              <a:t>A</a:t>
            </a:r>
            <a:r>
              <a:rPr sz="1800">
                <a:latin typeface="Arial" panose="020B0604020202020204" pitchFamily="34" charset="0"/>
                <a:cs typeface="Arial" panose="020B0604020202020204" pitchFamily="34" charset="0"/>
              </a:rPr>
              <a:t>CTIVITIES</a:t>
            </a:r>
          </a:p>
        </p:txBody>
      </p:sp>
      <p:sp>
        <p:nvSpPr>
          <p:cNvPr id="1489" name="TextBox 2"/>
          <p:cNvSpPr txBox="1"/>
          <p:nvPr/>
        </p:nvSpPr>
        <p:spPr>
          <a:xfrm>
            <a:off x="7828538" y="599005"/>
            <a:ext cx="4529221" cy="1963420"/>
          </a:xfrm>
          <a:prstGeom prst="rect">
            <a:avLst/>
          </a:prstGeom>
          <a:ln w="12700">
            <a:miter lim="400000"/>
          </a:ln>
        </p:spPr>
        <p:txBody>
          <a:bodyPr lIns="58612" tIns="58612" rIns="58612" bIns="58612">
            <a:spAutoFit/>
          </a:bodyPr>
          <a:lstStyle/>
          <a:p>
            <a:pPr marL="366395" indent="-366395">
              <a:lnSpc>
                <a:spcPct val="150000"/>
              </a:lnSpc>
              <a:buClr>
                <a:srgbClr val="2E5495"/>
              </a:buClr>
              <a:buSzPct val="100000"/>
              <a:buFont typeface="Arial" panose="020B0604020202020204"/>
              <a:buChar char="•"/>
              <a:defRPr>
                <a:solidFill>
                  <a:srgbClr val="404040"/>
                </a:solidFill>
                <a:latin typeface="Arial" panose="020B0604020202020204"/>
                <a:ea typeface="Arial" panose="020B0604020202020204"/>
                <a:cs typeface="Arial" panose="020B0604020202020204"/>
                <a:sym typeface="Arial" panose="020B0604020202020204"/>
              </a:defRPr>
            </a:pPr>
            <a:r>
              <a:rPr sz="2000" b="1">
                <a:latin typeface="Arial" panose="020B0604020202020204" pitchFamily="34" charset="0"/>
                <a:ea typeface="微软雅黑" panose="020B0503020204020204" pitchFamily="34" charset="-122"/>
                <a:cs typeface="Arial" panose="020B0604020202020204" pitchFamily="34" charset="0"/>
              </a:rPr>
              <a:t>International Culture Festival</a:t>
            </a:r>
            <a:endParaRPr sz="2000" b="1">
              <a:solidFill>
                <a:srgbClr val="FFFFFF"/>
              </a:solidFill>
              <a:latin typeface="Arial" panose="020B0604020202020204" pitchFamily="34" charset="0"/>
              <a:ea typeface="微软雅黑" panose="020B0503020204020204" pitchFamily="34" charset="-122"/>
              <a:cs typeface="Arial" panose="020B0604020202020204" pitchFamily="34" charset="0"/>
            </a:endParaRPr>
          </a:p>
          <a:p>
            <a:pPr marL="366395" indent="-366395">
              <a:lnSpc>
                <a:spcPct val="150000"/>
              </a:lnSpc>
              <a:buClr>
                <a:srgbClr val="2E5495"/>
              </a:buClr>
              <a:buSzPct val="100000"/>
              <a:buFont typeface="Arial" panose="020B0604020202020204"/>
              <a:buChar char="•"/>
              <a:defRPr>
                <a:solidFill>
                  <a:srgbClr val="404040"/>
                </a:solidFill>
                <a:latin typeface="Arial" panose="020B0604020202020204"/>
                <a:ea typeface="Arial" panose="020B0604020202020204"/>
                <a:cs typeface="Arial" panose="020B0604020202020204"/>
                <a:sym typeface="Arial" panose="020B0604020202020204"/>
              </a:defRPr>
            </a:pPr>
            <a:r>
              <a:rPr sz="2000" b="1">
                <a:latin typeface="Arial" panose="020B0604020202020204" pitchFamily="34" charset="0"/>
                <a:ea typeface="微软雅黑" panose="020B0503020204020204" pitchFamily="34" charset="-122"/>
                <a:cs typeface="Arial" panose="020B0604020202020204" pitchFamily="34" charset="0"/>
              </a:rPr>
              <a:t>New Student Reception </a:t>
            </a:r>
          </a:p>
          <a:p>
            <a:pPr marL="366395" indent="-366395">
              <a:lnSpc>
                <a:spcPct val="150000"/>
              </a:lnSpc>
              <a:buClr>
                <a:srgbClr val="2E5495"/>
              </a:buClr>
              <a:buSzPct val="100000"/>
              <a:buFont typeface="Arial" panose="020B0604020202020204"/>
              <a:buChar char="•"/>
              <a:defRPr>
                <a:solidFill>
                  <a:srgbClr val="404040"/>
                </a:solidFill>
                <a:latin typeface="Arial" panose="020B0604020202020204"/>
                <a:ea typeface="Arial" panose="020B0604020202020204"/>
                <a:cs typeface="Arial" panose="020B0604020202020204"/>
                <a:sym typeface="Arial" panose="020B0604020202020204"/>
              </a:defRPr>
            </a:pPr>
            <a:r>
              <a:rPr sz="2000" b="1">
                <a:latin typeface="Arial" panose="020B0604020202020204" pitchFamily="34" charset="0"/>
                <a:ea typeface="微软雅黑" panose="020B0503020204020204" pitchFamily="34" charset="-122"/>
                <a:cs typeface="Arial" panose="020B0604020202020204" pitchFamily="34" charset="0"/>
              </a:rPr>
              <a:t>New Year's Eve Party</a:t>
            </a:r>
          </a:p>
          <a:p>
            <a:pPr marL="366395" indent="-366395">
              <a:lnSpc>
                <a:spcPct val="150000"/>
              </a:lnSpc>
              <a:buClr>
                <a:srgbClr val="2E5495"/>
              </a:buClr>
              <a:buSzPct val="100000"/>
              <a:buFont typeface="Arial" panose="020B0604020202020204"/>
              <a:buChar char="•"/>
              <a:defRPr>
                <a:solidFill>
                  <a:srgbClr val="404040"/>
                </a:solidFill>
                <a:latin typeface="Arial" panose="020B0604020202020204"/>
                <a:ea typeface="Arial" panose="020B0604020202020204"/>
                <a:cs typeface="Arial" panose="020B0604020202020204"/>
                <a:sym typeface="Arial" panose="020B0604020202020204"/>
              </a:defRPr>
            </a:pPr>
            <a:r>
              <a:rPr sz="2000" b="1">
                <a:latin typeface="Arial" panose="020B0604020202020204" pitchFamily="34" charset="0"/>
                <a:ea typeface="微软雅黑" panose="020B0503020204020204" pitchFamily="34" charset="-122"/>
                <a:cs typeface="Arial" panose="020B0604020202020204" pitchFamily="34" charset="0"/>
              </a:rPr>
              <a:t>Sports meeting</a:t>
            </a:r>
          </a:p>
        </p:txBody>
      </p:sp>
      <p:sp>
        <p:nvSpPr>
          <p:cNvPr id="1490" name="弧形 3"/>
          <p:cNvSpPr/>
          <p:nvPr/>
        </p:nvSpPr>
        <p:spPr>
          <a:xfrm rot="2161122">
            <a:off x="200563" y="1080506"/>
            <a:ext cx="3899081" cy="3428308"/>
          </a:xfrm>
          <a:custGeom>
            <a:avLst/>
            <a:gdLst/>
            <a:ahLst/>
            <a:cxnLst>
              <a:cxn ang="0">
                <a:pos x="wd2" y="hd2"/>
              </a:cxn>
              <a:cxn ang="5400000">
                <a:pos x="wd2" y="hd2"/>
              </a:cxn>
              <a:cxn ang="10800000">
                <a:pos x="wd2" y="hd2"/>
              </a:cxn>
              <a:cxn ang="16200000">
                <a:pos x="wd2" y="hd2"/>
              </a:cxn>
            </a:cxnLst>
            <a:rect l="0" t="0" r="r" b="b"/>
            <a:pathLst>
              <a:path w="20675" h="21127" extrusionOk="0">
                <a:moveTo>
                  <a:pt x="20635" y="9612"/>
                </a:moveTo>
                <a:lnTo>
                  <a:pt x="20635" y="9612"/>
                </a:lnTo>
                <a:cubicBezTo>
                  <a:pt x="21138" y="15433"/>
                  <a:pt x="16936" y="20570"/>
                  <a:pt x="11249" y="21085"/>
                </a:cubicBezTo>
                <a:cubicBezTo>
                  <a:pt x="5562" y="21600"/>
                  <a:pt x="544" y="17298"/>
                  <a:pt x="41" y="11477"/>
                </a:cubicBezTo>
                <a:cubicBezTo>
                  <a:pt x="-462" y="5655"/>
                  <a:pt x="3740" y="519"/>
                  <a:pt x="9427" y="4"/>
                </a:cubicBezTo>
                <a:cubicBezTo>
                  <a:pt x="9440" y="2"/>
                  <a:pt x="9454" y="1"/>
                  <a:pt x="9467" y="0"/>
                </a:cubicBezTo>
              </a:path>
            </a:pathLst>
          </a:custGeom>
          <a:ln w="57150">
            <a:solidFill>
              <a:schemeClr val="accent2"/>
            </a:solidFill>
          </a:ln>
        </p:spPr>
        <p:txBody>
          <a:bodyPr lIns="45719" rIns="45719" anchor="ctr"/>
          <a:lstStyle/>
          <a:p>
            <a:pPr algn="ctr">
              <a:defRPr>
                <a:solidFill>
                  <a:srgbClr val="FFFFFF"/>
                </a:solidFill>
              </a:defRPr>
            </a:pPr>
            <a:endParaRPr/>
          </a:p>
        </p:txBody>
      </p:sp>
      <p:pic>
        <p:nvPicPr>
          <p:cNvPr id="1492" name="图片 1" descr="图片 1"/>
          <p:cNvPicPr>
            <a:picLocks noChangeAspect="1"/>
          </p:cNvPicPr>
          <p:nvPr/>
        </p:nvPicPr>
        <p:blipFill>
          <a:blip r:embed="rId3"/>
          <a:stretch>
            <a:fillRect/>
          </a:stretch>
        </p:blipFill>
        <p:spPr>
          <a:xfrm rot="384395">
            <a:off x="8617714" y="3235998"/>
            <a:ext cx="2440330" cy="3518599"/>
          </a:xfrm>
          <a:custGeom>
            <a:avLst/>
            <a:gdLst/>
            <a:ahLst/>
            <a:cxnLst>
              <a:cxn ang="0">
                <a:pos x="wd2" y="hd2"/>
              </a:cxn>
              <a:cxn ang="5400000">
                <a:pos x="wd2" y="hd2"/>
              </a:cxn>
              <a:cxn ang="10800000">
                <a:pos x="wd2" y="hd2"/>
              </a:cxn>
              <a:cxn ang="16200000">
                <a:pos x="wd2" y="hd2"/>
              </a:cxn>
            </a:cxnLst>
            <a:rect l="0" t="0" r="r" b="b"/>
            <a:pathLst>
              <a:path w="21600" h="21600" extrusionOk="0">
                <a:moveTo>
                  <a:pt x="3601" y="0"/>
                </a:moveTo>
                <a:cubicBezTo>
                  <a:pt x="1612" y="0"/>
                  <a:pt x="0" y="1118"/>
                  <a:pt x="0" y="2497"/>
                </a:cubicBezTo>
                <a:lnTo>
                  <a:pt x="0" y="21600"/>
                </a:lnTo>
                <a:lnTo>
                  <a:pt x="17999" y="21600"/>
                </a:lnTo>
                <a:cubicBezTo>
                  <a:pt x="19988" y="21600"/>
                  <a:pt x="21600" y="20482"/>
                  <a:pt x="21600" y="19103"/>
                </a:cubicBezTo>
                <a:lnTo>
                  <a:pt x="21600" y="0"/>
                </a:lnTo>
                <a:lnTo>
                  <a:pt x="3601" y="0"/>
                </a:lnTo>
                <a:close/>
              </a:path>
            </a:pathLst>
          </a:custGeom>
          <a:ln w="12700">
            <a:miter lim="400000"/>
            <a:headEnd/>
            <a:tailEnd/>
          </a:ln>
          <a:effectLst>
            <a:outerShdw blurRad="76200" dist="38100" dir="7800000" rotWithShape="0">
              <a:srgbClr val="000000">
                <a:alpha val="40000"/>
              </a:srgbClr>
            </a:outerShdw>
          </a:effectLst>
        </p:spPr>
      </p:pic>
      <p:pic>
        <p:nvPicPr>
          <p:cNvPr id="1493" name="图片 2" descr="图片 2"/>
          <p:cNvPicPr>
            <a:picLocks noChangeAspect="1"/>
          </p:cNvPicPr>
          <p:nvPr/>
        </p:nvPicPr>
        <p:blipFill>
          <a:blip r:embed="rId4"/>
          <a:srcRect r="1" b="6"/>
          <a:stretch>
            <a:fillRect/>
          </a:stretch>
        </p:blipFill>
        <p:spPr>
          <a:xfrm>
            <a:off x="4738439" y="1771891"/>
            <a:ext cx="3286522" cy="2677716"/>
          </a:xfrm>
          <a:custGeom>
            <a:avLst/>
            <a:gdLst/>
            <a:ahLst/>
            <a:cxnLst>
              <a:cxn ang="0">
                <a:pos x="wd2" y="hd2"/>
              </a:cxn>
              <a:cxn ang="5400000">
                <a:pos x="wd2" y="hd2"/>
              </a:cxn>
              <a:cxn ang="10800000">
                <a:pos x="wd2" y="hd2"/>
              </a:cxn>
              <a:cxn ang="16200000">
                <a:pos x="wd2" y="hd2"/>
              </a:cxn>
            </a:cxnLst>
            <a:rect l="0" t="0" r="r" b="b"/>
            <a:pathLst>
              <a:path w="21600" h="21600" extrusionOk="0">
                <a:moveTo>
                  <a:pt x="10801" y="0"/>
                </a:moveTo>
                <a:cubicBezTo>
                  <a:pt x="4837" y="0"/>
                  <a:pt x="0" y="4837"/>
                  <a:pt x="0" y="10802"/>
                </a:cubicBezTo>
                <a:cubicBezTo>
                  <a:pt x="0" y="16767"/>
                  <a:pt x="4837" y="21600"/>
                  <a:pt x="10801" y="21600"/>
                </a:cubicBezTo>
                <a:cubicBezTo>
                  <a:pt x="16766" y="21600"/>
                  <a:pt x="21600" y="16767"/>
                  <a:pt x="21600" y="10802"/>
                </a:cubicBezTo>
                <a:cubicBezTo>
                  <a:pt x="21600" y="4837"/>
                  <a:pt x="16766" y="0"/>
                  <a:pt x="10801" y="0"/>
                </a:cubicBezTo>
                <a:close/>
              </a:path>
            </a:pathLst>
          </a:custGeom>
          <a:ln w="12700">
            <a:miter lim="400000"/>
            <a:headEnd/>
            <a:tailEnd/>
          </a:ln>
          <a:effectLst>
            <a:outerShdw blurRad="292100" dist="139700" dir="2700000" rotWithShape="0">
              <a:srgbClr val="333333">
                <a:alpha val="64999"/>
              </a:srgbClr>
            </a:outerShdw>
          </a:effectLst>
        </p:spPr>
      </p:pic>
      <p:sp>
        <p:nvSpPr>
          <p:cNvPr id="1494" name="弧形 18"/>
          <p:cNvSpPr/>
          <p:nvPr/>
        </p:nvSpPr>
        <p:spPr>
          <a:xfrm rot="2161122">
            <a:off x="6645812" y="2050451"/>
            <a:ext cx="1298540" cy="2931423"/>
          </a:xfrm>
          <a:custGeom>
            <a:avLst/>
            <a:gdLst/>
            <a:ahLst/>
            <a:cxnLst>
              <a:cxn ang="0">
                <a:pos x="wd2" y="hd2"/>
              </a:cxn>
              <a:cxn ang="5400000">
                <a:pos x="wd2" y="hd2"/>
              </a:cxn>
              <a:cxn ang="10800000">
                <a:pos x="wd2" y="hd2"/>
              </a:cxn>
              <a:cxn ang="16200000">
                <a:pos x="wd2" y="hd2"/>
              </a:cxn>
            </a:cxnLst>
            <a:rect l="0" t="0" r="r" b="b"/>
            <a:pathLst>
              <a:path w="20644" h="21041" extrusionOk="0">
                <a:moveTo>
                  <a:pt x="4517" y="0"/>
                </a:moveTo>
                <a:lnTo>
                  <a:pt x="4517" y="0"/>
                </a:lnTo>
                <a:cubicBezTo>
                  <a:pt x="14426" y="619"/>
                  <a:pt x="21600" y="5818"/>
                  <a:pt x="20541" y="11612"/>
                </a:cubicBezTo>
                <a:cubicBezTo>
                  <a:pt x="19481" y="17405"/>
                  <a:pt x="10590" y="21600"/>
                  <a:pt x="681" y="20981"/>
                </a:cubicBezTo>
                <a:cubicBezTo>
                  <a:pt x="453" y="20966"/>
                  <a:pt x="226" y="20950"/>
                  <a:pt x="0" y="20930"/>
                </a:cubicBezTo>
              </a:path>
            </a:pathLst>
          </a:custGeom>
          <a:ln w="57150">
            <a:solidFill>
              <a:schemeClr val="accent2"/>
            </a:solidFill>
          </a:ln>
        </p:spPr>
        <p:txBody>
          <a:bodyPr lIns="45719" rIns="45719" anchor="ctr"/>
          <a:lstStyle/>
          <a:p>
            <a:pPr algn="ctr">
              <a:defRPr>
                <a:solidFill>
                  <a:srgbClr val="FFFFFF"/>
                </a:solidFill>
              </a:defRPr>
            </a:pPr>
            <a:endParaRPr/>
          </a:p>
        </p:txBody>
      </p:sp>
      <p:pic>
        <p:nvPicPr>
          <p:cNvPr id="1495" name="图片 4" descr="图片 4"/>
          <p:cNvPicPr>
            <a:picLocks noChangeAspect="1"/>
          </p:cNvPicPr>
          <p:nvPr/>
        </p:nvPicPr>
        <p:blipFill>
          <a:blip r:embed="rId5"/>
          <a:srcRect r="5"/>
          <a:stretch>
            <a:fillRect/>
          </a:stretch>
        </p:blipFill>
        <p:spPr>
          <a:xfrm>
            <a:off x="3124560" y="4444979"/>
            <a:ext cx="2882901" cy="241300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close/>
              </a:path>
            </a:pathLst>
          </a:custGeom>
          <a:ln w="12700">
            <a:miter lim="400000"/>
            <a:headEnd/>
            <a:tailEnd/>
          </a:ln>
          <a:effectLst>
            <a:outerShdw blurRad="292100" dist="139700" dir="2700000" rotWithShape="0">
              <a:srgbClr val="333333">
                <a:alpha val="64999"/>
              </a:srgbClr>
            </a:outerShdw>
          </a:effectLst>
        </p:spPr>
      </p:pic>
      <p:sp>
        <p:nvSpPr>
          <p:cNvPr id="1496" name="弧形 20"/>
          <p:cNvSpPr/>
          <p:nvPr/>
        </p:nvSpPr>
        <p:spPr>
          <a:xfrm rot="19309885">
            <a:off x="4826570" y="3831639"/>
            <a:ext cx="1026162" cy="2626634"/>
          </a:xfrm>
          <a:custGeom>
            <a:avLst/>
            <a:gdLst/>
            <a:ahLst/>
            <a:cxnLst>
              <a:cxn ang="0">
                <a:pos x="wd2" y="hd2"/>
              </a:cxn>
              <a:cxn ang="5400000">
                <a:pos x="wd2" y="hd2"/>
              </a:cxn>
              <a:cxn ang="10800000">
                <a:pos x="wd2" y="hd2"/>
              </a:cxn>
              <a:cxn ang="16200000">
                <a:pos x="wd2" y="hd2"/>
              </a:cxn>
            </a:cxnLst>
            <a:rect l="0" t="0" r="r" b="b"/>
            <a:pathLst>
              <a:path w="20811" h="21096" extrusionOk="0">
                <a:moveTo>
                  <a:pt x="1399" y="41"/>
                </a:moveTo>
                <a:lnTo>
                  <a:pt x="1399" y="41"/>
                </a:lnTo>
                <a:cubicBezTo>
                  <a:pt x="11224" y="-466"/>
                  <a:pt x="19884" y="3828"/>
                  <a:pt x="20742" y="9631"/>
                </a:cubicBezTo>
                <a:cubicBezTo>
                  <a:pt x="21600" y="15434"/>
                  <a:pt x="14331" y="20550"/>
                  <a:pt x="4505" y="21056"/>
                </a:cubicBezTo>
                <a:cubicBezTo>
                  <a:pt x="3002" y="21134"/>
                  <a:pt x="1488" y="21099"/>
                  <a:pt x="0" y="20951"/>
                </a:cubicBezTo>
              </a:path>
            </a:pathLst>
          </a:custGeom>
          <a:ln w="57150">
            <a:solidFill>
              <a:schemeClr val="accent2"/>
            </a:solidFill>
          </a:ln>
        </p:spPr>
        <p:txBody>
          <a:bodyPr lIns="45719" rIns="45719" anchor="ctr"/>
          <a:lstStyle/>
          <a:p>
            <a:pPr algn="ctr">
              <a:defRPr>
                <a:solidFill>
                  <a:srgbClr val="FFFFFF"/>
                </a:solidFill>
              </a:defRPr>
            </a:pPr>
            <a:endParaRPr/>
          </a:p>
        </p:txBody>
      </p:sp>
    </p:spTree>
    <p:extLst>
      <p:ext uri="{BB962C8B-B14F-4D97-AF65-F5344CB8AC3E}">
        <p14:creationId xmlns:p14="http://schemas.microsoft.com/office/powerpoint/2010/main" val="4247074308"/>
      </p:ext>
    </p:extLst>
  </p:cSld>
  <p:clrMapOvr>
    <a:masterClrMapping/>
  </p:clrMapOvr>
  <mc:AlternateContent xmlns:mc="http://schemas.openxmlformats.org/markup-compatibility/2006" xmlns:p14="http://schemas.microsoft.com/office/powerpoint/2010/main">
    <mc:Choice Requires="p14">
      <p:transition spd="slow" p14:dur="1200">
        <p14:switch dir="r"/>
      </p:transition>
    </mc:Choice>
    <mc:Fallback xmlns="">
      <p:transition spd="slow">
        <p:fade/>
      </p:transition>
    </mc:Fallback>
  </mc:AlternateContent>
  <p:timing>
    <p:tnLst>
      <p:par>
        <p:cTn id="1" dur="indefinite" restart="never" fill="hold" nodeType="tmRoot"/>
      </p:par>
    </p:tnLst>
    <p:bldLst>
      <p:bldP spid="1487" grpId="0" bldLvl="0" animBg="1" advAuto="0"/>
      <p:bldP spid="1492" grpId="0" bldLvl="0" animBg="1" advAuto="0"/>
      <p:bldP spid="1493" grpId="0" bldLvl="0" animBg="1" advAuto="0"/>
      <p:bldP spid="1495" grpId="0" bldLvl="0" animBg="1" advAuto="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8" name="图片 5" descr="图片 5"/>
          <p:cNvPicPr>
            <a:picLocks noChangeAspect="1"/>
          </p:cNvPicPr>
          <p:nvPr/>
        </p:nvPicPr>
        <p:blipFill>
          <a:blip r:embed="rId2"/>
          <a:stretch>
            <a:fillRect/>
          </a:stretch>
        </p:blipFill>
        <p:spPr>
          <a:xfrm>
            <a:off x="-7867649" y="-1"/>
            <a:ext cx="16312244" cy="6852604"/>
          </a:xfrm>
          <a:prstGeom prst="rect">
            <a:avLst/>
          </a:prstGeom>
          <a:ln w="12700">
            <a:miter lim="400000"/>
            <a:headEnd/>
            <a:tailEnd/>
          </a:ln>
        </p:spPr>
      </p:pic>
      <p:sp>
        <p:nvSpPr>
          <p:cNvPr id="1069" name="标题 8"/>
          <p:cNvSpPr txBox="1">
            <a:spLocks noGrp="1"/>
          </p:cNvSpPr>
          <p:nvPr>
            <p:ph type="title"/>
          </p:nvPr>
        </p:nvSpPr>
        <p:spPr>
          <a:xfrm>
            <a:off x="576943" y="803663"/>
            <a:ext cx="10778412" cy="829195"/>
          </a:xfrm>
          <a:prstGeom prst="rect">
            <a:avLst/>
          </a:prstGeom>
        </p:spPr>
        <p:txBody>
          <a:bodyPr/>
          <a:lstStyle/>
          <a:p>
            <a:pPr defTabSz="704215">
              <a:defRPr sz="4160"/>
            </a:pPr>
            <a:endParaRPr/>
          </a:p>
        </p:txBody>
      </p:sp>
      <p:pic>
        <p:nvPicPr>
          <p:cNvPr id="1070" name="图片 4" descr="图片 4"/>
          <p:cNvPicPr>
            <a:picLocks noChangeAspect="1"/>
          </p:cNvPicPr>
          <p:nvPr/>
        </p:nvPicPr>
        <p:blipFill>
          <a:blip r:embed="rId3"/>
          <a:stretch>
            <a:fillRect/>
          </a:stretch>
        </p:blipFill>
        <p:spPr>
          <a:xfrm>
            <a:off x="0" y="0"/>
            <a:ext cx="12192000" cy="6858000"/>
          </a:xfrm>
          <a:prstGeom prst="rect">
            <a:avLst/>
          </a:prstGeom>
          <a:ln w="12700">
            <a:miter lim="400000"/>
            <a:headEnd/>
            <a:tailEnd/>
          </a:ln>
        </p:spPr>
      </p:pic>
      <p:pic>
        <p:nvPicPr>
          <p:cNvPr id="1071" name="图片 26" descr="图片 26"/>
          <p:cNvPicPr>
            <a:picLocks noChangeAspect="1"/>
          </p:cNvPicPr>
          <p:nvPr/>
        </p:nvPicPr>
        <p:blipFill>
          <a:blip r:embed="rId4"/>
          <a:stretch>
            <a:fillRect/>
          </a:stretch>
        </p:blipFill>
        <p:spPr>
          <a:xfrm>
            <a:off x="0" y="1"/>
            <a:ext cx="12192000" cy="6858001"/>
          </a:xfrm>
          <a:prstGeom prst="rect">
            <a:avLst/>
          </a:prstGeom>
          <a:ln w="12700">
            <a:miter lim="400000"/>
            <a:headEnd/>
            <a:tailEnd/>
          </a:ln>
        </p:spPr>
      </p:pic>
      <p:pic>
        <p:nvPicPr>
          <p:cNvPr id="1072" name="图片 27" descr="图片 27"/>
          <p:cNvPicPr>
            <a:picLocks noChangeAspect="1"/>
          </p:cNvPicPr>
          <p:nvPr/>
        </p:nvPicPr>
        <p:blipFill>
          <a:blip r:embed="rId5"/>
          <a:stretch>
            <a:fillRect/>
          </a:stretch>
        </p:blipFill>
        <p:spPr>
          <a:xfrm>
            <a:off x="0" y="1"/>
            <a:ext cx="12192000" cy="6858000"/>
          </a:xfrm>
          <a:prstGeom prst="rect">
            <a:avLst/>
          </a:prstGeom>
          <a:ln w="12700">
            <a:miter lim="400000"/>
            <a:headEnd/>
            <a:tailEnd/>
          </a:ln>
        </p:spPr>
      </p:pic>
      <p:pic>
        <p:nvPicPr>
          <p:cNvPr id="1073" name="图片 112" descr="图片 112"/>
          <p:cNvPicPr>
            <a:picLocks noChangeAspect="1"/>
          </p:cNvPicPr>
          <p:nvPr/>
        </p:nvPicPr>
        <p:blipFill>
          <a:blip r:embed="rId6"/>
          <a:stretch>
            <a:fillRect/>
          </a:stretch>
        </p:blipFill>
        <p:spPr>
          <a:xfrm>
            <a:off x="0" y="1"/>
            <a:ext cx="12200503" cy="6862783"/>
          </a:xfrm>
          <a:prstGeom prst="rect">
            <a:avLst/>
          </a:prstGeom>
          <a:ln w="12700">
            <a:miter lim="400000"/>
            <a:headEnd/>
            <a:tailEnd/>
          </a:ln>
        </p:spPr>
      </p:pic>
      <p:pic>
        <p:nvPicPr>
          <p:cNvPr id="1074" name="图片 114" descr="图片 114"/>
          <p:cNvPicPr>
            <a:picLocks noChangeAspect="1"/>
          </p:cNvPicPr>
          <p:nvPr/>
        </p:nvPicPr>
        <p:blipFill>
          <a:blip r:embed="rId7"/>
          <a:stretch>
            <a:fillRect/>
          </a:stretch>
        </p:blipFill>
        <p:spPr>
          <a:xfrm>
            <a:off x="0" y="1"/>
            <a:ext cx="12200503" cy="6862783"/>
          </a:xfrm>
          <a:prstGeom prst="rect">
            <a:avLst/>
          </a:prstGeom>
          <a:ln w="12700">
            <a:miter lim="400000"/>
            <a:headEnd/>
            <a:tailEnd/>
          </a:ln>
        </p:spPr>
      </p:pic>
      <p:pic>
        <p:nvPicPr>
          <p:cNvPr id="1075" name="图片 115" descr="图片 115"/>
          <p:cNvPicPr>
            <a:picLocks noChangeAspect="1"/>
          </p:cNvPicPr>
          <p:nvPr/>
        </p:nvPicPr>
        <p:blipFill>
          <a:blip r:embed="rId8"/>
          <a:stretch>
            <a:fillRect/>
          </a:stretch>
        </p:blipFill>
        <p:spPr>
          <a:xfrm>
            <a:off x="0" y="1"/>
            <a:ext cx="12200501" cy="6862783"/>
          </a:xfrm>
          <a:prstGeom prst="rect">
            <a:avLst/>
          </a:prstGeom>
          <a:ln w="12700">
            <a:miter lim="400000"/>
            <a:headEnd/>
            <a:tailEnd/>
          </a:ln>
        </p:spPr>
      </p:pic>
      <p:sp>
        <p:nvSpPr>
          <p:cNvPr id="1076" name="椭圆 10"/>
          <p:cNvSpPr/>
          <p:nvPr/>
        </p:nvSpPr>
        <p:spPr>
          <a:xfrm>
            <a:off x="4343425" y="2371205"/>
            <a:ext cx="3526475" cy="3507081"/>
          </a:xfrm>
          <a:prstGeom prst="ellipse">
            <a:avLst/>
          </a:prstGeom>
          <a:solidFill>
            <a:srgbClr val="009CA8"/>
          </a:solidFill>
          <a:ln w="12700">
            <a:miter lim="400000"/>
          </a:ln>
        </p:spPr>
        <p:txBody>
          <a:bodyPr lIns="45718" rIns="45718" anchor="ctr"/>
          <a:lstStyle/>
          <a:p>
            <a:pPr algn="ctr">
              <a:defRPr>
                <a:solidFill>
                  <a:srgbClr val="009CA8"/>
                </a:solidFill>
              </a:defRPr>
            </a:pPr>
            <a:endParaRPr sz="1400"/>
          </a:p>
        </p:txBody>
      </p:sp>
      <p:grpSp>
        <p:nvGrpSpPr>
          <p:cNvPr id="1081" name="组合 25"/>
          <p:cNvGrpSpPr/>
          <p:nvPr/>
        </p:nvGrpSpPr>
        <p:grpSpPr>
          <a:xfrm>
            <a:off x="7441272" y="2699119"/>
            <a:ext cx="2799185" cy="834660"/>
            <a:chOff x="-1" y="0"/>
            <a:chExt cx="2799185" cy="834658"/>
          </a:xfrm>
        </p:grpSpPr>
        <p:sp>
          <p:nvSpPr>
            <p:cNvPr id="1077" name="直接连接符 12"/>
            <p:cNvSpPr/>
            <p:nvPr/>
          </p:nvSpPr>
          <p:spPr>
            <a:xfrm flipV="1">
              <a:off x="-1" y="349946"/>
              <a:ext cx="582680" cy="484712"/>
            </a:xfrm>
            <a:prstGeom prst="line">
              <a:avLst/>
            </a:prstGeom>
            <a:noFill/>
            <a:ln w="28575" cap="flat">
              <a:solidFill>
                <a:srgbClr val="262626"/>
              </a:solidFill>
              <a:prstDash val="sysDot"/>
              <a:round/>
            </a:ln>
            <a:effectLst/>
          </p:spPr>
          <p:txBody>
            <a:bodyPr wrap="square" lIns="45718" tIns="45718" rIns="45718" bIns="45718" numCol="1" anchor="t">
              <a:noAutofit/>
            </a:bodyPr>
            <a:lstStyle/>
            <a:p>
              <a:pPr>
                <a:defRPr>
                  <a:solidFill>
                    <a:srgbClr val="FFFFFF"/>
                  </a:solidFill>
                </a:defRPr>
              </a:pPr>
              <a:endParaRPr sz="1400"/>
            </a:p>
          </p:txBody>
        </p:sp>
        <p:sp>
          <p:nvSpPr>
            <p:cNvPr id="1078" name="直接连接符 15"/>
            <p:cNvSpPr/>
            <p:nvPr/>
          </p:nvSpPr>
          <p:spPr>
            <a:xfrm>
              <a:off x="568552" y="350166"/>
              <a:ext cx="526813" cy="1"/>
            </a:xfrm>
            <a:prstGeom prst="line">
              <a:avLst/>
            </a:prstGeom>
            <a:noFill/>
            <a:ln w="28575" cap="flat">
              <a:solidFill>
                <a:srgbClr val="404040"/>
              </a:solidFill>
              <a:prstDash val="sysDot"/>
              <a:round/>
            </a:ln>
            <a:effectLst/>
          </p:spPr>
          <p:txBody>
            <a:bodyPr wrap="square" lIns="45718" tIns="45718" rIns="45718" bIns="45718" numCol="1" anchor="t">
              <a:noAutofit/>
            </a:bodyPr>
            <a:lstStyle/>
            <a:p>
              <a:pPr>
                <a:defRPr>
                  <a:solidFill>
                    <a:srgbClr val="FFFFFF"/>
                  </a:solidFill>
                </a:defRPr>
              </a:pPr>
              <a:endParaRPr sz="1400"/>
            </a:p>
          </p:txBody>
        </p:sp>
        <p:sp>
          <p:nvSpPr>
            <p:cNvPr id="1079" name="椭圆 16"/>
            <p:cNvSpPr/>
            <p:nvPr/>
          </p:nvSpPr>
          <p:spPr>
            <a:xfrm>
              <a:off x="1030360" y="314809"/>
              <a:ext cx="74439" cy="68173"/>
            </a:xfrm>
            <a:prstGeom prst="ellipse">
              <a:avLst/>
            </a:prstGeom>
            <a:solidFill>
              <a:srgbClr val="FFFFFF"/>
            </a:solidFill>
            <a:ln w="19050" cap="flat">
              <a:solidFill>
                <a:srgbClr val="404040"/>
              </a:solidFill>
              <a:prstDash val="solid"/>
              <a:round/>
            </a:ln>
            <a:effectLst/>
          </p:spPr>
          <p:txBody>
            <a:bodyPr wrap="square" lIns="45718" tIns="45718" rIns="45718" bIns="45718" numCol="1" anchor="ctr">
              <a:noAutofit/>
            </a:bodyPr>
            <a:lstStyle/>
            <a:p>
              <a:pPr algn="ctr">
                <a:defRPr>
                  <a:solidFill>
                    <a:srgbClr val="FFFFFF"/>
                  </a:solidFill>
                </a:defRPr>
              </a:pPr>
              <a:endParaRPr sz="1400"/>
            </a:p>
          </p:txBody>
        </p:sp>
        <p:sp>
          <p:nvSpPr>
            <p:cNvPr id="1080" name="矩形 21"/>
            <p:cNvSpPr txBox="1"/>
            <p:nvPr/>
          </p:nvSpPr>
          <p:spPr>
            <a:xfrm>
              <a:off x="1286614" y="0"/>
              <a:ext cx="1512570" cy="643888"/>
            </a:xfrm>
            <a:prstGeom prst="rect">
              <a:avLst/>
            </a:prstGeom>
            <a:noFill/>
            <a:ln w="12700" cap="flat">
              <a:noFill/>
              <a:miter lim="400000"/>
            </a:ln>
            <a:effectLst/>
          </p:spPr>
          <p:txBody>
            <a:bodyPr wrap="none" lIns="45718" tIns="45718" rIns="45718" bIns="45718" numCol="1" anchor="t">
              <a:spAutoFit/>
            </a:bodyPr>
            <a:lstStyle>
              <a:lvl1pPr algn="ctr">
                <a:defRPr sz="3600">
                  <a:solidFill>
                    <a:srgbClr val="404040"/>
                  </a:solidFill>
                  <a:latin typeface="Arial" panose="020B0604020202020204"/>
                  <a:ea typeface="Arial" panose="020B0604020202020204"/>
                  <a:cs typeface="Arial" panose="020B0604020202020204"/>
                  <a:sym typeface="Arial" panose="020B0604020202020204"/>
                </a:defRPr>
              </a:lvl1pPr>
            </a:lstStyle>
            <a:p>
              <a:r>
                <a:t>CHINA</a:t>
              </a:r>
            </a:p>
          </p:txBody>
        </p:sp>
      </p:grpSp>
      <p:grpSp>
        <p:nvGrpSpPr>
          <p:cNvPr id="1087" name="组合 72"/>
          <p:cNvGrpSpPr/>
          <p:nvPr/>
        </p:nvGrpSpPr>
        <p:grpSpPr>
          <a:xfrm>
            <a:off x="8864775" y="3423007"/>
            <a:ext cx="2485412" cy="865189"/>
            <a:chOff x="0" y="0"/>
            <a:chExt cx="2485410" cy="865187"/>
          </a:xfrm>
        </p:grpSpPr>
        <p:grpSp>
          <p:nvGrpSpPr>
            <p:cNvPr id="1085" name="组合 70"/>
            <p:cNvGrpSpPr/>
            <p:nvPr/>
          </p:nvGrpSpPr>
          <p:grpSpPr>
            <a:xfrm>
              <a:off x="0" y="440035"/>
              <a:ext cx="2485410" cy="425152"/>
              <a:chOff x="0" y="0"/>
              <a:chExt cx="2485409" cy="425151"/>
            </a:xfrm>
          </p:grpSpPr>
          <p:sp>
            <p:nvSpPr>
              <p:cNvPr id="1082" name="直接连接符 66"/>
              <p:cNvSpPr/>
              <p:nvPr/>
            </p:nvSpPr>
            <p:spPr>
              <a:xfrm flipV="1">
                <a:off x="-1" y="48540"/>
                <a:ext cx="376612" cy="376612"/>
              </a:xfrm>
              <a:prstGeom prst="line">
                <a:avLst/>
              </a:prstGeom>
              <a:noFill/>
              <a:ln w="28575" cap="flat">
                <a:solidFill>
                  <a:srgbClr val="404040"/>
                </a:solidFill>
                <a:prstDash val="sysDot"/>
                <a:round/>
              </a:ln>
              <a:effectLst/>
            </p:spPr>
            <p:txBody>
              <a:bodyPr wrap="square" lIns="45718" tIns="45718" rIns="45718" bIns="45718" numCol="1" anchor="t">
                <a:noAutofit/>
              </a:bodyPr>
              <a:lstStyle/>
              <a:p>
                <a:pPr>
                  <a:defRPr>
                    <a:solidFill>
                      <a:srgbClr val="FFFFFF"/>
                    </a:solidFill>
                  </a:defRPr>
                </a:pPr>
                <a:endParaRPr sz="1400"/>
              </a:p>
            </p:txBody>
          </p:sp>
          <p:sp>
            <p:nvSpPr>
              <p:cNvPr id="1083" name="直接连接符 68"/>
              <p:cNvSpPr/>
              <p:nvPr/>
            </p:nvSpPr>
            <p:spPr>
              <a:xfrm>
                <a:off x="391559" y="48539"/>
                <a:ext cx="2093850" cy="1"/>
              </a:xfrm>
              <a:prstGeom prst="line">
                <a:avLst/>
              </a:prstGeom>
              <a:noFill/>
              <a:ln w="28575" cap="flat">
                <a:solidFill>
                  <a:srgbClr val="404040"/>
                </a:solidFill>
                <a:prstDash val="sysDot"/>
                <a:round/>
              </a:ln>
              <a:effectLst/>
            </p:spPr>
            <p:txBody>
              <a:bodyPr wrap="square" lIns="45718" tIns="45718" rIns="45718" bIns="45718" numCol="1" anchor="t">
                <a:noAutofit/>
              </a:bodyPr>
              <a:lstStyle/>
              <a:p>
                <a:pPr>
                  <a:defRPr>
                    <a:solidFill>
                      <a:srgbClr val="FFFFFF"/>
                    </a:solidFill>
                  </a:defRPr>
                </a:pPr>
                <a:endParaRPr sz="1400"/>
              </a:p>
            </p:txBody>
          </p:sp>
          <p:sp>
            <p:nvSpPr>
              <p:cNvPr id="1084" name="椭圆 69"/>
              <p:cNvSpPr/>
              <p:nvPr/>
            </p:nvSpPr>
            <p:spPr>
              <a:xfrm>
                <a:off x="2388329" y="0"/>
                <a:ext cx="97081" cy="97080"/>
              </a:xfrm>
              <a:prstGeom prst="ellipse">
                <a:avLst/>
              </a:prstGeom>
              <a:solidFill>
                <a:srgbClr val="FFFFFF"/>
              </a:solidFill>
              <a:ln w="25400" cap="flat">
                <a:solidFill>
                  <a:srgbClr val="404040"/>
                </a:solidFill>
                <a:prstDash val="solid"/>
                <a:round/>
              </a:ln>
              <a:effectLst/>
            </p:spPr>
            <p:txBody>
              <a:bodyPr wrap="square" lIns="45718" tIns="45718" rIns="45718" bIns="45718" numCol="1" anchor="ctr">
                <a:noAutofit/>
              </a:bodyPr>
              <a:lstStyle/>
              <a:p>
                <a:pPr algn="ctr">
                  <a:defRPr>
                    <a:solidFill>
                      <a:srgbClr val="FFFFFF"/>
                    </a:solidFill>
                  </a:defRPr>
                </a:pPr>
                <a:endParaRPr sz="1400"/>
              </a:p>
            </p:txBody>
          </p:sp>
        </p:grpSp>
        <p:sp>
          <p:nvSpPr>
            <p:cNvPr id="1086" name="矩形 71"/>
            <p:cNvSpPr txBox="1"/>
            <p:nvPr/>
          </p:nvSpPr>
          <p:spPr>
            <a:xfrm>
              <a:off x="526489" y="0"/>
              <a:ext cx="1682114" cy="459104"/>
            </a:xfrm>
            <a:prstGeom prst="rect">
              <a:avLst/>
            </a:prstGeom>
            <a:noFill/>
            <a:ln w="12700" cap="flat">
              <a:noFill/>
              <a:miter lim="400000"/>
            </a:ln>
            <a:effectLst/>
          </p:spPr>
          <p:txBody>
            <a:bodyPr wrap="none" lIns="45718" tIns="45718" rIns="45718" bIns="45718" numCol="1" anchor="t">
              <a:spAutoFit/>
            </a:bodyPr>
            <a:lstStyle>
              <a:lvl1pPr algn="ctr">
                <a:defRPr sz="2400">
                  <a:solidFill>
                    <a:srgbClr val="404040"/>
                  </a:solidFill>
                  <a:latin typeface="Arial" panose="020B0604020202020204"/>
                  <a:ea typeface="Arial" panose="020B0604020202020204"/>
                  <a:cs typeface="Arial" panose="020B0604020202020204"/>
                  <a:sym typeface="Arial" panose="020B0604020202020204"/>
                </a:defRPr>
              </a:lvl1pPr>
            </a:lstStyle>
            <a:p>
              <a:r>
                <a:t>SHANGHAI</a:t>
              </a:r>
            </a:p>
          </p:txBody>
        </p:sp>
      </p:grpSp>
      <p:sp>
        <p:nvSpPr>
          <p:cNvPr id="1088" name="文本框 64"/>
          <p:cNvSpPr txBox="1"/>
          <p:nvPr/>
        </p:nvSpPr>
        <p:spPr>
          <a:xfrm>
            <a:off x="406011" y="5677913"/>
            <a:ext cx="4314269" cy="645160"/>
          </a:xfrm>
          <a:prstGeom prst="rect">
            <a:avLst/>
          </a:prstGeom>
          <a:ln w="12700">
            <a:miter lim="400000"/>
          </a:ln>
        </p:spPr>
        <p:txBody>
          <a:bodyPr lIns="45718" rIns="45718">
            <a:spAutoFit/>
          </a:bodyPr>
          <a:lstStyle>
            <a:lvl1pPr>
              <a:defRPr sz="900" b="1">
                <a:solidFill>
                  <a:srgbClr val="808080"/>
                </a:solidFill>
                <a:latin typeface="Arial" panose="020B0604020202020204"/>
                <a:ea typeface="Arial" panose="020B0604020202020204"/>
                <a:cs typeface="Arial" panose="020B0604020202020204"/>
                <a:sym typeface="Arial" panose="020B0604020202020204"/>
              </a:defRPr>
            </a:lvl1pPr>
          </a:lstStyle>
          <a:p>
            <a:r>
              <a:t>Shanghai is located at the mouth of the Yangtze River, the longest river in China. Today, with a land area covering 6,340 square kilometers and a population of 23 million people, Shanghai has become the largest economic center in China and an important port city. </a:t>
            </a:r>
          </a:p>
        </p:txBody>
      </p:sp>
      <p:sp>
        <p:nvSpPr>
          <p:cNvPr id="1089" name="直接箭头连接符 99"/>
          <p:cNvSpPr/>
          <p:nvPr/>
        </p:nvSpPr>
        <p:spPr>
          <a:xfrm flipH="1">
            <a:off x="545704" y="4473455"/>
            <a:ext cx="7558547" cy="66975"/>
          </a:xfrm>
          <a:prstGeom prst="line">
            <a:avLst/>
          </a:prstGeom>
          <a:ln w="57150">
            <a:solidFill>
              <a:srgbClr val="009CA8"/>
            </a:solidFill>
            <a:tailEnd type="triangle"/>
          </a:ln>
        </p:spPr>
        <p:txBody>
          <a:bodyPr lIns="45718" rIns="45718"/>
          <a:lstStyle/>
          <a:p>
            <a:pPr>
              <a:defRPr>
                <a:solidFill>
                  <a:srgbClr val="FFFFFF"/>
                </a:solidFill>
              </a:defRPr>
            </a:pPr>
            <a:endParaRPr sz="1400"/>
          </a:p>
        </p:txBody>
      </p:sp>
      <p:sp>
        <p:nvSpPr>
          <p:cNvPr id="1090" name="直接箭头连接符 98"/>
          <p:cNvSpPr/>
          <p:nvPr/>
        </p:nvSpPr>
        <p:spPr>
          <a:xfrm flipV="1">
            <a:off x="8596163" y="623667"/>
            <a:ext cx="1" cy="3449180"/>
          </a:xfrm>
          <a:prstGeom prst="line">
            <a:avLst/>
          </a:prstGeom>
          <a:ln w="57150">
            <a:solidFill>
              <a:srgbClr val="009CA8"/>
            </a:solidFill>
            <a:tailEnd type="triangle"/>
          </a:ln>
        </p:spPr>
        <p:txBody>
          <a:bodyPr lIns="45718" rIns="45718"/>
          <a:lstStyle/>
          <a:p>
            <a:pPr>
              <a:defRPr>
                <a:solidFill>
                  <a:srgbClr val="FFFFFF"/>
                </a:solidFill>
              </a:defRPr>
            </a:pPr>
            <a:endParaRPr sz="1400"/>
          </a:p>
        </p:txBody>
      </p:sp>
      <p:sp>
        <p:nvSpPr>
          <p:cNvPr id="1091" name="直接箭头连接符 104"/>
          <p:cNvSpPr/>
          <p:nvPr/>
        </p:nvSpPr>
        <p:spPr>
          <a:xfrm>
            <a:off x="8596161" y="4930461"/>
            <a:ext cx="1" cy="1701041"/>
          </a:xfrm>
          <a:prstGeom prst="line">
            <a:avLst/>
          </a:prstGeom>
          <a:ln w="57150">
            <a:solidFill>
              <a:srgbClr val="009CA8"/>
            </a:solidFill>
            <a:tailEnd type="triangle"/>
          </a:ln>
        </p:spPr>
        <p:txBody>
          <a:bodyPr lIns="45718" rIns="45718"/>
          <a:lstStyle/>
          <a:p>
            <a:pPr>
              <a:defRPr>
                <a:solidFill>
                  <a:srgbClr val="FFFFFF"/>
                </a:solidFill>
              </a:defRPr>
            </a:pPr>
            <a:endParaRPr sz="1400"/>
          </a:p>
        </p:txBody>
      </p:sp>
      <p:sp>
        <p:nvSpPr>
          <p:cNvPr id="1092" name="椭圆 33"/>
          <p:cNvSpPr/>
          <p:nvPr/>
        </p:nvSpPr>
        <p:spPr>
          <a:xfrm>
            <a:off x="8515499" y="4413637"/>
            <a:ext cx="128029" cy="128029"/>
          </a:xfrm>
          <a:prstGeom prst="ellipse">
            <a:avLst/>
          </a:prstGeom>
          <a:solidFill>
            <a:srgbClr val="FFFFFF"/>
          </a:solidFill>
          <a:ln w="38100">
            <a:solidFill>
              <a:srgbClr val="009CA8"/>
            </a:solidFill>
          </a:ln>
        </p:spPr>
        <p:txBody>
          <a:bodyPr lIns="45718" rIns="45718" anchor="ctr"/>
          <a:lstStyle/>
          <a:p>
            <a:pPr algn="ctr">
              <a:defRPr>
                <a:solidFill>
                  <a:srgbClr val="FFFFFF"/>
                </a:solidFill>
              </a:defRPr>
            </a:pPr>
            <a:endParaRPr sz="1400"/>
          </a:p>
        </p:txBody>
      </p:sp>
      <p:sp>
        <p:nvSpPr>
          <p:cNvPr id="1093" name="弧形 53"/>
          <p:cNvSpPr/>
          <p:nvPr/>
        </p:nvSpPr>
        <p:spPr>
          <a:xfrm>
            <a:off x="8328648" y="4226788"/>
            <a:ext cx="501727" cy="501727"/>
          </a:xfrm>
          <a:prstGeom prst="ellipse">
            <a:avLst/>
          </a:prstGeom>
          <a:ln w="76200">
            <a:solidFill>
              <a:srgbClr val="009CA8"/>
            </a:solidFill>
          </a:ln>
        </p:spPr>
        <p:txBody>
          <a:bodyPr lIns="45718" rIns="45718" anchor="ctr"/>
          <a:lstStyle/>
          <a:p>
            <a:pPr algn="ctr">
              <a:defRPr>
                <a:solidFill>
                  <a:srgbClr val="FFFFFF"/>
                </a:solidFill>
              </a:defRPr>
            </a:pPr>
            <a:endParaRPr sz="1400"/>
          </a:p>
        </p:txBody>
      </p:sp>
      <p:sp>
        <p:nvSpPr>
          <p:cNvPr id="1094" name="弧形 54"/>
          <p:cNvSpPr/>
          <p:nvPr/>
        </p:nvSpPr>
        <p:spPr>
          <a:xfrm>
            <a:off x="8425500" y="4323611"/>
            <a:ext cx="308055" cy="308087"/>
          </a:xfrm>
          <a:custGeom>
            <a:avLst/>
            <a:gdLst/>
            <a:ahLst/>
            <a:cxnLst>
              <a:cxn ang="0">
                <a:pos x="wd2" y="hd2"/>
              </a:cxn>
              <a:cxn ang="5400000">
                <a:pos x="wd2" y="hd2"/>
              </a:cxn>
              <a:cxn ang="10800000">
                <a:pos x="wd2" y="hd2"/>
              </a:cxn>
              <a:cxn ang="16200000">
                <a:pos x="wd2" y="hd2"/>
              </a:cxn>
            </a:cxnLst>
            <a:rect l="0" t="0" r="r" b="b"/>
            <a:pathLst>
              <a:path w="20168" h="18913" extrusionOk="0">
                <a:moveTo>
                  <a:pt x="5327" y="1120"/>
                </a:moveTo>
                <a:cubicBezTo>
                  <a:pt x="10238" y="-1343"/>
                  <a:pt x="16347" y="393"/>
                  <a:pt x="18974" y="4998"/>
                </a:cubicBezTo>
                <a:cubicBezTo>
                  <a:pt x="21600" y="9602"/>
                  <a:pt x="19748" y="15332"/>
                  <a:pt x="14838" y="17794"/>
                </a:cubicBezTo>
                <a:cubicBezTo>
                  <a:pt x="9928" y="20257"/>
                  <a:pt x="3818" y="18521"/>
                  <a:pt x="1192" y="13916"/>
                </a:cubicBezTo>
                <a:cubicBezTo>
                  <a:pt x="409" y="12544"/>
                  <a:pt x="0" y="11013"/>
                  <a:pt x="0" y="9457"/>
                </a:cubicBezTo>
              </a:path>
            </a:pathLst>
          </a:custGeom>
          <a:ln w="19050">
            <a:solidFill>
              <a:srgbClr val="009CA8"/>
            </a:solidFill>
          </a:ln>
        </p:spPr>
        <p:txBody>
          <a:bodyPr lIns="45718" rIns="45718" anchor="ctr"/>
          <a:lstStyle/>
          <a:p>
            <a:pPr algn="ctr">
              <a:defRPr>
                <a:solidFill>
                  <a:srgbClr val="FFFFFF"/>
                </a:solidFill>
              </a:defRPr>
            </a:pPr>
            <a:endParaRPr sz="1400"/>
          </a:p>
        </p:txBody>
      </p:sp>
      <p:sp>
        <p:nvSpPr>
          <p:cNvPr id="1095" name="文本框 76"/>
          <p:cNvSpPr txBox="1"/>
          <p:nvPr/>
        </p:nvSpPr>
        <p:spPr>
          <a:xfrm>
            <a:off x="9267091" y="5014428"/>
            <a:ext cx="2895937" cy="922020"/>
          </a:xfrm>
          <a:prstGeom prst="rect">
            <a:avLst/>
          </a:prstGeom>
          <a:ln w="12700">
            <a:miter lim="400000"/>
          </a:ln>
        </p:spPr>
        <p:txBody>
          <a:bodyPr lIns="45718" rIns="45718">
            <a:spAutoFit/>
          </a:bodyPr>
          <a:lstStyle/>
          <a:p>
            <a:pPr>
              <a:defRPr sz="4000" b="1">
                <a:solidFill>
                  <a:srgbClr val="009CA8"/>
                </a:solidFill>
                <a:latin typeface="Arial" panose="020B0604020202020204"/>
                <a:ea typeface="Arial" panose="020B0604020202020204"/>
                <a:cs typeface="Arial" panose="020B0604020202020204"/>
                <a:sym typeface="Arial" panose="020B0604020202020204"/>
              </a:defRPr>
            </a:pPr>
            <a:r>
              <a:t>23,000,000</a:t>
            </a:r>
            <a:endParaRPr>
              <a:solidFill>
                <a:srgbClr val="FFFFFF"/>
              </a:solidFill>
            </a:endParaRPr>
          </a:p>
          <a:p>
            <a:pPr>
              <a:defRPr b="1">
                <a:solidFill>
                  <a:srgbClr val="009CA8"/>
                </a:solidFill>
                <a:latin typeface="Arial" panose="020B0604020202020204"/>
                <a:ea typeface="Arial" panose="020B0604020202020204"/>
                <a:cs typeface="Arial" panose="020B0604020202020204"/>
                <a:sym typeface="Arial" panose="020B0604020202020204"/>
              </a:defRPr>
            </a:pPr>
            <a:r>
              <a:rPr sz="1400"/>
              <a:t>people</a:t>
            </a:r>
          </a:p>
        </p:txBody>
      </p:sp>
      <p:sp>
        <p:nvSpPr>
          <p:cNvPr id="1096" name="文本框 75"/>
          <p:cNvSpPr txBox="1"/>
          <p:nvPr/>
        </p:nvSpPr>
        <p:spPr>
          <a:xfrm>
            <a:off x="9267091" y="4002632"/>
            <a:ext cx="2774573" cy="860425"/>
          </a:xfrm>
          <a:prstGeom prst="rect">
            <a:avLst/>
          </a:prstGeom>
          <a:ln w="12700">
            <a:miter lim="400000"/>
          </a:ln>
        </p:spPr>
        <p:txBody>
          <a:bodyPr lIns="45718" rIns="45718">
            <a:spAutoFit/>
          </a:bodyPr>
          <a:lstStyle/>
          <a:p>
            <a:pPr>
              <a:defRPr sz="3600" b="1">
                <a:solidFill>
                  <a:srgbClr val="009CA8"/>
                </a:solidFill>
                <a:latin typeface="Arial" panose="020B0604020202020204"/>
                <a:ea typeface="Arial" panose="020B0604020202020204"/>
                <a:cs typeface="Arial" panose="020B0604020202020204"/>
                <a:sym typeface="Arial" panose="020B0604020202020204"/>
              </a:defRPr>
            </a:pPr>
            <a:r>
              <a:t>6,340</a:t>
            </a:r>
            <a:r>
              <a:rPr sz="1600"/>
              <a:t> </a:t>
            </a:r>
            <a:endParaRPr>
              <a:solidFill>
                <a:srgbClr val="FFFFFF"/>
              </a:solidFill>
            </a:endParaRPr>
          </a:p>
          <a:p>
            <a:pPr>
              <a:defRPr b="1">
                <a:solidFill>
                  <a:srgbClr val="009CA8"/>
                </a:solidFill>
                <a:latin typeface="Arial" panose="020B0604020202020204"/>
                <a:ea typeface="Arial" panose="020B0604020202020204"/>
                <a:cs typeface="Arial" panose="020B0604020202020204"/>
                <a:sym typeface="Arial" panose="020B0604020202020204"/>
              </a:defRPr>
            </a:pPr>
            <a:r>
              <a:rPr sz="1400"/>
              <a:t>square kilometers</a:t>
            </a:r>
          </a:p>
        </p:txBody>
      </p:sp>
      <p:pic>
        <p:nvPicPr>
          <p:cNvPr id="1098" name="图片 1" descr="图片 1"/>
          <p:cNvPicPr>
            <a:picLocks noChangeAspect="1"/>
          </p:cNvPicPr>
          <p:nvPr/>
        </p:nvPicPr>
        <p:blipFill>
          <a:blip r:embed="rId9"/>
          <a:stretch>
            <a:fillRect/>
          </a:stretch>
        </p:blipFill>
        <p:spPr>
          <a:xfrm>
            <a:off x="6985" y="-112395"/>
            <a:ext cx="12200501" cy="2006981"/>
          </a:xfrm>
          <a:prstGeom prst="rect">
            <a:avLst/>
          </a:prstGeom>
          <a:ln w="12700">
            <a:miter lim="400000"/>
            <a:headEnd/>
            <a:tailEnd/>
          </a:ln>
        </p:spPr>
      </p:pic>
      <p:pic>
        <p:nvPicPr>
          <p:cNvPr id="2" name="图片 1" descr="上大logo最新"/>
          <p:cNvPicPr>
            <a:picLocks noChangeAspect="1"/>
          </p:cNvPicPr>
          <p:nvPr/>
        </p:nvPicPr>
        <p:blipFill>
          <a:blip r:embed="rId10">
            <a:clrChange>
              <a:clrFrom>
                <a:srgbClr val="F6F5F6">
                  <a:alpha val="100000"/>
                </a:srgbClr>
              </a:clrFrom>
              <a:clrTo>
                <a:srgbClr val="F6F5F6">
                  <a:alpha val="100000"/>
                  <a:alpha val="0"/>
                </a:srgbClr>
              </a:clrTo>
            </a:clrChange>
          </a:blip>
          <a:stretch>
            <a:fillRect/>
          </a:stretch>
        </p:blipFill>
        <p:spPr>
          <a:xfrm>
            <a:off x="9752330" y="0"/>
            <a:ext cx="2439670" cy="702310"/>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10">
        <p14:vortex dir="r"/>
      </p:transition>
    </mc:Choice>
    <mc:Fallback xmlns="">
      <p:transition>
        <p:fade/>
      </p:transition>
    </mc:Fallback>
  </mc:AlternateContent>
  <p:timing>
    <p:tnLst>
      <p:par>
        <p:cTn id="1" dur="indefinite" restart="never" fill="hold" nodeType="tmRoot"/>
      </p:par>
    </p:tnLst>
    <p:bldLst>
      <p:bldP spid="1068" grpId="4" bldLvl="0" animBg="1" advAuto="0"/>
      <p:bldP spid="1068" grpId="8" bldLvl="0" animBg="1" advAuto="0"/>
      <p:bldP spid="1070" grpId="3" bldLvl="0" animBg="1" advAuto="0"/>
      <p:bldP spid="1070" grpId="9" bldLvl="0" animBg="1" advAuto="0"/>
      <p:bldP spid="1071" grpId="10" bldLvl="0" animBg="1" advAuto="0"/>
      <p:bldP spid="1071" grpId="11" bldLvl="0" animBg="1" advAuto="0"/>
      <p:bldP spid="1072" grpId="12" bldLvl="0" animBg="1" advAuto="0"/>
      <p:bldP spid="1073" grpId="19" bldLvl="0" animBg="1" advAuto="0"/>
      <p:bldP spid="1073" grpId="23" bldLvl="0" animBg="1" advAuto="0"/>
      <p:bldP spid="1074" grpId="20" bldLvl="0" animBg="1" advAuto="0"/>
      <p:bldP spid="1074" grpId="24" bldLvl="0" animBg="1" advAuto="0"/>
      <p:bldP spid="1075" grpId="21" bldLvl="0" animBg="1" advAuto="0"/>
      <p:bldP spid="1075" grpId="25" bldLvl="0" animBg="1" advAuto="0"/>
      <p:bldP spid="1076" grpId="1" bldLvl="0" animBg="1" advAuto="0"/>
      <p:bldP spid="1076" grpId="2" bldLvl="0" animBg="1" advAuto="0"/>
      <p:bldP spid="1081" grpId="6" bldLvl="0" animBg="1" advAuto="0"/>
      <p:bldP spid="1081" grpId="7" bldLvl="0" animBg="1" advAuto="0"/>
      <p:bldP spid="1087" grpId="18" bldLvl="0" animBg="1" advAuto="0"/>
      <p:bldP spid="1088" grpId="22" animBg="1" advAuto="0"/>
      <p:bldP spid="1089" grpId="27" bldLvl="0" animBg="1" advAuto="0"/>
      <p:bldP spid="1090" grpId="26" bldLvl="0" animBg="1" advAuto="0"/>
      <p:bldP spid="1091" grpId="28" bldLvl="0" animBg="1" advAuto="0"/>
      <p:bldP spid="1092" grpId="13" bldLvl="0" animBg="1" advAuto="0"/>
      <p:bldP spid="1093" grpId="15" bldLvl="0" animBg="1" advAuto="0"/>
      <p:bldP spid="1093" grpId="17" bldLvl="0" animBg="1" advAuto="0"/>
      <p:bldP spid="1094" grpId="14" bldLvl="0" animBg="1" advAuto="0"/>
      <p:bldP spid="1094" grpId="16" bldLvl="0" animBg="1" advAuto="0"/>
      <p:bldP spid="1095" grpId="30" animBg="1" advAuto="0"/>
      <p:bldP spid="1096" grpId="29" animBg="1" advAuto="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p:txBody>
          <a:bodyPr/>
          <a:lstStyle/>
          <a:p>
            <a:endParaRPr lang="zh-CN" altLang="en-US"/>
          </a:p>
        </p:txBody>
      </p:sp>
      <p:sp>
        <p:nvSpPr>
          <p:cNvPr id="3" name="副标题 2"/>
          <p:cNvSpPr>
            <a:spLocks noGrp="1"/>
          </p:cNvSpPr>
          <p:nvPr>
            <p:ph type="subTitle" idx="1"/>
          </p:nvPr>
        </p:nvSpPr>
        <p:spPr/>
        <p:txBody>
          <a:bodyPr/>
          <a:lstStyle/>
          <a:p>
            <a:endParaRPr lang="zh-CN" altLang="en-US"/>
          </a:p>
        </p:txBody>
      </p:sp>
      <p:pic>
        <p:nvPicPr>
          <p:cNvPr id="5" name="图片 4"/>
          <p:cNvPicPr>
            <a:picLocks noChangeAspect="1"/>
          </p:cNvPicPr>
          <p:nvPr/>
        </p:nvPicPr>
        <p:blipFill>
          <a:blip r:embed="rId2"/>
          <a:stretch>
            <a:fillRect/>
          </a:stretch>
        </p:blipFill>
        <p:spPr>
          <a:xfrm>
            <a:off x="5554345" y="1573530"/>
            <a:ext cx="6637655" cy="5284470"/>
          </a:xfrm>
          <a:prstGeom prst="rect">
            <a:avLst/>
          </a:prstGeom>
        </p:spPr>
      </p:pic>
      <p:pic>
        <p:nvPicPr>
          <p:cNvPr id="4" name="图片 3"/>
          <p:cNvPicPr>
            <a:picLocks noChangeAspect="1"/>
          </p:cNvPicPr>
          <p:nvPr/>
        </p:nvPicPr>
        <p:blipFill>
          <a:blip r:embed="rId3"/>
          <a:stretch>
            <a:fillRect/>
          </a:stretch>
        </p:blipFill>
        <p:spPr>
          <a:xfrm>
            <a:off x="109220" y="0"/>
            <a:ext cx="7141210" cy="5348605"/>
          </a:xfrm>
          <a:prstGeom prst="rect">
            <a:avLst/>
          </a:prstGeom>
        </p:spPr>
      </p:pic>
    </p:spTree>
    <p:extLst>
      <p:ext uri="{BB962C8B-B14F-4D97-AF65-F5344CB8AC3E}">
        <p14:creationId xmlns:p14="http://schemas.microsoft.com/office/powerpoint/2010/main" val="4147850452"/>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图片占位符 57"/>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32161" r="32161"/>
          <a:stretch>
            <a:fillRect/>
          </a:stretch>
        </p:blipFill>
        <p:spPr>
          <a:xfrm>
            <a:off x="8521701" y="1"/>
            <a:ext cx="3670299" cy="6857999"/>
          </a:xfrm>
        </p:spPr>
      </p:pic>
      <p:sp>
        <p:nvSpPr>
          <p:cNvPr id="2" name="矩形 1"/>
          <p:cNvSpPr/>
          <p:nvPr/>
        </p:nvSpPr>
        <p:spPr>
          <a:xfrm>
            <a:off x="8521701" y="0"/>
            <a:ext cx="3670299" cy="6858000"/>
          </a:xfrm>
          <a:prstGeom prst="rect">
            <a:avLst/>
          </a:prstGeom>
          <a:solidFill>
            <a:schemeClr val="tx1">
              <a:lumMod val="75000"/>
              <a:lumOff val="25000"/>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5" name="组合 34"/>
          <p:cNvGrpSpPr/>
          <p:nvPr/>
        </p:nvGrpSpPr>
        <p:grpSpPr>
          <a:xfrm>
            <a:off x="964571" y="2117652"/>
            <a:ext cx="654051" cy="654051"/>
            <a:chOff x="1121996" y="1976559"/>
            <a:chExt cx="1589454" cy="1589454"/>
          </a:xfrm>
          <a:gradFill>
            <a:gsLst>
              <a:gs pos="0">
                <a:srgbClr val="007BD3"/>
              </a:gs>
              <a:gs pos="0">
                <a:srgbClr val="034373">
                  <a:alpha val="80000"/>
                </a:srgbClr>
              </a:gs>
            </a:gsLst>
            <a:lin ang="0" scaled="0"/>
          </a:gradFill>
        </p:grpSpPr>
        <p:sp>
          <p:nvSpPr>
            <p:cNvPr id="36" name="椭圆 35"/>
            <p:cNvSpPr/>
            <p:nvPr/>
          </p:nvSpPr>
          <p:spPr>
            <a:xfrm>
              <a:off x="1121996" y="1976559"/>
              <a:ext cx="1589454" cy="1589454"/>
            </a:xfrm>
            <a:prstGeom prst="ellipse">
              <a:avLst/>
            </a:prstGeom>
            <a:grpFill/>
            <a:ln w="57150">
              <a:noFill/>
            </a:ln>
            <a:effectLst>
              <a:outerShdw blurRad="254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7" name="椭圆 6"/>
            <p:cNvSpPr/>
            <p:nvPr/>
          </p:nvSpPr>
          <p:spPr>
            <a:xfrm>
              <a:off x="1477108" y="2426071"/>
              <a:ext cx="879230" cy="690429"/>
            </a:xfrm>
            <a:custGeom>
              <a:avLst/>
              <a:gdLst>
                <a:gd name="connsiteX0" fmla="*/ 187043 w 606298"/>
                <a:gd name="connsiteY0" fmla="*/ 364682 h 476105"/>
                <a:gd name="connsiteX1" fmla="*/ 307528 w 606298"/>
                <a:gd name="connsiteY1" fmla="*/ 364682 h 476105"/>
                <a:gd name="connsiteX2" fmla="*/ 325320 w 606298"/>
                <a:gd name="connsiteY2" fmla="*/ 382440 h 476105"/>
                <a:gd name="connsiteX3" fmla="*/ 325320 w 606298"/>
                <a:gd name="connsiteY3" fmla="*/ 389984 h 476105"/>
                <a:gd name="connsiteX4" fmla="*/ 575785 w 606298"/>
                <a:gd name="connsiteY4" fmla="*/ 389984 h 476105"/>
                <a:gd name="connsiteX5" fmla="*/ 606298 w 606298"/>
                <a:gd name="connsiteY5" fmla="*/ 420440 h 476105"/>
                <a:gd name="connsiteX6" fmla="*/ 575785 w 606298"/>
                <a:gd name="connsiteY6" fmla="*/ 450803 h 476105"/>
                <a:gd name="connsiteX7" fmla="*/ 325320 w 606298"/>
                <a:gd name="connsiteY7" fmla="*/ 450803 h 476105"/>
                <a:gd name="connsiteX8" fmla="*/ 325320 w 606298"/>
                <a:gd name="connsiteY8" fmla="*/ 458347 h 476105"/>
                <a:gd name="connsiteX9" fmla="*/ 307528 w 606298"/>
                <a:gd name="connsiteY9" fmla="*/ 476105 h 476105"/>
                <a:gd name="connsiteX10" fmla="*/ 187043 w 606298"/>
                <a:gd name="connsiteY10" fmla="*/ 476105 h 476105"/>
                <a:gd name="connsiteX11" fmla="*/ 169343 w 606298"/>
                <a:gd name="connsiteY11" fmla="*/ 458347 h 476105"/>
                <a:gd name="connsiteX12" fmla="*/ 169343 w 606298"/>
                <a:gd name="connsiteY12" fmla="*/ 450803 h 476105"/>
                <a:gd name="connsiteX13" fmla="*/ 30421 w 606298"/>
                <a:gd name="connsiteY13" fmla="*/ 450803 h 476105"/>
                <a:gd name="connsiteX14" fmla="*/ 0 w 606298"/>
                <a:gd name="connsiteY14" fmla="*/ 420440 h 476105"/>
                <a:gd name="connsiteX15" fmla="*/ 30421 w 606298"/>
                <a:gd name="connsiteY15" fmla="*/ 389984 h 476105"/>
                <a:gd name="connsiteX16" fmla="*/ 169343 w 606298"/>
                <a:gd name="connsiteY16" fmla="*/ 389984 h 476105"/>
                <a:gd name="connsiteX17" fmla="*/ 169343 w 606298"/>
                <a:gd name="connsiteY17" fmla="*/ 382440 h 476105"/>
                <a:gd name="connsiteX18" fmla="*/ 187043 w 606298"/>
                <a:gd name="connsiteY18" fmla="*/ 364682 h 476105"/>
                <a:gd name="connsiteX19" fmla="*/ 322185 w 606298"/>
                <a:gd name="connsiteY19" fmla="*/ 182341 h 476105"/>
                <a:gd name="connsiteX20" fmla="*/ 442671 w 606298"/>
                <a:gd name="connsiteY20" fmla="*/ 182341 h 476105"/>
                <a:gd name="connsiteX21" fmla="*/ 460370 w 606298"/>
                <a:gd name="connsiteY21" fmla="*/ 200099 h 476105"/>
                <a:gd name="connsiteX22" fmla="*/ 460370 w 606298"/>
                <a:gd name="connsiteY22" fmla="*/ 207643 h 476105"/>
                <a:gd name="connsiteX23" fmla="*/ 575785 w 606298"/>
                <a:gd name="connsiteY23" fmla="*/ 207643 h 476105"/>
                <a:gd name="connsiteX24" fmla="*/ 606298 w 606298"/>
                <a:gd name="connsiteY24" fmla="*/ 238006 h 476105"/>
                <a:gd name="connsiteX25" fmla="*/ 575785 w 606298"/>
                <a:gd name="connsiteY25" fmla="*/ 268369 h 476105"/>
                <a:gd name="connsiteX26" fmla="*/ 460370 w 606298"/>
                <a:gd name="connsiteY26" fmla="*/ 268369 h 476105"/>
                <a:gd name="connsiteX27" fmla="*/ 460370 w 606298"/>
                <a:gd name="connsiteY27" fmla="*/ 276006 h 476105"/>
                <a:gd name="connsiteX28" fmla="*/ 442671 w 606298"/>
                <a:gd name="connsiteY28" fmla="*/ 293764 h 476105"/>
                <a:gd name="connsiteX29" fmla="*/ 322185 w 606298"/>
                <a:gd name="connsiteY29" fmla="*/ 293764 h 476105"/>
                <a:gd name="connsiteX30" fmla="*/ 304394 w 606298"/>
                <a:gd name="connsiteY30" fmla="*/ 276006 h 476105"/>
                <a:gd name="connsiteX31" fmla="*/ 304394 w 606298"/>
                <a:gd name="connsiteY31" fmla="*/ 268369 h 476105"/>
                <a:gd name="connsiteX32" fmla="*/ 30421 w 606298"/>
                <a:gd name="connsiteY32" fmla="*/ 268369 h 476105"/>
                <a:gd name="connsiteX33" fmla="*/ 0 w 606298"/>
                <a:gd name="connsiteY33" fmla="*/ 238006 h 476105"/>
                <a:gd name="connsiteX34" fmla="*/ 30421 w 606298"/>
                <a:gd name="connsiteY34" fmla="*/ 207643 h 476105"/>
                <a:gd name="connsiteX35" fmla="*/ 304394 w 606298"/>
                <a:gd name="connsiteY35" fmla="*/ 207643 h 476105"/>
                <a:gd name="connsiteX36" fmla="*/ 304394 w 606298"/>
                <a:gd name="connsiteY36" fmla="*/ 200099 h 476105"/>
                <a:gd name="connsiteX37" fmla="*/ 322185 w 606298"/>
                <a:gd name="connsiteY37" fmla="*/ 182341 h 476105"/>
                <a:gd name="connsiteX38" fmla="*/ 109055 w 606298"/>
                <a:gd name="connsiteY38" fmla="*/ 0 h 476105"/>
                <a:gd name="connsiteX39" fmla="*/ 229540 w 606298"/>
                <a:gd name="connsiteY39" fmla="*/ 0 h 476105"/>
                <a:gd name="connsiteX40" fmla="*/ 247331 w 606298"/>
                <a:gd name="connsiteY40" fmla="*/ 17669 h 476105"/>
                <a:gd name="connsiteX41" fmla="*/ 247331 w 606298"/>
                <a:gd name="connsiteY41" fmla="*/ 25307 h 476105"/>
                <a:gd name="connsiteX42" fmla="*/ 575785 w 606298"/>
                <a:gd name="connsiteY42" fmla="*/ 25307 h 476105"/>
                <a:gd name="connsiteX43" fmla="*/ 606298 w 606298"/>
                <a:gd name="connsiteY43" fmla="*/ 55676 h 476105"/>
                <a:gd name="connsiteX44" fmla="*/ 575785 w 606298"/>
                <a:gd name="connsiteY44" fmla="*/ 86045 h 476105"/>
                <a:gd name="connsiteX45" fmla="*/ 247331 w 606298"/>
                <a:gd name="connsiteY45" fmla="*/ 86045 h 476105"/>
                <a:gd name="connsiteX46" fmla="*/ 247331 w 606298"/>
                <a:gd name="connsiteY46" fmla="*/ 93683 h 476105"/>
                <a:gd name="connsiteX47" fmla="*/ 229540 w 606298"/>
                <a:gd name="connsiteY47" fmla="*/ 111352 h 476105"/>
                <a:gd name="connsiteX48" fmla="*/ 109055 w 606298"/>
                <a:gd name="connsiteY48" fmla="*/ 111352 h 476105"/>
                <a:gd name="connsiteX49" fmla="*/ 91355 w 606298"/>
                <a:gd name="connsiteY49" fmla="*/ 93683 h 476105"/>
                <a:gd name="connsiteX50" fmla="*/ 91355 w 606298"/>
                <a:gd name="connsiteY50" fmla="*/ 86045 h 476105"/>
                <a:gd name="connsiteX51" fmla="*/ 30421 w 606298"/>
                <a:gd name="connsiteY51" fmla="*/ 86045 h 476105"/>
                <a:gd name="connsiteX52" fmla="*/ 0 w 606298"/>
                <a:gd name="connsiteY52" fmla="*/ 55676 h 476105"/>
                <a:gd name="connsiteX53" fmla="*/ 30421 w 606298"/>
                <a:gd name="connsiteY53" fmla="*/ 25307 h 476105"/>
                <a:gd name="connsiteX54" fmla="*/ 91355 w 606298"/>
                <a:gd name="connsiteY54" fmla="*/ 25307 h 476105"/>
                <a:gd name="connsiteX55" fmla="*/ 91355 w 606298"/>
                <a:gd name="connsiteY55" fmla="*/ 17669 h 476105"/>
                <a:gd name="connsiteX56" fmla="*/ 109055 w 606298"/>
                <a:gd name="connsiteY56" fmla="*/ 0 h 476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06298" h="476105">
                  <a:moveTo>
                    <a:pt x="187043" y="364682"/>
                  </a:moveTo>
                  <a:lnTo>
                    <a:pt x="307528" y="364682"/>
                  </a:lnTo>
                  <a:cubicBezTo>
                    <a:pt x="317392" y="364682"/>
                    <a:pt x="325320" y="372595"/>
                    <a:pt x="325320" y="382440"/>
                  </a:cubicBezTo>
                  <a:lnTo>
                    <a:pt x="325320" y="389984"/>
                  </a:lnTo>
                  <a:lnTo>
                    <a:pt x="575785" y="389984"/>
                  </a:lnTo>
                  <a:cubicBezTo>
                    <a:pt x="592655" y="389984"/>
                    <a:pt x="606298" y="403602"/>
                    <a:pt x="606298" y="420440"/>
                  </a:cubicBezTo>
                  <a:cubicBezTo>
                    <a:pt x="606298" y="437185"/>
                    <a:pt x="592655" y="450803"/>
                    <a:pt x="575785" y="450803"/>
                  </a:cubicBezTo>
                  <a:lnTo>
                    <a:pt x="325320" y="450803"/>
                  </a:lnTo>
                  <a:lnTo>
                    <a:pt x="325320" y="458347"/>
                  </a:lnTo>
                  <a:cubicBezTo>
                    <a:pt x="325320" y="468192"/>
                    <a:pt x="317392" y="476105"/>
                    <a:pt x="307528" y="476105"/>
                  </a:cubicBezTo>
                  <a:lnTo>
                    <a:pt x="187043" y="476105"/>
                  </a:lnTo>
                  <a:cubicBezTo>
                    <a:pt x="177271" y="476105"/>
                    <a:pt x="169343" y="468192"/>
                    <a:pt x="169343" y="458347"/>
                  </a:cubicBezTo>
                  <a:lnTo>
                    <a:pt x="169343" y="450803"/>
                  </a:lnTo>
                  <a:lnTo>
                    <a:pt x="30421" y="450803"/>
                  </a:lnTo>
                  <a:cubicBezTo>
                    <a:pt x="13644" y="450803"/>
                    <a:pt x="0" y="437185"/>
                    <a:pt x="0" y="420440"/>
                  </a:cubicBezTo>
                  <a:cubicBezTo>
                    <a:pt x="0" y="403602"/>
                    <a:pt x="13644" y="389984"/>
                    <a:pt x="30421" y="389984"/>
                  </a:cubicBezTo>
                  <a:lnTo>
                    <a:pt x="169343" y="389984"/>
                  </a:lnTo>
                  <a:lnTo>
                    <a:pt x="169343" y="382440"/>
                  </a:lnTo>
                  <a:cubicBezTo>
                    <a:pt x="169343" y="372595"/>
                    <a:pt x="177271" y="364682"/>
                    <a:pt x="187043" y="364682"/>
                  </a:cubicBezTo>
                  <a:close/>
                  <a:moveTo>
                    <a:pt x="322185" y="182341"/>
                  </a:moveTo>
                  <a:lnTo>
                    <a:pt x="442671" y="182341"/>
                  </a:lnTo>
                  <a:cubicBezTo>
                    <a:pt x="452442" y="182341"/>
                    <a:pt x="460370" y="190254"/>
                    <a:pt x="460370" y="200099"/>
                  </a:cubicBezTo>
                  <a:lnTo>
                    <a:pt x="460370" y="207643"/>
                  </a:lnTo>
                  <a:lnTo>
                    <a:pt x="575785" y="207643"/>
                  </a:lnTo>
                  <a:cubicBezTo>
                    <a:pt x="592655" y="207643"/>
                    <a:pt x="606298" y="221261"/>
                    <a:pt x="606298" y="238006"/>
                  </a:cubicBezTo>
                  <a:cubicBezTo>
                    <a:pt x="606298" y="254844"/>
                    <a:pt x="592655" y="268369"/>
                    <a:pt x="575785" y="268369"/>
                  </a:cubicBezTo>
                  <a:lnTo>
                    <a:pt x="460370" y="268369"/>
                  </a:lnTo>
                  <a:lnTo>
                    <a:pt x="460370" y="276006"/>
                  </a:lnTo>
                  <a:cubicBezTo>
                    <a:pt x="460370" y="285759"/>
                    <a:pt x="452442" y="293764"/>
                    <a:pt x="442671" y="293764"/>
                  </a:cubicBezTo>
                  <a:lnTo>
                    <a:pt x="322185" y="293764"/>
                  </a:lnTo>
                  <a:cubicBezTo>
                    <a:pt x="312322" y="293764"/>
                    <a:pt x="304394" y="285759"/>
                    <a:pt x="304394" y="276006"/>
                  </a:cubicBezTo>
                  <a:lnTo>
                    <a:pt x="304394" y="268369"/>
                  </a:lnTo>
                  <a:lnTo>
                    <a:pt x="30421" y="268369"/>
                  </a:lnTo>
                  <a:cubicBezTo>
                    <a:pt x="13644" y="268369"/>
                    <a:pt x="0" y="254844"/>
                    <a:pt x="0" y="238006"/>
                  </a:cubicBezTo>
                  <a:cubicBezTo>
                    <a:pt x="0" y="221261"/>
                    <a:pt x="13644" y="207643"/>
                    <a:pt x="30421" y="207643"/>
                  </a:cubicBezTo>
                  <a:lnTo>
                    <a:pt x="304394" y="207643"/>
                  </a:lnTo>
                  <a:lnTo>
                    <a:pt x="304394" y="200099"/>
                  </a:lnTo>
                  <a:cubicBezTo>
                    <a:pt x="304394" y="190254"/>
                    <a:pt x="312322" y="182341"/>
                    <a:pt x="322185" y="182341"/>
                  </a:cubicBezTo>
                  <a:close/>
                  <a:moveTo>
                    <a:pt x="109055" y="0"/>
                  </a:moveTo>
                  <a:lnTo>
                    <a:pt x="229540" y="0"/>
                  </a:lnTo>
                  <a:cubicBezTo>
                    <a:pt x="239404" y="0"/>
                    <a:pt x="247331" y="7914"/>
                    <a:pt x="247331" y="17669"/>
                  </a:cubicBezTo>
                  <a:lnTo>
                    <a:pt x="247331" y="25307"/>
                  </a:lnTo>
                  <a:lnTo>
                    <a:pt x="575785" y="25307"/>
                  </a:lnTo>
                  <a:cubicBezTo>
                    <a:pt x="592655" y="25307"/>
                    <a:pt x="606298" y="38927"/>
                    <a:pt x="606298" y="55676"/>
                  </a:cubicBezTo>
                  <a:cubicBezTo>
                    <a:pt x="606298" y="72425"/>
                    <a:pt x="592655" y="86045"/>
                    <a:pt x="575785" y="86045"/>
                  </a:cubicBezTo>
                  <a:lnTo>
                    <a:pt x="247331" y="86045"/>
                  </a:lnTo>
                  <a:lnTo>
                    <a:pt x="247331" y="93683"/>
                  </a:lnTo>
                  <a:cubicBezTo>
                    <a:pt x="247331" y="103438"/>
                    <a:pt x="239404" y="111352"/>
                    <a:pt x="229540" y="111352"/>
                  </a:cubicBezTo>
                  <a:lnTo>
                    <a:pt x="109055" y="111352"/>
                  </a:lnTo>
                  <a:cubicBezTo>
                    <a:pt x="99283" y="111352"/>
                    <a:pt x="91355" y="103438"/>
                    <a:pt x="91355" y="93683"/>
                  </a:cubicBezTo>
                  <a:lnTo>
                    <a:pt x="91355" y="86045"/>
                  </a:lnTo>
                  <a:lnTo>
                    <a:pt x="30421" y="86045"/>
                  </a:lnTo>
                  <a:cubicBezTo>
                    <a:pt x="13644" y="86045"/>
                    <a:pt x="0" y="72425"/>
                    <a:pt x="0" y="55676"/>
                  </a:cubicBezTo>
                  <a:cubicBezTo>
                    <a:pt x="0" y="38927"/>
                    <a:pt x="13644" y="25307"/>
                    <a:pt x="30421" y="25307"/>
                  </a:cubicBezTo>
                  <a:lnTo>
                    <a:pt x="91355" y="25307"/>
                  </a:lnTo>
                  <a:lnTo>
                    <a:pt x="91355" y="17669"/>
                  </a:lnTo>
                  <a:cubicBezTo>
                    <a:pt x="91355" y="7914"/>
                    <a:pt x="99283" y="0"/>
                    <a:pt x="10905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38" name="组合 37"/>
          <p:cNvGrpSpPr/>
          <p:nvPr/>
        </p:nvGrpSpPr>
        <p:grpSpPr>
          <a:xfrm>
            <a:off x="964571" y="3378390"/>
            <a:ext cx="654051" cy="654051"/>
            <a:chOff x="1121996" y="1976559"/>
            <a:chExt cx="1589454" cy="1589454"/>
          </a:xfrm>
          <a:gradFill>
            <a:gsLst>
              <a:gs pos="0">
                <a:srgbClr val="007BD3"/>
              </a:gs>
              <a:gs pos="0">
                <a:srgbClr val="034373">
                  <a:alpha val="80000"/>
                </a:srgbClr>
              </a:gs>
            </a:gsLst>
            <a:lin ang="0" scaled="0"/>
          </a:gradFill>
        </p:grpSpPr>
        <p:sp>
          <p:nvSpPr>
            <p:cNvPr id="39" name="椭圆 38"/>
            <p:cNvSpPr/>
            <p:nvPr/>
          </p:nvSpPr>
          <p:spPr>
            <a:xfrm>
              <a:off x="1121996" y="1976559"/>
              <a:ext cx="1589454" cy="1589454"/>
            </a:xfrm>
            <a:prstGeom prst="ellipse">
              <a:avLst/>
            </a:prstGeom>
            <a:grpFill/>
            <a:ln w="57150">
              <a:noFill/>
            </a:ln>
            <a:effectLst>
              <a:outerShdw blurRad="254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0" name="椭圆 10"/>
            <p:cNvSpPr/>
            <p:nvPr/>
          </p:nvSpPr>
          <p:spPr>
            <a:xfrm>
              <a:off x="1477108" y="2355849"/>
              <a:ext cx="879230" cy="830872"/>
            </a:xfrm>
            <a:custGeom>
              <a:avLst/>
              <a:gdLst>
                <a:gd name="connsiteX0" fmla="*/ 60731 w 601262"/>
                <a:gd name="connsiteY0" fmla="*/ 323331 h 568193"/>
                <a:gd name="connsiteX1" fmla="*/ 60731 w 601262"/>
                <a:gd name="connsiteY1" fmla="*/ 378099 h 568193"/>
                <a:gd name="connsiteX2" fmla="*/ 55619 w 601262"/>
                <a:gd name="connsiteY2" fmla="*/ 441458 h 568193"/>
                <a:gd name="connsiteX3" fmla="*/ 34904 w 601262"/>
                <a:gd name="connsiteY3" fmla="*/ 406020 h 568193"/>
                <a:gd name="connsiteX4" fmla="*/ 34904 w 601262"/>
                <a:gd name="connsiteY4" fmla="*/ 355816 h 568193"/>
                <a:gd name="connsiteX5" fmla="*/ 59924 w 601262"/>
                <a:gd name="connsiteY5" fmla="*/ 327895 h 568193"/>
                <a:gd name="connsiteX6" fmla="*/ 296871 w 601262"/>
                <a:gd name="connsiteY6" fmla="*/ 317968 h 568193"/>
                <a:gd name="connsiteX7" fmla="*/ 436676 w 601262"/>
                <a:gd name="connsiteY7" fmla="*/ 317968 h 568193"/>
                <a:gd name="connsiteX8" fmla="*/ 447430 w 601262"/>
                <a:gd name="connsiteY8" fmla="*/ 328969 h 568193"/>
                <a:gd name="connsiteX9" fmla="*/ 436676 w 601262"/>
                <a:gd name="connsiteY9" fmla="*/ 339702 h 568193"/>
                <a:gd name="connsiteX10" fmla="*/ 296871 w 601262"/>
                <a:gd name="connsiteY10" fmla="*/ 339702 h 568193"/>
                <a:gd name="connsiteX11" fmla="*/ 286117 w 601262"/>
                <a:gd name="connsiteY11" fmla="*/ 328969 h 568193"/>
                <a:gd name="connsiteX12" fmla="*/ 296871 w 601262"/>
                <a:gd name="connsiteY12" fmla="*/ 317968 h 568193"/>
                <a:gd name="connsiteX13" fmla="*/ 296872 w 601262"/>
                <a:gd name="connsiteY13" fmla="*/ 268784 h 568193"/>
                <a:gd name="connsiteX14" fmla="*/ 535622 w 601262"/>
                <a:gd name="connsiteY14" fmla="*/ 268784 h 568193"/>
                <a:gd name="connsiteX15" fmla="*/ 546645 w 601262"/>
                <a:gd name="connsiteY15" fmla="*/ 279545 h 568193"/>
                <a:gd name="connsiteX16" fmla="*/ 535622 w 601262"/>
                <a:gd name="connsiteY16" fmla="*/ 290306 h 568193"/>
                <a:gd name="connsiteX17" fmla="*/ 296872 w 601262"/>
                <a:gd name="connsiteY17" fmla="*/ 290306 h 568193"/>
                <a:gd name="connsiteX18" fmla="*/ 286117 w 601262"/>
                <a:gd name="connsiteY18" fmla="*/ 279545 h 568193"/>
                <a:gd name="connsiteX19" fmla="*/ 296872 w 601262"/>
                <a:gd name="connsiteY19" fmla="*/ 268784 h 568193"/>
                <a:gd name="connsiteX20" fmla="*/ 296872 w 601262"/>
                <a:gd name="connsiteY20" fmla="*/ 219388 h 568193"/>
                <a:gd name="connsiteX21" fmla="*/ 535622 w 601262"/>
                <a:gd name="connsiteY21" fmla="*/ 219388 h 568193"/>
                <a:gd name="connsiteX22" fmla="*/ 546645 w 601262"/>
                <a:gd name="connsiteY22" fmla="*/ 230389 h 568193"/>
                <a:gd name="connsiteX23" fmla="*/ 535622 w 601262"/>
                <a:gd name="connsiteY23" fmla="*/ 241122 h 568193"/>
                <a:gd name="connsiteX24" fmla="*/ 296872 w 601262"/>
                <a:gd name="connsiteY24" fmla="*/ 241122 h 568193"/>
                <a:gd name="connsiteX25" fmla="*/ 286117 w 601262"/>
                <a:gd name="connsiteY25" fmla="*/ 230389 h 568193"/>
                <a:gd name="connsiteX26" fmla="*/ 296872 w 601262"/>
                <a:gd name="connsiteY26" fmla="*/ 219388 h 568193"/>
                <a:gd name="connsiteX27" fmla="*/ 135266 w 601262"/>
                <a:gd name="connsiteY27" fmla="*/ 124619 h 568193"/>
                <a:gd name="connsiteX28" fmla="*/ 140375 w 601262"/>
                <a:gd name="connsiteY28" fmla="*/ 135091 h 568193"/>
                <a:gd name="connsiteX29" fmla="*/ 125854 w 601262"/>
                <a:gd name="connsiteY29" fmla="*/ 248669 h 568193"/>
                <a:gd name="connsiteX30" fmla="*/ 143333 w 601262"/>
                <a:gd name="connsiteY30" fmla="*/ 278742 h 568193"/>
                <a:gd name="connsiteX31" fmla="*/ 160542 w 601262"/>
                <a:gd name="connsiteY31" fmla="*/ 248669 h 568193"/>
                <a:gd name="connsiteX32" fmla="*/ 146022 w 601262"/>
                <a:gd name="connsiteY32" fmla="*/ 135091 h 568193"/>
                <a:gd name="connsiteX33" fmla="*/ 151131 w 601262"/>
                <a:gd name="connsiteY33" fmla="*/ 124888 h 568193"/>
                <a:gd name="connsiteX34" fmla="*/ 233684 w 601262"/>
                <a:gd name="connsiteY34" fmla="*/ 141804 h 568193"/>
                <a:gd name="connsiteX35" fmla="*/ 334253 w 601262"/>
                <a:gd name="connsiteY35" fmla="*/ 141804 h 568193"/>
                <a:gd name="connsiteX36" fmla="*/ 355765 w 601262"/>
                <a:gd name="connsiteY36" fmla="*/ 163553 h 568193"/>
                <a:gd name="connsiteX37" fmla="*/ 334253 w 601262"/>
                <a:gd name="connsiteY37" fmla="*/ 185033 h 568193"/>
                <a:gd name="connsiteX38" fmla="*/ 229919 w 601262"/>
                <a:gd name="connsiteY38" fmla="*/ 185033 h 568193"/>
                <a:gd name="connsiteX39" fmla="*/ 222659 w 601262"/>
                <a:gd name="connsiteY39" fmla="*/ 183691 h 568193"/>
                <a:gd name="connsiteX40" fmla="*/ 203836 w 601262"/>
                <a:gd name="connsiteY40" fmla="*/ 178052 h 568193"/>
                <a:gd name="connsiteX41" fmla="*/ 203836 w 601262"/>
                <a:gd name="connsiteY41" fmla="*/ 325731 h 568193"/>
                <a:gd name="connsiteX42" fmla="*/ 221045 w 601262"/>
                <a:gd name="connsiteY42" fmla="*/ 540268 h 568193"/>
                <a:gd name="connsiteX43" fmla="*/ 197382 w 601262"/>
                <a:gd name="connsiteY43" fmla="*/ 568193 h 568193"/>
                <a:gd name="connsiteX44" fmla="*/ 195231 w 601262"/>
                <a:gd name="connsiteY44" fmla="*/ 568193 h 568193"/>
                <a:gd name="connsiteX45" fmla="*/ 169416 w 601262"/>
                <a:gd name="connsiteY45" fmla="*/ 544296 h 568193"/>
                <a:gd name="connsiteX46" fmla="*/ 153820 w 601262"/>
                <a:gd name="connsiteY46" fmla="*/ 350702 h 568193"/>
                <a:gd name="connsiteX47" fmla="*/ 143064 w 601262"/>
                <a:gd name="connsiteY47" fmla="*/ 352850 h 568193"/>
                <a:gd name="connsiteX48" fmla="*/ 132577 w 601262"/>
                <a:gd name="connsiteY48" fmla="*/ 350702 h 568193"/>
                <a:gd name="connsiteX49" fmla="*/ 116980 w 601262"/>
                <a:gd name="connsiteY49" fmla="*/ 544296 h 568193"/>
                <a:gd name="connsiteX50" fmla="*/ 91166 w 601262"/>
                <a:gd name="connsiteY50" fmla="*/ 568193 h 568193"/>
                <a:gd name="connsiteX51" fmla="*/ 89015 w 601262"/>
                <a:gd name="connsiteY51" fmla="*/ 568193 h 568193"/>
                <a:gd name="connsiteX52" fmla="*/ 65082 w 601262"/>
                <a:gd name="connsiteY52" fmla="*/ 540268 h 568193"/>
                <a:gd name="connsiteX53" fmla="*/ 82561 w 601262"/>
                <a:gd name="connsiteY53" fmla="*/ 325731 h 568193"/>
                <a:gd name="connsiteX54" fmla="*/ 82561 w 601262"/>
                <a:gd name="connsiteY54" fmla="*/ 178052 h 568193"/>
                <a:gd name="connsiteX55" fmla="*/ 75032 w 601262"/>
                <a:gd name="connsiteY55" fmla="*/ 180200 h 568193"/>
                <a:gd name="connsiteX56" fmla="*/ 43032 w 601262"/>
                <a:gd name="connsiteY56" fmla="*/ 324120 h 568193"/>
                <a:gd name="connsiteX57" fmla="*/ 21789 w 601262"/>
                <a:gd name="connsiteY57" fmla="*/ 341036 h 568193"/>
                <a:gd name="connsiteX58" fmla="*/ 16949 w 601262"/>
                <a:gd name="connsiteY58" fmla="*/ 340499 h 568193"/>
                <a:gd name="connsiteX59" fmla="*/ 546 w 601262"/>
                <a:gd name="connsiteY59" fmla="*/ 314722 h 568193"/>
                <a:gd name="connsiteX60" fmla="*/ 35234 w 601262"/>
                <a:gd name="connsiteY60" fmla="*/ 158720 h 568193"/>
                <a:gd name="connsiteX61" fmla="*/ 36310 w 601262"/>
                <a:gd name="connsiteY61" fmla="*/ 156571 h 568193"/>
                <a:gd name="connsiteX62" fmla="*/ 37923 w 601262"/>
                <a:gd name="connsiteY62" fmla="*/ 152544 h 568193"/>
                <a:gd name="connsiteX63" fmla="*/ 40343 w 601262"/>
                <a:gd name="connsiteY63" fmla="*/ 149322 h 568193"/>
                <a:gd name="connsiteX64" fmla="*/ 43301 w 601262"/>
                <a:gd name="connsiteY64" fmla="*/ 146637 h 568193"/>
                <a:gd name="connsiteX65" fmla="*/ 47066 w 601262"/>
                <a:gd name="connsiteY65" fmla="*/ 144220 h 568193"/>
                <a:gd name="connsiteX66" fmla="*/ 48948 w 601262"/>
                <a:gd name="connsiteY66" fmla="*/ 143146 h 568193"/>
                <a:gd name="connsiteX67" fmla="*/ 135266 w 601262"/>
                <a:gd name="connsiteY67" fmla="*/ 124619 h 568193"/>
                <a:gd name="connsiteX68" fmla="*/ 212154 w 601262"/>
                <a:gd name="connsiteY68" fmla="*/ 76281 h 568193"/>
                <a:gd name="connsiteX69" fmla="*/ 560657 w 601262"/>
                <a:gd name="connsiteY69" fmla="*/ 76281 h 568193"/>
                <a:gd name="connsiteX70" fmla="*/ 601262 w 601262"/>
                <a:gd name="connsiteY70" fmla="*/ 116824 h 568193"/>
                <a:gd name="connsiteX71" fmla="*/ 601262 w 601262"/>
                <a:gd name="connsiteY71" fmla="*/ 405995 h 568193"/>
                <a:gd name="connsiteX72" fmla="*/ 560657 w 601262"/>
                <a:gd name="connsiteY72" fmla="*/ 446538 h 568193"/>
                <a:gd name="connsiteX73" fmla="*/ 230977 w 601262"/>
                <a:gd name="connsiteY73" fmla="*/ 446538 h 568193"/>
                <a:gd name="connsiteX74" fmla="*/ 229095 w 601262"/>
                <a:gd name="connsiteY74" fmla="*/ 420762 h 568193"/>
                <a:gd name="connsiteX75" fmla="*/ 560657 w 601262"/>
                <a:gd name="connsiteY75" fmla="*/ 420762 h 568193"/>
                <a:gd name="connsiteX76" fmla="*/ 575178 w 601262"/>
                <a:gd name="connsiteY76" fmla="*/ 405995 h 568193"/>
                <a:gd name="connsiteX77" fmla="*/ 575178 w 601262"/>
                <a:gd name="connsiteY77" fmla="*/ 116824 h 568193"/>
                <a:gd name="connsiteX78" fmla="*/ 560657 w 601262"/>
                <a:gd name="connsiteY78" fmla="*/ 102325 h 568193"/>
                <a:gd name="connsiteX79" fmla="*/ 200591 w 601262"/>
                <a:gd name="connsiteY79" fmla="*/ 102325 h 568193"/>
                <a:gd name="connsiteX80" fmla="*/ 212154 w 601262"/>
                <a:gd name="connsiteY80" fmla="*/ 76281 h 568193"/>
                <a:gd name="connsiteX81" fmla="*/ 74476 w 601262"/>
                <a:gd name="connsiteY81" fmla="*/ 76281 h 568193"/>
                <a:gd name="connsiteX82" fmla="*/ 85782 w 601262"/>
                <a:gd name="connsiteY82" fmla="*/ 102331 h 568193"/>
                <a:gd name="connsiteX83" fmla="*/ 75553 w 601262"/>
                <a:gd name="connsiteY83" fmla="*/ 102331 h 568193"/>
                <a:gd name="connsiteX84" fmla="*/ 60747 w 601262"/>
                <a:gd name="connsiteY84" fmla="*/ 116833 h 568193"/>
                <a:gd name="connsiteX85" fmla="*/ 60747 w 601262"/>
                <a:gd name="connsiteY85" fmla="*/ 121130 h 568193"/>
                <a:gd name="connsiteX86" fmla="*/ 42980 w 601262"/>
                <a:gd name="connsiteY86" fmla="*/ 126770 h 568193"/>
                <a:gd name="connsiteX87" fmla="*/ 38404 w 601262"/>
                <a:gd name="connsiteY87" fmla="*/ 129187 h 568193"/>
                <a:gd name="connsiteX88" fmla="*/ 34904 w 601262"/>
                <a:gd name="connsiteY88" fmla="*/ 131604 h 568193"/>
                <a:gd name="connsiteX89" fmla="*/ 34904 w 601262"/>
                <a:gd name="connsiteY89" fmla="*/ 116833 h 568193"/>
                <a:gd name="connsiteX90" fmla="*/ 74476 w 601262"/>
                <a:gd name="connsiteY90" fmla="*/ 76281 h 568193"/>
                <a:gd name="connsiteX91" fmla="*/ 143293 w 601262"/>
                <a:gd name="connsiteY91" fmla="*/ 0 h 568193"/>
                <a:gd name="connsiteX92" fmla="*/ 198123 w 601262"/>
                <a:gd name="connsiteY92" fmla="*/ 60016 h 568193"/>
                <a:gd name="connsiteX93" fmla="*/ 143293 w 601262"/>
                <a:gd name="connsiteY93" fmla="*/ 120032 h 568193"/>
                <a:gd name="connsiteX94" fmla="*/ 88463 w 601262"/>
                <a:gd name="connsiteY94" fmla="*/ 60016 h 568193"/>
                <a:gd name="connsiteX95" fmla="*/ 143293 w 601262"/>
                <a:gd name="connsiteY95" fmla="*/ 0 h 56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601262" h="568193">
                  <a:moveTo>
                    <a:pt x="60731" y="323331"/>
                  </a:moveTo>
                  <a:lnTo>
                    <a:pt x="60731" y="378099"/>
                  </a:lnTo>
                  <a:lnTo>
                    <a:pt x="55619" y="441458"/>
                  </a:lnTo>
                  <a:cubicBezTo>
                    <a:pt x="43244" y="434478"/>
                    <a:pt x="34904" y="421323"/>
                    <a:pt x="34904" y="406020"/>
                  </a:cubicBezTo>
                  <a:lnTo>
                    <a:pt x="34904" y="355816"/>
                  </a:lnTo>
                  <a:cubicBezTo>
                    <a:pt x="47010" y="351252"/>
                    <a:pt x="56965" y="341050"/>
                    <a:pt x="59924" y="327895"/>
                  </a:cubicBezTo>
                  <a:close/>
                  <a:moveTo>
                    <a:pt x="296871" y="317968"/>
                  </a:moveTo>
                  <a:lnTo>
                    <a:pt x="436676" y="317968"/>
                  </a:lnTo>
                  <a:cubicBezTo>
                    <a:pt x="442591" y="317968"/>
                    <a:pt x="447430" y="322798"/>
                    <a:pt x="447430" y="328969"/>
                  </a:cubicBezTo>
                  <a:cubicBezTo>
                    <a:pt x="447430" y="334872"/>
                    <a:pt x="442591" y="339702"/>
                    <a:pt x="436676" y="339702"/>
                  </a:cubicBezTo>
                  <a:lnTo>
                    <a:pt x="296871" y="339702"/>
                  </a:lnTo>
                  <a:cubicBezTo>
                    <a:pt x="290956" y="339702"/>
                    <a:pt x="286117" y="334872"/>
                    <a:pt x="286117" y="328969"/>
                  </a:cubicBezTo>
                  <a:cubicBezTo>
                    <a:pt x="286117" y="322798"/>
                    <a:pt x="290956" y="317968"/>
                    <a:pt x="296871" y="317968"/>
                  </a:cubicBezTo>
                  <a:close/>
                  <a:moveTo>
                    <a:pt x="296872" y="268784"/>
                  </a:moveTo>
                  <a:lnTo>
                    <a:pt x="535622" y="268784"/>
                  </a:lnTo>
                  <a:cubicBezTo>
                    <a:pt x="541805" y="268784"/>
                    <a:pt x="546645" y="273627"/>
                    <a:pt x="546645" y="279545"/>
                  </a:cubicBezTo>
                  <a:cubicBezTo>
                    <a:pt x="546645" y="285464"/>
                    <a:pt x="541805" y="290306"/>
                    <a:pt x="535622" y="290306"/>
                  </a:cubicBezTo>
                  <a:lnTo>
                    <a:pt x="296872" y="290306"/>
                  </a:lnTo>
                  <a:cubicBezTo>
                    <a:pt x="290957" y="290306"/>
                    <a:pt x="286117" y="285464"/>
                    <a:pt x="286117" y="279545"/>
                  </a:cubicBezTo>
                  <a:cubicBezTo>
                    <a:pt x="286117" y="273627"/>
                    <a:pt x="290957" y="268784"/>
                    <a:pt x="296872" y="268784"/>
                  </a:cubicBezTo>
                  <a:close/>
                  <a:moveTo>
                    <a:pt x="296872" y="219388"/>
                  </a:moveTo>
                  <a:lnTo>
                    <a:pt x="535622" y="219388"/>
                  </a:lnTo>
                  <a:cubicBezTo>
                    <a:pt x="541805" y="219388"/>
                    <a:pt x="546645" y="224218"/>
                    <a:pt x="546645" y="230389"/>
                  </a:cubicBezTo>
                  <a:cubicBezTo>
                    <a:pt x="546645" y="236292"/>
                    <a:pt x="541805" y="241122"/>
                    <a:pt x="535622" y="241122"/>
                  </a:cubicBezTo>
                  <a:lnTo>
                    <a:pt x="296872" y="241122"/>
                  </a:lnTo>
                  <a:cubicBezTo>
                    <a:pt x="290957" y="241122"/>
                    <a:pt x="286117" y="236292"/>
                    <a:pt x="286117" y="230389"/>
                  </a:cubicBezTo>
                  <a:cubicBezTo>
                    <a:pt x="286117" y="224218"/>
                    <a:pt x="290957" y="219388"/>
                    <a:pt x="296872" y="219388"/>
                  </a:cubicBezTo>
                  <a:close/>
                  <a:moveTo>
                    <a:pt x="135266" y="124619"/>
                  </a:moveTo>
                  <a:lnTo>
                    <a:pt x="140375" y="135091"/>
                  </a:lnTo>
                  <a:lnTo>
                    <a:pt x="125854" y="248669"/>
                  </a:lnTo>
                  <a:lnTo>
                    <a:pt x="143333" y="278742"/>
                  </a:lnTo>
                  <a:lnTo>
                    <a:pt x="160542" y="248669"/>
                  </a:lnTo>
                  <a:lnTo>
                    <a:pt x="146022" y="135091"/>
                  </a:lnTo>
                  <a:lnTo>
                    <a:pt x="151131" y="124888"/>
                  </a:lnTo>
                  <a:cubicBezTo>
                    <a:pt x="185281" y="126499"/>
                    <a:pt x="222121" y="137776"/>
                    <a:pt x="233684" y="141804"/>
                  </a:cubicBezTo>
                  <a:lnTo>
                    <a:pt x="334253" y="141804"/>
                  </a:lnTo>
                  <a:cubicBezTo>
                    <a:pt x="346085" y="141804"/>
                    <a:pt x="355765" y="151470"/>
                    <a:pt x="355765" y="163553"/>
                  </a:cubicBezTo>
                  <a:cubicBezTo>
                    <a:pt x="355765" y="175367"/>
                    <a:pt x="346085" y="185033"/>
                    <a:pt x="334253" y="185033"/>
                  </a:cubicBezTo>
                  <a:lnTo>
                    <a:pt x="229919" y="185033"/>
                  </a:lnTo>
                  <a:cubicBezTo>
                    <a:pt x="227499" y="185033"/>
                    <a:pt x="225079" y="184765"/>
                    <a:pt x="222659" y="183691"/>
                  </a:cubicBezTo>
                  <a:cubicBezTo>
                    <a:pt x="222390" y="183691"/>
                    <a:pt x="214861" y="181006"/>
                    <a:pt x="203836" y="178052"/>
                  </a:cubicBezTo>
                  <a:lnTo>
                    <a:pt x="203836" y="325731"/>
                  </a:lnTo>
                  <a:lnTo>
                    <a:pt x="221045" y="540268"/>
                  </a:lnTo>
                  <a:cubicBezTo>
                    <a:pt x="222390" y="554499"/>
                    <a:pt x="211634" y="567119"/>
                    <a:pt x="197382" y="568193"/>
                  </a:cubicBezTo>
                  <a:cubicBezTo>
                    <a:pt x="196575" y="568193"/>
                    <a:pt x="195769" y="568193"/>
                    <a:pt x="195231" y="568193"/>
                  </a:cubicBezTo>
                  <a:cubicBezTo>
                    <a:pt x="181786" y="568193"/>
                    <a:pt x="170492" y="557990"/>
                    <a:pt x="169416" y="544296"/>
                  </a:cubicBezTo>
                  <a:lnTo>
                    <a:pt x="153820" y="350702"/>
                  </a:lnTo>
                  <a:cubicBezTo>
                    <a:pt x="150593" y="352045"/>
                    <a:pt x="146828" y="352850"/>
                    <a:pt x="143064" y="352850"/>
                  </a:cubicBezTo>
                  <a:cubicBezTo>
                    <a:pt x="139568" y="352850"/>
                    <a:pt x="135804" y="352045"/>
                    <a:pt x="132577" y="350702"/>
                  </a:cubicBezTo>
                  <a:lnTo>
                    <a:pt x="116980" y="544296"/>
                  </a:lnTo>
                  <a:cubicBezTo>
                    <a:pt x="115905" y="557990"/>
                    <a:pt x="104611" y="568193"/>
                    <a:pt x="91166" y="568193"/>
                  </a:cubicBezTo>
                  <a:cubicBezTo>
                    <a:pt x="90359" y="568193"/>
                    <a:pt x="89821" y="568193"/>
                    <a:pt x="89015" y="568193"/>
                  </a:cubicBezTo>
                  <a:cubicBezTo>
                    <a:pt x="74763" y="567119"/>
                    <a:pt x="64007" y="554499"/>
                    <a:pt x="65082" y="540268"/>
                  </a:cubicBezTo>
                  <a:lnTo>
                    <a:pt x="82561" y="325731"/>
                  </a:lnTo>
                  <a:lnTo>
                    <a:pt x="82561" y="178052"/>
                  </a:lnTo>
                  <a:cubicBezTo>
                    <a:pt x="79603" y="178589"/>
                    <a:pt x="77183" y="179395"/>
                    <a:pt x="75032" y="180200"/>
                  </a:cubicBezTo>
                  <a:lnTo>
                    <a:pt x="43032" y="324120"/>
                  </a:lnTo>
                  <a:cubicBezTo>
                    <a:pt x="40612" y="334055"/>
                    <a:pt x="31739" y="341036"/>
                    <a:pt x="21789" y="341036"/>
                  </a:cubicBezTo>
                  <a:cubicBezTo>
                    <a:pt x="20176" y="341036"/>
                    <a:pt x="18562" y="340767"/>
                    <a:pt x="16949" y="340499"/>
                  </a:cubicBezTo>
                  <a:cubicBezTo>
                    <a:pt x="5386" y="337814"/>
                    <a:pt x="-2143" y="326268"/>
                    <a:pt x="546" y="314722"/>
                  </a:cubicBezTo>
                  <a:lnTo>
                    <a:pt x="35234" y="158720"/>
                  </a:lnTo>
                  <a:cubicBezTo>
                    <a:pt x="35503" y="157914"/>
                    <a:pt x="36041" y="157377"/>
                    <a:pt x="36310" y="156571"/>
                  </a:cubicBezTo>
                  <a:cubicBezTo>
                    <a:pt x="36579" y="155229"/>
                    <a:pt x="37386" y="153886"/>
                    <a:pt x="37923" y="152544"/>
                  </a:cubicBezTo>
                  <a:cubicBezTo>
                    <a:pt x="38730" y="151470"/>
                    <a:pt x="39537" y="150396"/>
                    <a:pt x="40343" y="149322"/>
                  </a:cubicBezTo>
                  <a:cubicBezTo>
                    <a:pt x="41419" y="148248"/>
                    <a:pt x="42226" y="147442"/>
                    <a:pt x="43301" y="146637"/>
                  </a:cubicBezTo>
                  <a:cubicBezTo>
                    <a:pt x="44377" y="145563"/>
                    <a:pt x="45721" y="144757"/>
                    <a:pt x="47066" y="144220"/>
                  </a:cubicBezTo>
                  <a:cubicBezTo>
                    <a:pt x="47873" y="143952"/>
                    <a:pt x="48410" y="143415"/>
                    <a:pt x="48948" y="143146"/>
                  </a:cubicBezTo>
                  <a:cubicBezTo>
                    <a:pt x="51100" y="142341"/>
                    <a:pt x="94930" y="126499"/>
                    <a:pt x="135266" y="124619"/>
                  </a:cubicBezTo>
                  <a:close/>
                  <a:moveTo>
                    <a:pt x="212154" y="76281"/>
                  </a:moveTo>
                  <a:lnTo>
                    <a:pt x="560657" y="76281"/>
                  </a:lnTo>
                  <a:cubicBezTo>
                    <a:pt x="582976" y="76281"/>
                    <a:pt x="601262" y="94270"/>
                    <a:pt x="601262" y="116824"/>
                  </a:cubicBezTo>
                  <a:lnTo>
                    <a:pt x="601262" y="405995"/>
                  </a:lnTo>
                  <a:cubicBezTo>
                    <a:pt x="601262" y="428549"/>
                    <a:pt x="582976" y="446538"/>
                    <a:pt x="560657" y="446538"/>
                  </a:cubicBezTo>
                  <a:lnTo>
                    <a:pt x="230977" y="446538"/>
                  </a:lnTo>
                  <a:lnTo>
                    <a:pt x="229095" y="420762"/>
                  </a:lnTo>
                  <a:lnTo>
                    <a:pt x="560657" y="420762"/>
                  </a:lnTo>
                  <a:cubicBezTo>
                    <a:pt x="568724" y="420762"/>
                    <a:pt x="575178" y="414050"/>
                    <a:pt x="575178" y="405995"/>
                  </a:cubicBezTo>
                  <a:lnTo>
                    <a:pt x="575178" y="116824"/>
                  </a:lnTo>
                  <a:cubicBezTo>
                    <a:pt x="575178" y="108769"/>
                    <a:pt x="568724" y="102325"/>
                    <a:pt x="560657" y="102325"/>
                  </a:cubicBezTo>
                  <a:lnTo>
                    <a:pt x="200591" y="102325"/>
                  </a:lnTo>
                  <a:cubicBezTo>
                    <a:pt x="205700" y="94270"/>
                    <a:pt x="209734" y="85410"/>
                    <a:pt x="212154" y="76281"/>
                  </a:cubicBezTo>
                  <a:close/>
                  <a:moveTo>
                    <a:pt x="74476" y="76281"/>
                  </a:moveTo>
                  <a:cubicBezTo>
                    <a:pt x="76899" y="85412"/>
                    <a:pt x="80667" y="94274"/>
                    <a:pt x="85782" y="102331"/>
                  </a:cubicBezTo>
                  <a:lnTo>
                    <a:pt x="75553" y="102331"/>
                  </a:lnTo>
                  <a:cubicBezTo>
                    <a:pt x="67477" y="102331"/>
                    <a:pt x="60747" y="108776"/>
                    <a:pt x="60747" y="116833"/>
                  </a:cubicBezTo>
                  <a:lnTo>
                    <a:pt x="60747" y="121130"/>
                  </a:lnTo>
                  <a:cubicBezTo>
                    <a:pt x="50517" y="124084"/>
                    <a:pt x="43787" y="126502"/>
                    <a:pt x="42980" y="126770"/>
                  </a:cubicBezTo>
                  <a:cubicBezTo>
                    <a:pt x="41096" y="127576"/>
                    <a:pt x="39480" y="128381"/>
                    <a:pt x="38404" y="129187"/>
                  </a:cubicBezTo>
                  <a:cubicBezTo>
                    <a:pt x="37058" y="129993"/>
                    <a:pt x="35981" y="130798"/>
                    <a:pt x="34904" y="131604"/>
                  </a:cubicBezTo>
                  <a:lnTo>
                    <a:pt x="34904" y="116833"/>
                  </a:lnTo>
                  <a:cubicBezTo>
                    <a:pt x="34904" y="94811"/>
                    <a:pt x="52402" y="76818"/>
                    <a:pt x="74476" y="76281"/>
                  </a:cubicBezTo>
                  <a:close/>
                  <a:moveTo>
                    <a:pt x="143293" y="0"/>
                  </a:moveTo>
                  <a:cubicBezTo>
                    <a:pt x="173575" y="0"/>
                    <a:pt x="198123" y="26870"/>
                    <a:pt x="198123" y="60016"/>
                  </a:cubicBezTo>
                  <a:cubicBezTo>
                    <a:pt x="198123" y="93162"/>
                    <a:pt x="173575" y="120032"/>
                    <a:pt x="143293" y="120032"/>
                  </a:cubicBezTo>
                  <a:cubicBezTo>
                    <a:pt x="113011" y="120032"/>
                    <a:pt x="88463" y="93162"/>
                    <a:pt x="88463" y="60016"/>
                  </a:cubicBezTo>
                  <a:cubicBezTo>
                    <a:pt x="88463" y="26870"/>
                    <a:pt x="113011" y="0"/>
                    <a:pt x="14329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41" name="组合 40"/>
          <p:cNvGrpSpPr/>
          <p:nvPr/>
        </p:nvGrpSpPr>
        <p:grpSpPr>
          <a:xfrm>
            <a:off x="964571" y="4639129"/>
            <a:ext cx="654051" cy="654051"/>
            <a:chOff x="1121996" y="1976559"/>
            <a:chExt cx="1589454" cy="1589454"/>
          </a:xfrm>
          <a:gradFill>
            <a:gsLst>
              <a:gs pos="0">
                <a:srgbClr val="007BD3"/>
              </a:gs>
              <a:gs pos="0">
                <a:srgbClr val="034373">
                  <a:alpha val="80000"/>
                </a:srgbClr>
              </a:gs>
            </a:gsLst>
            <a:lin ang="0" scaled="0"/>
          </a:gradFill>
        </p:grpSpPr>
        <p:sp>
          <p:nvSpPr>
            <p:cNvPr id="42" name="椭圆 41"/>
            <p:cNvSpPr/>
            <p:nvPr/>
          </p:nvSpPr>
          <p:spPr>
            <a:xfrm>
              <a:off x="1121996" y="1976559"/>
              <a:ext cx="1589454" cy="1589454"/>
            </a:xfrm>
            <a:prstGeom prst="ellipse">
              <a:avLst/>
            </a:prstGeom>
            <a:grpFill/>
            <a:ln w="57150">
              <a:noFill/>
            </a:ln>
            <a:effectLst>
              <a:outerShdw blurRad="254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3" name="椭圆 13"/>
            <p:cNvSpPr/>
            <p:nvPr/>
          </p:nvSpPr>
          <p:spPr>
            <a:xfrm>
              <a:off x="1477108" y="2347977"/>
              <a:ext cx="879230" cy="846617"/>
            </a:xfrm>
            <a:custGeom>
              <a:avLst/>
              <a:gdLst>
                <a:gd name="connsiteX0" fmla="*/ 351185 w 606862"/>
                <a:gd name="connsiteY0" fmla="*/ 410338 h 584352"/>
                <a:gd name="connsiteX1" fmla="*/ 518180 w 606862"/>
                <a:gd name="connsiteY1" fmla="*/ 410338 h 584352"/>
                <a:gd name="connsiteX2" fmla="*/ 531216 w 606862"/>
                <a:gd name="connsiteY2" fmla="*/ 423358 h 584352"/>
                <a:gd name="connsiteX3" fmla="*/ 518180 w 606862"/>
                <a:gd name="connsiteY3" fmla="*/ 436377 h 584352"/>
                <a:gd name="connsiteX4" fmla="*/ 351185 w 606862"/>
                <a:gd name="connsiteY4" fmla="*/ 436377 h 584352"/>
                <a:gd name="connsiteX5" fmla="*/ 338149 w 606862"/>
                <a:gd name="connsiteY5" fmla="*/ 423358 h 584352"/>
                <a:gd name="connsiteX6" fmla="*/ 351185 w 606862"/>
                <a:gd name="connsiteY6" fmla="*/ 410338 h 584352"/>
                <a:gd name="connsiteX7" fmla="*/ 311358 w 606862"/>
                <a:gd name="connsiteY7" fmla="*/ 363253 h 584352"/>
                <a:gd name="connsiteX8" fmla="*/ 320698 w 606862"/>
                <a:gd name="connsiteY8" fmla="*/ 366603 h 584352"/>
                <a:gd name="connsiteX9" fmla="*/ 321610 w 606862"/>
                <a:gd name="connsiteY9" fmla="*/ 384948 h 584352"/>
                <a:gd name="connsiteX10" fmla="*/ 249890 w 606862"/>
                <a:gd name="connsiteY10" fmla="*/ 463273 h 584352"/>
                <a:gd name="connsiteX11" fmla="*/ 240371 w 606862"/>
                <a:gd name="connsiteY11" fmla="*/ 467567 h 584352"/>
                <a:gd name="connsiteX12" fmla="*/ 230852 w 606862"/>
                <a:gd name="connsiteY12" fmla="*/ 463404 h 584352"/>
                <a:gd name="connsiteX13" fmla="*/ 201903 w 606862"/>
                <a:gd name="connsiteY13" fmla="*/ 432828 h 584352"/>
                <a:gd name="connsiteX14" fmla="*/ 202425 w 606862"/>
                <a:gd name="connsiteY14" fmla="*/ 414353 h 584352"/>
                <a:gd name="connsiteX15" fmla="*/ 220811 w 606862"/>
                <a:gd name="connsiteY15" fmla="*/ 414873 h 584352"/>
                <a:gd name="connsiteX16" fmla="*/ 240110 w 606862"/>
                <a:gd name="connsiteY16" fmla="*/ 435430 h 584352"/>
                <a:gd name="connsiteX17" fmla="*/ 302311 w 606862"/>
                <a:gd name="connsiteY17" fmla="*/ 367514 h 584352"/>
                <a:gd name="connsiteX18" fmla="*/ 311358 w 606862"/>
                <a:gd name="connsiteY18" fmla="*/ 363253 h 584352"/>
                <a:gd name="connsiteX19" fmla="*/ 26073 w 606862"/>
                <a:gd name="connsiteY19" fmla="*/ 297839 h 584352"/>
                <a:gd name="connsiteX20" fmla="*/ 26073 w 606862"/>
                <a:gd name="connsiteY20" fmla="*/ 505466 h 584352"/>
                <a:gd name="connsiteX21" fmla="*/ 79003 w 606862"/>
                <a:gd name="connsiteY21" fmla="*/ 558317 h 584352"/>
                <a:gd name="connsiteX22" fmla="*/ 132062 w 606862"/>
                <a:gd name="connsiteY22" fmla="*/ 505466 h 584352"/>
                <a:gd name="connsiteX23" fmla="*/ 132062 w 606862"/>
                <a:gd name="connsiteY23" fmla="*/ 297839 h 584352"/>
                <a:gd name="connsiteX24" fmla="*/ 351185 w 606862"/>
                <a:gd name="connsiteY24" fmla="*/ 267372 h 584352"/>
                <a:gd name="connsiteX25" fmla="*/ 518180 w 606862"/>
                <a:gd name="connsiteY25" fmla="*/ 267372 h 584352"/>
                <a:gd name="connsiteX26" fmla="*/ 531216 w 606862"/>
                <a:gd name="connsiteY26" fmla="*/ 280391 h 584352"/>
                <a:gd name="connsiteX27" fmla="*/ 518180 w 606862"/>
                <a:gd name="connsiteY27" fmla="*/ 293411 h 584352"/>
                <a:gd name="connsiteX28" fmla="*/ 351185 w 606862"/>
                <a:gd name="connsiteY28" fmla="*/ 293411 h 584352"/>
                <a:gd name="connsiteX29" fmla="*/ 338149 w 606862"/>
                <a:gd name="connsiteY29" fmla="*/ 280391 h 584352"/>
                <a:gd name="connsiteX30" fmla="*/ 351185 w 606862"/>
                <a:gd name="connsiteY30" fmla="*/ 267372 h 584352"/>
                <a:gd name="connsiteX31" fmla="*/ 311358 w 606862"/>
                <a:gd name="connsiteY31" fmla="*/ 213942 h 584352"/>
                <a:gd name="connsiteX32" fmla="*/ 320698 w 606862"/>
                <a:gd name="connsiteY32" fmla="*/ 217360 h 584352"/>
                <a:gd name="connsiteX33" fmla="*/ 321610 w 606862"/>
                <a:gd name="connsiteY33" fmla="*/ 235715 h 584352"/>
                <a:gd name="connsiteX34" fmla="*/ 249890 w 606862"/>
                <a:gd name="connsiteY34" fmla="*/ 314084 h 584352"/>
                <a:gd name="connsiteX35" fmla="*/ 240371 w 606862"/>
                <a:gd name="connsiteY35" fmla="*/ 318250 h 584352"/>
                <a:gd name="connsiteX36" fmla="*/ 230852 w 606862"/>
                <a:gd name="connsiteY36" fmla="*/ 314214 h 584352"/>
                <a:gd name="connsiteX37" fmla="*/ 201903 w 606862"/>
                <a:gd name="connsiteY37" fmla="*/ 283492 h 584352"/>
                <a:gd name="connsiteX38" fmla="*/ 202425 w 606862"/>
                <a:gd name="connsiteY38" fmla="*/ 265136 h 584352"/>
                <a:gd name="connsiteX39" fmla="*/ 220811 w 606862"/>
                <a:gd name="connsiteY39" fmla="*/ 265657 h 584352"/>
                <a:gd name="connsiteX40" fmla="*/ 240110 w 606862"/>
                <a:gd name="connsiteY40" fmla="*/ 286095 h 584352"/>
                <a:gd name="connsiteX41" fmla="*/ 302311 w 606862"/>
                <a:gd name="connsiteY41" fmla="*/ 218141 h 584352"/>
                <a:gd name="connsiteX42" fmla="*/ 311358 w 606862"/>
                <a:gd name="connsiteY42" fmla="*/ 213942 h 584352"/>
                <a:gd name="connsiteX43" fmla="*/ 351185 w 606862"/>
                <a:gd name="connsiteY43" fmla="*/ 124336 h 584352"/>
                <a:gd name="connsiteX44" fmla="*/ 518180 w 606862"/>
                <a:gd name="connsiteY44" fmla="*/ 124336 h 584352"/>
                <a:gd name="connsiteX45" fmla="*/ 531216 w 606862"/>
                <a:gd name="connsiteY45" fmla="*/ 137356 h 584352"/>
                <a:gd name="connsiteX46" fmla="*/ 518180 w 606862"/>
                <a:gd name="connsiteY46" fmla="*/ 150375 h 584352"/>
                <a:gd name="connsiteX47" fmla="*/ 351185 w 606862"/>
                <a:gd name="connsiteY47" fmla="*/ 150375 h 584352"/>
                <a:gd name="connsiteX48" fmla="*/ 338149 w 606862"/>
                <a:gd name="connsiteY48" fmla="*/ 137356 h 584352"/>
                <a:gd name="connsiteX49" fmla="*/ 351185 w 606862"/>
                <a:gd name="connsiteY49" fmla="*/ 124336 h 584352"/>
                <a:gd name="connsiteX50" fmla="*/ 311358 w 606862"/>
                <a:gd name="connsiteY50" fmla="*/ 64761 h 584352"/>
                <a:gd name="connsiteX51" fmla="*/ 320698 w 606862"/>
                <a:gd name="connsiteY51" fmla="*/ 68111 h 584352"/>
                <a:gd name="connsiteX52" fmla="*/ 321610 w 606862"/>
                <a:gd name="connsiteY52" fmla="*/ 86586 h 584352"/>
                <a:gd name="connsiteX53" fmla="*/ 249890 w 606862"/>
                <a:gd name="connsiteY53" fmla="*/ 164781 h 584352"/>
                <a:gd name="connsiteX54" fmla="*/ 240371 w 606862"/>
                <a:gd name="connsiteY54" fmla="*/ 169075 h 584352"/>
                <a:gd name="connsiteX55" fmla="*/ 230852 w 606862"/>
                <a:gd name="connsiteY55" fmla="*/ 165042 h 584352"/>
                <a:gd name="connsiteX56" fmla="*/ 201903 w 606862"/>
                <a:gd name="connsiteY56" fmla="*/ 134336 h 584352"/>
                <a:gd name="connsiteX57" fmla="*/ 202425 w 606862"/>
                <a:gd name="connsiteY57" fmla="*/ 115991 h 584352"/>
                <a:gd name="connsiteX58" fmla="*/ 220811 w 606862"/>
                <a:gd name="connsiteY58" fmla="*/ 116511 h 584352"/>
                <a:gd name="connsiteX59" fmla="*/ 240110 w 606862"/>
                <a:gd name="connsiteY59" fmla="*/ 136938 h 584352"/>
                <a:gd name="connsiteX60" fmla="*/ 302311 w 606862"/>
                <a:gd name="connsiteY60" fmla="*/ 69022 h 584352"/>
                <a:gd name="connsiteX61" fmla="*/ 311358 w 606862"/>
                <a:gd name="connsiteY61" fmla="*/ 64761 h 584352"/>
                <a:gd name="connsiteX62" fmla="*/ 158136 w 606862"/>
                <a:gd name="connsiteY62" fmla="*/ 26035 h 584352"/>
                <a:gd name="connsiteX63" fmla="*/ 158136 w 606862"/>
                <a:gd name="connsiteY63" fmla="*/ 505466 h 584352"/>
                <a:gd name="connsiteX64" fmla="*/ 137668 w 606862"/>
                <a:gd name="connsiteY64" fmla="*/ 558317 h 584352"/>
                <a:gd name="connsiteX65" fmla="*/ 527859 w 606862"/>
                <a:gd name="connsiteY65" fmla="*/ 558317 h 584352"/>
                <a:gd name="connsiteX66" fmla="*/ 580789 w 606862"/>
                <a:gd name="connsiteY66" fmla="*/ 505466 h 584352"/>
                <a:gd name="connsiteX67" fmla="*/ 580789 w 606862"/>
                <a:gd name="connsiteY67" fmla="*/ 26035 h 584352"/>
                <a:gd name="connsiteX68" fmla="*/ 145099 w 606862"/>
                <a:gd name="connsiteY68" fmla="*/ 0 h 584352"/>
                <a:gd name="connsiteX69" fmla="*/ 593825 w 606862"/>
                <a:gd name="connsiteY69" fmla="*/ 0 h 584352"/>
                <a:gd name="connsiteX70" fmla="*/ 606862 w 606862"/>
                <a:gd name="connsiteY70" fmla="*/ 13017 h 584352"/>
                <a:gd name="connsiteX71" fmla="*/ 606862 w 606862"/>
                <a:gd name="connsiteY71" fmla="*/ 505466 h 584352"/>
                <a:gd name="connsiteX72" fmla="*/ 527859 w 606862"/>
                <a:gd name="connsiteY72" fmla="*/ 584352 h 584352"/>
                <a:gd name="connsiteX73" fmla="*/ 79003 w 606862"/>
                <a:gd name="connsiteY73" fmla="*/ 584352 h 584352"/>
                <a:gd name="connsiteX74" fmla="*/ 0 w 606862"/>
                <a:gd name="connsiteY74" fmla="*/ 505466 h 584352"/>
                <a:gd name="connsiteX75" fmla="*/ 0 w 606862"/>
                <a:gd name="connsiteY75" fmla="*/ 284821 h 584352"/>
                <a:gd name="connsiteX76" fmla="*/ 13037 w 606862"/>
                <a:gd name="connsiteY76" fmla="*/ 271804 h 584352"/>
                <a:gd name="connsiteX77" fmla="*/ 132062 w 606862"/>
                <a:gd name="connsiteY77" fmla="*/ 271804 h 584352"/>
                <a:gd name="connsiteX78" fmla="*/ 132062 w 606862"/>
                <a:gd name="connsiteY78" fmla="*/ 13017 h 584352"/>
                <a:gd name="connsiteX79" fmla="*/ 145099 w 606862"/>
                <a:gd name="connsiteY79" fmla="*/ 0 h 58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06862" h="584352">
                  <a:moveTo>
                    <a:pt x="351185" y="410338"/>
                  </a:moveTo>
                  <a:lnTo>
                    <a:pt x="518180" y="410338"/>
                  </a:lnTo>
                  <a:cubicBezTo>
                    <a:pt x="525480" y="410338"/>
                    <a:pt x="531216" y="416197"/>
                    <a:pt x="531216" y="423358"/>
                  </a:cubicBezTo>
                  <a:cubicBezTo>
                    <a:pt x="531216" y="430518"/>
                    <a:pt x="525480" y="436377"/>
                    <a:pt x="518180" y="436377"/>
                  </a:cubicBezTo>
                  <a:lnTo>
                    <a:pt x="351185" y="436377"/>
                  </a:lnTo>
                  <a:cubicBezTo>
                    <a:pt x="343885" y="436377"/>
                    <a:pt x="338149" y="430518"/>
                    <a:pt x="338149" y="423358"/>
                  </a:cubicBezTo>
                  <a:cubicBezTo>
                    <a:pt x="338149" y="416197"/>
                    <a:pt x="343885" y="410338"/>
                    <a:pt x="351185" y="410338"/>
                  </a:cubicBezTo>
                  <a:close/>
                  <a:moveTo>
                    <a:pt x="311358" y="363253"/>
                  </a:moveTo>
                  <a:cubicBezTo>
                    <a:pt x="314699" y="363090"/>
                    <a:pt x="318090" y="364196"/>
                    <a:pt x="320698" y="366603"/>
                  </a:cubicBezTo>
                  <a:cubicBezTo>
                    <a:pt x="326044" y="371417"/>
                    <a:pt x="326435" y="379744"/>
                    <a:pt x="321610" y="384948"/>
                  </a:cubicBezTo>
                  <a:lnTo>
                    <a:pt x="249890" y="463273"/>
                  </a:lnTo>
                  <a:cubicBezTo>
                    <a:pt x="247543" y="466006"/>
                    <a:pt x="244022" y="467437"/>
                    <a:pt x="240371" y="467567"/>
                  </a:cubicBezTo>
                  <a:cubicBezTo>
                    <a:pt x="236720" y="467567"/>
                    <a:pt x="233330" y="466006"/>
                    <a:pt x="230852" y="463404"/>
                  </a:cubicBezTo>
                  <a:lnTo>
                    <a:pt x="201903" y="432828"/>
                  </a:lnTo>
                  <a:cubicBezTo>
                    <a:pt x="196948" y="427624"/>
                    <a:pt x="197079" y="419297"/>
                    <a:pt x="202425" y="414353"/>
                  </a:cubicBezTo>
                  <a:cubicBezTo>
                    <a:pt x="207641" y="409409"/>
                    <a:pt x="215856" y="409669"/>
                    <a:pt x="220811" y="414873"/>
                  </a:cubicBezTo>
                  <a:lnTo>
                    <a:pt x="240110" y="435430"/>
                  </a:lnTo>
                  <a:lnTo>
                    <a:pt x="302311" y="367514"/>
                  </a:lnTo>
                  <a:cubicBezTo>
                    <a:pt x="304724" y="364847"/>
                    <a:pt x="308016" y="363415"/>
                    <a:pt x="311358" y="363253"/>
                  </a:cubicBezTo>
                  <a:close/>
                  <a:moveTo>
                    <a:pt x="26073" y="297839"/>
                  </a:moveTo>
                  <a:lnTo>
                    <a:pt x="26073" y="505466"/>
                  </a:lnTo>
                  <a:cubicBezTo>
                    <a:pt x="26073" y="534625"/>
                    <a:pt x="49800" y="558317"/>
                    <a:pt x="79003" y="558317"/>
                  </a:cubicBezTo>
                  <a:cubicBezTo>
                    <a:pt x="108205" y="558317"/>
                    <a:pt x="132062" y="534625"/>
                    <a:pt x="132062" y="505466"/>
                  </a:cubicBezTo>
                  <a:lnTo>
                    <a:pt x="132062" y="297839"/>
                  </a:lnTo>
                  <a:close/>
                  <a:moveTo>
                    <a:pt x="351185" y="267372"/>
                  </a:moveTo>
                  <a:lnTo>
                    <a:pt x="518180" y="267372"/>
                  </a:lnTo>
                  <a:cubicBezTo>
                    <a:pt x="525480" y="267372"/>
                    <a:pt x="531216" y="273101"/>
                    <a:pt x="531216" y="280391"/>
                  </a:cubicBezTo>
                  <a:cubicBezTo>
                    <a:pt x="531216" y="287552"/>
                    <a:pt x="525480" y="293411"/>
                    <a:pt x="518180" y="293411"/>
                  </a:cubicBezTo>
                  <a:lnTo>
                    <a:pt x="351185" y="293411"/>
                  </a:lnTo>
                  <a:cubicBezTo>
                    <a:pt x="343885" y="293411"/>
                    <a:pt x="338149" y="287552"/>
                    <a:pt x="338149" y="280391"/>
                  </a:cubicBezTo>
                  <a:cubicBezTo>
                    <a:pt x="338149" y="273101"/>
                    <a:pt x="343885" y="267372"/>
                    <a:pt x="351185" y="267372"/>
                  </a:cubicBezTo>
                  <a:close/>
                  <a:moveTo>
                    <a:pt x="311358" y="213942"/>
                  </a:moveTo>
                  <a:cubicBezTo>
                    <a:pt x="314699" y="213812"/>
                    <a:pt x="318090" y="214951"/>
                    <a:pt x="320698" y="217360"/>
                  </a:cubicBezTo>
                  <a:cubicBezTo>
                    <a:pt x="326044" y="222176"/>
                    <a:pt x="326435" y="230378"/>
                    <a:pt x="321610" y="235715"/>
                  </a:cubicBezTo>
                  <a:lnTo>
                    <a:pt x="249890" y="314084"/>
                  </a:lnTo>
                  <a:cubicBezTo>
                    <a:pt x="247543" y="316688"/>
                    <a:pt x="244022" y="318250"/>
                    <a:pt x="240371" y="318250"/>
                  </a:cubicBezTo>
                  <a:cubicBezTo>
                    <a:pt x="236720" y="318250"/>
                    <a:pt x="233330" y="316818"/>
                    <a:pt x="230852" y="314214"/>
                  </a:cubicBezTo>
                  <a:lnTo>
                    <a:pt x="201903" y="283492"/>
                  </a:lnTo>
                  <a:cubicBezTo>
                    <a:pt x="196948" y="278284"/>
                    <a:pt x="197079" y="270083"/>
                    <a:pt x="202425" y="265136"/>
                  </a:cubicBezTo>
                  <a:cubicBezTo>
                    <a:pt x="207641" y="260189"/>
                    <a:pt x="215856" y="260450"/>
                    <a:pt x="220811" y="265657"/>
                  </a:cubicBezTo>
                  <a:lnTo>
                    <a:pt x="240110" y="286095"/>
                  </a:lnTo>
                  <a:lnTo>
                    <a:pt x="302311" y="218141"/>
                  </a:lnTo>
                  <a:cubicBezTo>
                    <a:pt x="304724" y="215472"/>
                    <a:pt x="308016" y="214073"/>
                    <a:pt x="311358" y="213942"/>
                  </a:cubicBezTo>
                  <a:close/>
                  <a:moveTo>
                    <a:pt x="351185" y="124336"/>
                  </a:moveTo>
                  <a:lnTo>
                    <a:pt x="518180" y="124336"/>
                  </a:lnTo>
                  <a:cubicBezTo>
                    <a:pt x="525480" y="124336"/>
                    <a:pt x="531216" y="130195"/>
                    <a:pt x="531216" y="137356"/>
                  </a:cubicBezTo>
                  <a:cubicBezTo>
                    <a:pt x="531216" y="144516"/>
                    <a:pt x="525480" y="150375"/>
                    <a:pt x="518180" y="150375"/>
                  </a:cubicBezTo>
                  <a:lnTo>
                    <a:pt x="351185" y="150375"/>
                  </a:lnTo>
                  <a:cubicBezTo>
                    <a:pt x="343885" y="150375"/>
                    <a:pt x="338149" y="144516"/>
                    <a:pt x="338149" y="137356"/>
                  </a:cubicBezTo>
                  <a:cubicBezTo>
                    <a:pt x="338149" y="130195"/>
                    <a:pt x="343885" y="124336"/>
                    <a:pt x="351185" y="124336"/>
                  </a:cubicBezTo>
                  <a:close/>
                  <a:moveTo>
                    <a:pt x="311358" y="64761"/>
                  </a:moveTo>
                  <a:cubicBezTo>
                    <a:pt x="314699" y="64598"/>
                    <a:pt x="318090" y="65704"/>
                    <a:pt x="320698" y="68111"/>
                  </a:cubicBezTo>
                  <a:cubicBezTo>
                    <a:pt x="326044" y="73055"/>
                    <a:pt x="326435" y="81252"/>
                    <a:pt x="321610" y="86586"/>
                  </a:cubicBezTo>
                  <a:lnTo>
                    <a:pt x="249890" y="164781"/>
                  </a:lnTo>
                  <a:cubicBezTo>
                    <a:pt x="247543" y="167514"/>
                    <a:pt x="244022" y="169075"/>
                    <a:pt x="240371" y="169075"/>
                  </a:cubicBezTo>
                  <a:cubicBezTo>
                    <a:pt x="236720" y="169075"/>
                    <a:pt x="233330" y="167644"/>
                    <a:pt x="230852" y="165042"/>
                  </a:cubicBezTo>
                  <a:lnTo>
                    <a:pt x="201903" y="134336"/>
                  </a:lnTo>
                  <a:cubicBezTo>
                    <a:pt x="196948" y="129132"/>
                    <a:pt x="197079" y="120935"/>
                    <a:pt x="202425" y="115991"/>
                  </a:cubicBezTo>
                  <a:cubicBezTo>
                    <a:pt x="207641" y="111047"/>
                    <a:pt x="215856" y="111307"/>
                    <a:pt x="220811" y="116511"/>
                  </a:cubicBezTo>
                  <a:lnTo>
                    <a:pt x="240110" y="136938"/>
                  </a:lnTo>
                  <a:lnTo>
                    <a:pt x="302311" y="69022"/>
                  </a:lnTo>
                  <a:cubicBezTo>
                    <a:pt x="304724" y="66355"/>
                    <a:pt x="308016" y="64923"/>
                    <a:pt x="311358" y="64761"/>
                  </a:cubicBezTo>
                  <a:close/>
                  <a:moveTo>
                    <a:pt x="158136" y="26035"/>
                  </a:moveTo>
                  <a:lnTo>
                    <a:pt x="158136" y="505466"/>
                  </a:lnTo>
                  <a:cubicBezTo>
                    <a:pt x="158136" y="525774"/>
                    <a:pt x="150314" y="544389"/>
                    <a:pt x="137668" y="558317"/>
                  </a:cubicBezTo>
                  <a:lnTo>
                    <a:pt x="527859" y="558317"/>
                  </a:lnTo>
                  <a:cubicBezTo>
                    <a:pt x="557062" y="558317"/>
                    <a:pt x="580789" y="534625"/>
                    <a:pt x="580789" y="505466"/>
                  </a:cubicBezTo>
                  <a:lnTo>
                    <a:pt x="580789" y="26035"/>
                  </a:lnTo>
                  <a:close/>
                  <a:moveTo>
                    <a:pt x="145099" y="0"/>
                  </a:moveTo>
                  <a:lnTo>
                    <a:pt x="593825" y="0"/>
                  </a:lnTo>
                  <a:cubicBezTo>
                    <a:pt x="601126" y="0"/>
                    <a:pt x="606862" y="5858"/>
                    <a:pt x="606862" y="13017"/>
                  </a:cubicBezTo>
                  <a:lnTo>
                    <a:pt x="606862" y="505466"/>
                  </a:lnTo>
                  <a:cubicBezTo>
                    <a:pt x="606862" y="548945"/>
                    <a:pt x="571402" y="584352"/>
                    <a:pt x="527859" y="584352"/>
                  </a:cubicBezTo>
                  <a:lnTo>
                    <a:pt x="79003" y="584352"/>
                  </a:lnTo>
                  <a:cubicBezTo>
                    <a:pt x="35460" y="584352"/>
                    <a:pt x="0" y="548945"/>
                    <a:pt x="0" y="505466"/>
                  </a:cubicBezTo>
                  <a:lnTo>
                    <a:pt x="0" y="284821"/>
                  </a:lnTo>
                  <a:cubicBezTo>
                    <a:pt x="0" y="277662"/>
                    <a:pt x="5866" y="271804"/>
                    <a:pt x="13037" y="271804"/>
                  </a:cubicBezTo>
                  <a:lnTo>
                    <a:pt x="132062" y="271804"/>
                  </a:lnTo>
                  <a:lnTo>
                    <a:pt x="132062" y="13017"/>
                  </a:lnTo>
                  <a:cubicBezTo>
                    <a:pt x="132062" y="5858"/>
                    <a:pt x="137799" y="0"/>
                    <a:pt x="14509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44" name="组合 43"/>
          <p:cNvGrpSpPr/>
          <p:nvPr/>
        </p:nvGrpSpPr>
        <p:grpSpPr>
          <a:xfrm>
            <a:off x="3738789" y="2117652"/>
            <a:ext cx="654051" cy="654051"/>
            <a:chOff x="1121996" y="1976559"/>
            <a:chExt cx="1589454" cy="1589454"/>
          </a:xfrm>
          <a:gradFill>
            <a:gsLst>
              <a:gs pos="0">
                <a:srgbClr val="007BD3"/>
              </a:gs>
              <a:gs pos="0">
                <a:srgbClr val="034373">
                  <a:alpha val="80000"/>
                </a:srgbClr>
              </a:gs>
            </a:gsLst>
            <a:lin ang="0" scaled="0"/>
          </a:gradFill>
        </p:grpSpPr>
        <p:sp>
          <p:nvSpPr>
            <p:cNvPr id="45" name="椭圆 44"/>
            <p:cNvSpPr/>
            <p:nvPr/>
          </p:nvSpPr>
          <p:spPr>
            <a:xfrm>
              <a:off x="1121996" y="1976559"/>
              <a:ext cx="1589454" cy="1589454"/>
            </a:xfrm>
            <a:prstGeom prst="ellipse">
              <a:avLst/>
            </a:prstGeom>
            <a:grpFill/>
            <a:ln w="57150">
              <a:noFill/>
            </a:ln>
            <a:effectLst>
              <a:outerShdw blurRad="254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6" name="椭圆 16"/>
            <p:cNvSpPr/>
            <p:nvPr/>
          </p:nvSpPr>
          <p:spPr>
            <a:xfrm>
              <a:off x="1546586" y="2331671"/>
              <a:ext cx="740273" cy="879230"/>
            </a:xfrm>
            <a:custGeom>
              <a:avLst/>
              <a:gdLst>
                <a:gd name="T0" fmla="*/ 1177 w 2354"/>
                <a:gd name="T1" fmla="*/ 2800 h 2800"/>
                <a:gd name="T2" fmla="*/ 1142 w 2354"/>
                <a:gd name="T3" fmla="*/ 2790 h 2800"/>
                <a:gd name="T4" fmla="*/ 247 w 2354"/>
                <a:gd name="T5" fmla="*/ 1787 h 2800"/>
                <a:gd name="T6" fmla="*/ 88 w 2354"/>
                <a:gd name="T7" fmla="*/ 308 h 2800"/>
                <a:gd name="T8" fmla="*/ 116 w 2354"/>
                <a:gd name="T9" fmla="*/ 260 h 2800"/>
                <a:gd name="T10" fmla="*/ 172 w 2354"/>
                <a:gd name="T11" fmla="*/ 251 h 2800"/>
                <a:gd name="T12" fmla="*/ 498 w 2354"/>
                <a:gd name="T13" fmla="*/ 291 h 2800"/>
                <a:gd name="T14" fmla="*/ 672 w 2354"/>
                <a:gd name="T15" fmla="*/ 277 h 2800"/>
                <a:gd name="T16" fmla="*/ 1125 w 2354"/>
                <a:gd name="T17" fmla="*/ 25 h 2800"/>
                <a:gd name="T18" fmla="*/ 1177 w 2354"/>
                <a:gd name="T19" fmla="*/ 0 h 2800"/>
                <a:gd name="T20" fmla="*/ 1177 w 2354"/>
                <a:gd name="T21" fmla="*/ 0 h 2800"/>
                <a:gd name="T22" fmla="*/ 1230 w 2354"/>
                <a:gd name="T23" fmla="*/ 25 h 2800"/>
                <a:gd name="T24" fmla="*/ 1682 w 2354"/>
                <a:gd name="T25" fmla="*/ 277 h 2800"/>
                <a:gd name="T26" fmla="*/ 1856 w 2354"/>
                <a:gd name="T27" fmla="*/ 291 h 2800"/>
                <a:gd name="T28" fmla="*/ 2182 w 2354"/>
                <a:gd name="T29" fmla="*/ 251 h 2800"/>
                <a:gd name="T30" fmla="*/ 2238 w 2354"/>
                <a:gd name="T31" fmla="*/ 260 h 2800"/>
                <a:gd name="T32" fmla="*/ 2267 w 2354"/>
                <a:gd name="T33" fmla="*/ 308 h 2800"/>
                <a:gd name="T34" fmla="*/ 2107 w 2354"/>
                <a:gd name="T35" fmla="*/ 1787 h 2800"/>
                <a:gd name="T36" fmla="*/ 1212 w 2354"/>
                <a:gd name="T37" fmla="*/ 2790 h 2800"/>
                <a:gd name="T38" fmla="*/ 1177 w 2354"/>
                <a:gd name="T39" fmla="*/ 2800 h 2800"/>
                <a:gd name="T40" fmla="*/ 214 w 2354"/>
                <a:gd name="T41" fmla="*/ 397 h 2800"/>
                <a:gd name="T42" fmla="*/ 370 w 2354"/>
                <a:gd name="T43" fmla="*/ 1736 h 2800"/>
                <a:gd name="T44" fmla="*/ 1177 w 2354"/>
                <a:gd name="T45" fmla="*/ 2654 h 2800"/>
                <a:gd name="T46" fmla="*/ 1984 w 2354"/>
                <a:gd name="T47" fmla="*/ 1736 h 2800"/>
                <a:gd name="T48" fmla="*/ 2140 w 2354"/>
                <a:gd name="T49" fmla="*/ 397 h 2800"/>
                <a:gd name="T50" fmla="*/ 1856 w 2354"/>
                <a:gd name="T51" fmla="*/ 425 h 2800"/>
                <a:gd name="T52" fmla="*/ 1658 w 2354"/>
                <a:gd name="T53" fmla="*/ 408 h 2800"/>
                <a:gd name="T54" fmla="*/ 1177 w 2354"/>
                <a:gd name="T55" fmla="*/ 164 h 2800"/>
                <a:gd name="T56" fmla="*/ 696 w 2354"/>
                <a:gd name="T57" fmla="*/ 408 h 2800"/>
                <a:gd name="T58" fmla="*/ 498 w 2354"/>
                <a:gd name="T59" fmla="*/ 425 h 2800"/>
                <a:gd name="T60" fmla="*/ 214 w 2354"/>
                <a:gd name="T61" fmla="*/ 397 h 2800"/>
                <a:gd name="T62" fmla="*/ 1177 w 2354"/>
                <a:gd name="T63" fmla="*/ 2215 h 2800"/>
                <a:gd name="T64" fmla="*/ 982 w 2354"/>
                <a:gd name="T65" fmla="*/ 2020 h 2800"/>
                <a:gd name="T66" fmla="*/ 1177 w 2354"/>
                <a:gd name="T67" fmla="*/ 1824 h 2800"/>
                <a:gd name="T68" fmla="*/ 1372 w 2354"/>
                <a:gd name="T69" fmla="*/ 2020 h 2800"/>
                <a:gd name="T70" fmla="*/ 1177 w 2354"/>
                <a:gd name="T71" fmla="*/ 2215 h 2800"/>
                <a:gd name="T72" fmla="*/ 1177 w 2354"/>
                <a:gd name="T73" fmla="*/ 1958 h 2800"/>
                <a:gd name="T74" fmla="*/ 1115 w 2354"/>
                <a:gd name="T75" fmla="*/ 2020 h 2800"/>
                <a:gd name="T76" fmla="*/ 1177 w 2354"/>
                <a:gd name="T77" fmla="*/ 2082 h 2800"/>
                <a:gd name="T78" fmla="*/ 1239 w 2354"/>
                <a:gd name="T79" fmla="*/ 2020 h 2800"/>
                <a:gd name="T80" fmla="*/ 1177 w 2354"/>
                <a:gd name="T81" fmla="*/ 1958 h 2800"/>
                <a:gd name="T82" fmla="*/ 1177 w 2354"/>
                <a:gd name="T83" fmla="*/ 1748 h 2800"/>
                <a:gd name="T84" fmla="*/ 982 w 2354"/>
                <a:gd name="T85" fmla="*/ 1552 h 2800"/>
                <a:gd name="T86" fmla="*/ 982 w 2354"/>
                <a:gd name="T87" fmla="*/ 694 h 2800"/>
                <a:gd name="T88" fmla="*/ 1177 w 2354"/>
                <a:gd name="T89" fmla="*/ 499 h 2800"/>
                <a:gd name="T90" fmla="*/ 1372 w 2354"/>
                <a:gd name="T91" fmla="*/ 694 h 2800"/>
                <a:gd name="T92" fmla="*/ 1372 w 2354"/>
                <a:gd name="T93" fmla="*/ 1552 h 2800"/>
                <a:gd name="T94" fmla="*/ 1177 w 2354"/>
                <a:gd name="T95" fmla="*/ 1748 h 2800"/>
                <a:gd name="T96" fmla="*/ 1177 w 2354"/>
                <a:gd name="T97" fmla="*/ 632 h 2800"/>
                <a:gd name="T98" fmla="*/ 1115 w 2354"/>
                <a:gd name="T99" fmla="*/ 694 h 2800"/>
                <a:gd name="T100" fmla="*/ 1115 w 2354"/>
                <a:gd name="T101" fmla="*/ 1552 h 2800"/>
                <a:gd name="T102" fmla="*/ 1177 w 2354"/>
                <a:gd name="T103" fmla="*/ 1614 h 2800"/>
                <a:gd name="T104" fmla="*/ 1239 w 2354"/>
                <a:gd name="T105" fmla="*/ 1552 h 2800"/>
                <a:gd name="T106" fmla="*/ 1239 w 2354"/>
                <a:gd name="T107" fmla="*/ 694 h 2800"/>
                <a:gd name="T108" fmla="*/ 1177 w 2354"/>
                <a:gd name="T109" fmla="*/ 632 h 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4" h="2800">
                  <a:moveTo>
                    <a:pt x="1177" y="2800"/>
                  </a:moveTo>
                  <a:cubicBezTo>
                    <a:pt x="1165" y="2800"/>
                    <a:pt x="1153" y="2797"/>
                    <a:pt x="1142" y="2790"/>
                  </a:cubicBezTo>
                  <a:cubicBezTo>
                    <a:pt x="1116" y="2774"/>
                    <a:pt x="495" y="2386"/>
                    <a:pt x="247" y="1787"/>
                  </a:cubicBezTo>
                  <a:cubicBezTo>
                    <a:pt x="0" y="1193"/>
                    <a:pt x="84" y="344"/>
                    <a:pt x="88" y="308"/>
                  </a:cubicBezTo>
                  <a:cubicBezTo>
                    <a:pt x="90" y="289"/>
                    <a:pt x="100" y="271"/>
                    <a:pt x="116" y="260"/>
                  </a:cubicBezTo>
                  <a:cubicBezTo>
                    <a:pt x="133" y="249"/>
                    <a:pt x="153" y="246"/>
                    <a:pt x="172" y="251"/>
                  </a:cubicBezTo>
                  <a:cubicBezTo>
                    <a:pt x="173" y="251"/>
                    <a:pt x="320" y="291"/>
                    <a:pt x="498" y="291"/>
                  </a:cubicBezTo>
                  <a:cubicBezTo>
                    <a:pt x="560" y="291"/>
                    <a:pt x="618" y="287"/>
                    <a:pt x="672" y="277"/>
                  </a:cubicBezTo>
                  <a:cubicBezTo>
                    <a:pt x="962" y="226"/>
                    <a:pt x="1123" y="27"/>
                    <a:pt x="1125" y="25"/>
                  </a:cubicBezTo>
                  <a:cubicBezTo>
                    <a:pt x="1137" y="9"/>
                    <a:pt x="1157" y="0"/>
                    <a:pt x="1177" y="0"/>
                  </a:cubicBezTo>
                  <a:lnTo>
                    <a:pt x="1177" y="0"/>
                  </a:lnTo>
                  <a:cubicBezTo>
                    <a:pt x="1198" y="0"/>
                    <a:pt x="1217" y="9"/>
                    <a:pt x="1230" y="25"/>
                  </a:cubicBezTo>
                  <a:cubicBezTo>
                    <a:pt x="1231" y="27"/>
                    <a:pt x="1392" y="226"/>
                    <a:pt x="1682" y="277"/>
                  </a:cubicBezTo>
                  <a:cubicBezTo>
                    <a:pt x="1736" y="287"/>
                    <a:pt x="1795" y="291"/>
                    <a:pt x="1856" y="291"/>
                  </a:cubicBezTo>
                  <a:cubicBezTo>
                    <a:pt x="2035" y="291"/>
                    <a:pt x="2181" y="251"/>
                    <a:pt x="2182" y="251"/>
                  </a:cubicBezTo>
                  <a:cubicBezTo>
                    <a:pt x="2201" y="246"/>
                    <a:pt x="2221" y="249"/>
                    <a:pt x="2238" y="260"/>
                  </a:cubicBezTo>
                  <a:cubicBezTo>
                    <a:pt x="2254" y="271"/>
                    <a:pt x="2264" y="289"/>
                    <a:pt x="2267" y="308"/>
                  </a:cubicBezTo>
                  <a:cubicBezTo>
                    <a:pt x="2270" y="344"/>
                    <a:pt x="2354" y="1193"/>
                    <a:pt x="2107" y="1787"/>
                  </a:cubicBezTo>
                  <a:cubicBezTo>
                    <a:pt x="1859" y="2386"/>
                    <a:pt x="1238" y="2774"/>
                    <a:pt x="1212" y="2790"/>
                  </a:cubicBezTo>
                  <a:cubicBezTo>
                    <a:pt x="1201" y="2797"/>
                    <a:pt x="1189" y="2800"/>
                    <a:pt x="1177" y="2800"/>
                  </a:cubicBezTo>
                  <a:close/>
                  <a:moveTo>
                    <a:pt x="214" y="397"/>
                  </a:moveTo>
                  <a:cubicBezTo>
                    <a:pt x="200" y="617"/>
                    <a:pt x="178" y="1272"/>
                    <a:pt x="370" y="1736"/>
                  </a:cubicBezTo>
                  <a:cubicBezTo>
                    <a:pt x="569" y="2216"/>
                    <a:pt x="1044" y="2563"/>
                    <a:pt x="1177" y="2654"/>
                  </a:cubicBezTo>
                  <a:cubicBezTo>
                    <a:pt x="1310" y="2563"/>
                    <a:pt x="1785" y="2216"/>
                    <a:pt x="1984" y="1736"/>
                  </a:cubicBezTo>
                  <a:cubicBezTo>
                    <a:pt x="2177" y="1272"/>
                    <a:pt x="2154" y="617"/>
                    <a:pt x="2140" y="397"/>
                  </a:cubicBezTo>
                  <a:cubicBezTo>
                    <a:pt x="2074" y="410"/>
                    <a:pt x="1972" y="425"/>
                    <a:pt x="1856" y="425"/>
                  </a:cubicBezTo>
                  <a:cubicBezTo>
                    <a:pt x="1787" y="425"/>
                    <a:pt x="1720" y="419"/>
                    <a:pt x="1658" y="408"/>
                  </a:cubicBezTo>
                  <a:cubicBezTo>
                    <a:pt x="1417" y="366"/>
                    <a:pt x="1255" y="239"/>
                    <a:pt x="1177" y="164"/>
                  </a:cubicBezTo>
                  <a:cubicBezTo>
                    <a:pt x="1099" y="239"/>
                    <a:pt x="937" y="366"/>
                    <a:pt x="696" y="408"/>
                  </a:cubicBezTo>
                  <a:cubicBezTo>
                    <a:pt x="634" y="419"/>
                    <a:pt x="567" y="425"/>
                    <a:pt x="498" y="425"/>
                  </a:cubicBezTo>
                  <a:cubicBezTo>
                    <a:pt x="383" y="425"/>
                    <a:pt x="281" y="410"/>
                    <a:pt x="214" y="397"/>
                  </a:cubicBezTo>
                  <a:close/>
                  <a:moveTo>
                    <a:pt x="1177" y="2215"/>
                  </a:moveTo>
                  <a:cubicBezTo>
                    <a:pt x="1069" y="2215"/>
                    <a:pt x="982" y="2127"/>
                    <a:pt x="982" y="2020"/>
                  </a:cubicBezTo>
                  <a:cubicBezTo>
                    <a:pt x="982" y="1912"/>
                    <a:pt x="1069" y="1824"/>
                    <a:pt x="1177" y="1824"/>
                  </a:cubicBezTo>
                  <a:cubicBezTo>
                    <a:pt x="1285" y="1824"/>
                    <a:pt x="1372" y="1912"/>
                    <a:pt x="1372" y="2020"/>
                  </a:cubicBezTo>
                  <a:cubicBezTo>
                    <a:pt x="1372" y="2127"/>
                    <a:pt x="1285" y="2215"/>
                    <a:pt x="1177" y="2215"/>
                  </a:cubicBezTo>
                  <a:close/>
                  <a:moveTo>
                    <a:pt x="1177" y="1958"/>
                  </a:moveTo>
                  <a:cubicBezTo>
                    <a:pt x="1143" y="1958"/>
                    <a:pt x="1115" y="1986"/>
                    <a:pt x="1115" y="2020"/>
                  </a:cubicBezTo>
                  <a:cubicBezTo>
                    <a:pt x="1115" y="2054"/>
                    <a:pt x="1143" y="2082"/>
                    <a:pt x="1177" y="2082"/>
                  </a:cubicBezTo>
                  <a:cubicBezTo>
                    <a:pt x="1211" y="2082"/>
                    <a:pt x="1239" y="2054"/>
                    <a:pt x="1239" y="2020"/>
                  </a:cubicBezTo>
                  <a:cubicBezTo>
                    <a:pt x="1239" y="1986"/>
                    <a:pt x="1211" y="1958"/>
                    <a:pt x="1177" y="1958"/>
                  </a:cubicBezTo>
                  <a:close/>
                  <a:moveTo>
                    <a:pt x="1177" y="1748"/>
                  </a:moveTo>
                  <a:cubicBezTo>
                    <a:pt x="1069" y="1748"/>
                    <a:pt x="982" y="1660"/>
                    <a:pt x="982" y="1552"/>
                  </a:cubicBezTo>
                  <a:lnTo>
                    <a:pt x="982" y="694"/>
                  </a:lnTo>
                  <a:cubicBezTo>
                    <a:pt x="982" y="586"/>
                    <a:pt x="1069" y="499"/>
                    <a:pt x="1177" y="499"/>
                  </a:cubicBezTo>
                  <a:cubicBezTo>
                    <a:pt x="1285" y="499"/>
                    <a:pt x="1372" y="586"/>
                    <a:pt x="1372" y="694"/>
                  </a:cubicBezTo>
                  <a:lnTo>
                    <a:pt x="1372" y="1552"/>
                  </a:lnTo>
                  <a:cubicBezTo>
                    <a:pt x="1372" y="1660"/>
                    <a:pt x="1285" y="1748"/>
                    <a:pt x="1177" y="1748"/>
                  </a:cubicBezTo>
                  <a:close/>
                  <a:moveTo>
                    <a:pt x="1177" y="632"/>
                  </a:moveTo>
                  <a:cubicBezTo>
                    <a:pt x="1143" y="632"/>
                    <a:pt x="1115" y="660"/>
                    <a:pt x="1115" y="694"/>
                  </a:cubicBezTo>
                  <a:lnTo>
                    <a:pt x="1115" y="1552"/>
                  </a:lnTo>
                  <a:cubicBezTo>
                    <a:pt x="1115" y="1587"/>
                    <a:pt x="1143" y="1614"/>
                    <a:pt x="1177" y="1614"/>
                  </a:cubicBezTo>
                  <a:cubicBezTo>
                    <a:pt x="1211" y="1614"/>
                    <a:pt x="1239" y="1587"/>
                    <a:pt x="1239" y="1552"/>
                  </a:cubicBezTo>
                  <a:lnTo>
                    <a:pt x="1239" y="694"/>
                  </a:lnTo>
                  <a:cubicBezTo>
                    <a:pt x="1239" y="660"/>
                    <a:pt x="1211" y="632"/>
                    <a:pt x="1177" y="63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47" name="组合 46"/>
          <p:cNvGrpSpPr/>
          <p:nvPr/>
        </p:nvGrpSpPr>
        <p:grpSpPr>
          <a:xfrm>
            <a:off x="3738789" y="3378390"/>
            <a:ext cx="654051" cy="654051"/>
            <a:chOff x="1121996" y="1976559"/>
            <a:chExt cx="1589454" cy="1589454"/>
          </a:xfrm>
          <a:gradFill>
            <a:gsLst>
              <a:gs pos="0">
                <a:srgbClr val="007BD3"/>
              </a:gs>
              <a:gs pos="0">
                <a:srgbClr val="034373">
                  <a:alpha val="80000"/>
                </a:srgbClr>
              </a:gs>
            </a:gsLst>
            <a:lin ang="0" scaled="0"/>
          </a:gradFill>
        </p:grpSpPr>
        <p:sp>
          <p:nvSpPr>
            <p:cNvPr id="48" name="椭圆 47"/>
            <p:cNvSpPr/>
            <p:nvPr/>
          </p:nvSpPr>
          <p:spPr>
            <a:xfrm>
              <a:off x="1121996" y="1976559"/>
              <a:ext cx="1589454" cy="1589454"/>
            </a:xfrm>
            <a:prstGeom prst="ellipse">
              <a:avLst/>
            </a:prstGeom>
            <a:grpFill/>
            <a:ln w="57150">
              <a:noFill/>
            </a:ln>
            <a:effectLst>
              <a:outerShdw blurRad="254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9" name="椭圆 19"/>
            <p:cNvSpPr/>
            <p:nvPr/>
          </p:nvSpPr>
          <p:spPr>
            <a:xfrm>
              <a:off x="1482826" y="2331671"/>
              <a:ext cx="867792" cy="879230"/>
            </a:xfrm>
            <a:custGeom>
              <a:avLst/>
              <a:gdLst>
                <a:gd name="connsiteX0" fmla="*/ 361584 w 589817"/>
                <a:gd name="connsiteY0" fmla="*/ 75460 h 597591"/>
                <a:gd name="connsiteX1" fmla="*/ 370193 w 589817"/>
                <a:gd name="connsiteY1" fmla="*/ 79491 h 597591"/>
                <a:gd name="connsiteX2" fmla="*/ 403552 w 589817"/>
                <a:gd name="connsiteY2" fmla="*/ 112813 h 597591"/>
                <a:gd name="connsiteX3" fmla="*/ 403552 w 589817"/>
                <a:gd name="connsiteY3" fmla="*/ 130012 h 597591"/>
                <a:gd name="connsiteX4" fmla="*/ 273343 w 589817"/>
                <a:gd name="connsiteY4" fmla="*/ 261153 h 597591"/>
                <a:gd name="connsiteX5" fmla="*/ 273343 w 589817"/>
                <a:gd name="connsiteY5" fmla="*/ 277277 h 597591"/>
                <a:gd name="connsiteX6" fmla="*/ 291637 w 589817"/>
                <a:gd name="connsiteY6" fmla="*/ 296625 h 597591"/>
                <a:gd name="connsiteX7" fmla="*/ 302398 w 589817"/>
                <a:gd name="connsiteY7" fmla="*/ 321349 h 597591"/>
                <a:gd name="connsiteX8" fmla="*/ 291637 w 589817"/>
                <a:gd name="connsiteY8" fmla="*/ 347147 h 597591"/>
                <a:gd name="connsiteX9" fmla="*/ 181874 w 589817"/>
                <a:gd name="connsiteY9" fmla="*/ 456789 h 597591"/>
                <a:gd name="connsiteX10" fmla="*/ 156047 w 589817"/>
                <a:gd name="connsiteY10" fmla="*/ 466463 h 597591"/>
                <a:gd name="connsiteX11" fmla="*/ 131296 w 589817"/>
                <a:gd name="connsiteY11" fmla="*/ 456789 h 597591"/>
                <a:gd name="connsiteX12" fmla="*/ 131296 w 589817"/>
                <a:gd name="connsiteY12" fmla="*/ 405193 h 597591"/>
                <a:gd name="connsiteX13" fmla="*/ 206624 w 589817"/>
                <a:gd name="connsiteY13" fmla="*/ 329948 h 597591"/>
                <a:gd name="connsiteX14" fmla="*/ 206624 w 589817"/>
                <a:gd name="connsiteY14" fmla="*/ 312749 h 597591"/>
                <a:gd name="connsiteX15" fmla="*/ 188330 w 589817"/>
                <a:gd name="connsiteY15" fmla="*/ 294476 h 597591"/>
                <a:gd name="connsiteX16" fmla="*/ 188330 w 589817"/>
                <a:gd name="connsiteY16" fmla="*/ 243954 h 597591"/>
                <a:gd name="connsiteX17" fmla="*/ 352975 w 589817"/>
                <a:gd name="connsiteY17" fmla="*/ 79491 h 597591"/>
                <a:gd name="connsiteX18" fmla="*/ 361584 w 589817"/>
                <a:gd name="connsiteY18" fmla="*/ 75460 h 597591"/>
                <a:gd name="connsiteX19" fmla="*/ 46281 w 589817"/>
                <a:gd name="connsiteY19" fmla="*/ 8638 h 597591"/>
                <a:gd name="connsiteX20" fmla="*/ 91486 w 589817"/>
                <a:gd name="connsiteY20" fmla="*/ 57001 h 597591"/>
                <a:gd name="connsiteX21" fmla="*/ 91486 w 589817"/>
                <a:gd name="connsiteY21" fmla="*/ 456801 h 597591"/>
                <a:gd name="connsiteX22" fmla="*/ 138844 w 589817"/>
                <a:gd name="connsiteY22" fmla="*/ 505164 h 597591"/>
                <a:gd name="connsiteX23" fmla="*/ 541383 w 589817"/>
                <a:gd name="connsiteY23" fmla="*/ 505164 h 597591"/>
                <a:gd name="connsiteX24" fmla="*/ 589817 w 589817"/>
                <a:gd name="connsiteY24" fmla="*/ 550303 h 597591"/>
                <a:gd name="connsiteX25" fmla="*/ 541383 w 589817"/>
                <a:gd name="connsiteY25" fmla="*/ 595442 h 597591"/>
                <a:gd name="connsiteX26" fmla="*/ 138844 w 589817"/>
                <a:gd name="connsiteY26" fmla="*/ 595442 h 597591"/>
                <a:gd name="connsiteX27" fmla="*/ 91486 w 589817"/>
                <a:gd name="connsiteY27" fmla="*/ 596516 h 597591"/>
                <a:gd name="connsiteX28" fmla="*/ 46281 w 589817"/>
                <a:gd name="connsiteY28" fmla="*/ 597591 h 597591"/>
                <a:gd name="connsiteX29" fmla="*/ 1076 w 589817"/>
                <a:gd name="connsiteY29" fmla="*/ 596516 h 597591"/>
                <a:gd name="connsiteX30" fmla="*/ 0 w 589817"/>
                <a:gd name="connsiteY30" fmla="*/ 550303 h 597591"/>
                <a:gd name="connsiteX31" fmla="*/ 1076 w 589817"/>
                <a:gd name="connsiteY31" fmla="*/ 456801 h 597591"/>
                <a:gd name="connsiteX32" fmla="*/ 1076 w 589817"/>
                <a:gd name="connsiteY32" fmla="*/ 57001 h 597591"/>
                <a:gd name="connsiteX33" fmla="*/ 46281 w 589817"/>
                <a:gd name="connsiteY33" fmla="*/ 8638 h 597591"/>
                <a:gd name="connsiteX34" fmla="*/ 347607 w 589817"/>
                <a:gd name="connsiteY34" fmla="*/ 0 h 597591"/>
                <a:gd name="connsiteX35" fmla="*/ 470364 w 589817"/>
                <a:gd name="connsiteY35" fmla="*/ 0 h 597591"/>
                <a:gd name="connsiteX36" fmla="*/ 490823 w 589817"/>
                <a:gd name="connsiteY36" fmla="*/ 18267 h 597591"/>
                <a:gd name="connsiteX37" fmla="*/ 490823 w 589817"/>
                <a:gd name="connsiteY37" fmla="*/ 128945 h 597591"/>
                <a:gd name="connsiteX38" fmla="*/ 476824 w 589817"/>
                <a:gd name="connsiteY38" fmla="*/ 134317 h 597591"/>
                <a:gd name="connsiteX39" fmla="*/ 439136 w 589817"/>
                <a:gd name="connsiteY39" fmla="*/ 101007 h 597591"/>
                <a:gd name="connsiteX40" fmla="*/ 378834 w 589817"/>
                <a:gd name="connsiteY40" fmla="*/ 46205 h 597591"/>
                <a:gd name="connsiteX41" fmla="*/ 341146 w 589817"/>
                <a:gd name="connsiteY41" fmla="*/ 12895 h 597591"/>
                <a:gd name="connsiteX42" fmla="*/ 347607 w 589817"/>
                <a:gd name="connsiteY42" fmla="*/ 0 h 5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89817" h="597591">
                  <a:moveTo>
                    <a:pt x="361584" y="75460"/>
                  </a:moveTo>
                  <a:cubicBezTo>
                    <a:pt x="364813" y="75460"/>
                    <a:pt x="368041" y="76804"/>
                    <a:pt x="370193" y="79491"/>
                  </a:cubicBezTo>
                  <a:lnTo>
                    <a:pt x="403552" y="112813"/>
                  </a:lnTo>
                  <a:cubicBezTo>
                    <a:pt x="408933" y="117113"/>
                    <a:pt x="408933" y="125713"/>
                    <a:pt x="403552" y="130012"/>
                  </a:cubicBezTo>
                  <a:lnTo>
                    <a:pt x="273343" y="261153"/>
                  </a:lnTo>
                  <a:cubicBezTo>
                    <a:pt x="267963" y="265453"/>
                    <a:pt x="267963" y="272977"/>
                    <a:pt x="273343" y="277277"/>
                  </a:cubicBezTo>
                  <a:lnTo>
                    <a:pt x="291637" y="296625"/>
                  </a:lnTo>
                  <a:cubicBezTo>
                    <a:pt x="298094" y="303075"/>
                    <a:pt x="302398" y="311674"/>
                    <a:pt x="302398" y="321349"/>
                  </a:cubicBezTo>
                  <a:cubicBezTo>
                    <a:pt x="302398" y="331023"/>
                    <a:pt x="298094" y="340697"/>
                    <a:pt x="291637" y="347147"/>
                  </a:cubicBezTo>
                  <a:lnTo>
                    <a:pt x="181874" y="456789"/>
                  </a:lnTo>
                  <a:cubicBezTo>
                    <a:pt x="175417" y="463238"/>
                    <a:pt x="165732" y="466463"/>
                    <a:pt x="156047" y="466463"/>
                  </a:cubicBezTo>
                  <a:cubicBezTo>
                    <a:pt x="147438" y="466463"/>
                    <a:pt x="137753" y="463238"/>
                    <a:pt x="131296" y="456789"/>
                  </a:cubicBezTo>
                  <a:cubicBezTo>
                    <a:pt x="117307" y="442815"/>
                    <a:pt x="117307" y="419167"/>
                    <a:pt x="131296" y="405193"/>
                  </a:cubicBezTo>
                  <a:lnTo>
                    <a:pt x="206624" y="329948"/>
                  </a:lnTo>
                  <a:cubicBezTo>
                    <a:pt x="212005" y="325648"/>
                    <a:pt x="212005" y="318124"/>
                    <a:pt x="206624" y="312749"/>
                  </a:cubicBezTo>
                  <a:lnTo>
                    <a:pt x="188330" y="294476"/>
                  </a:lnTo>
                  <a:cubicBezTo>
                    <a:pt x="174341" y="280502"/>
                    <a:pt x="174341" y="257928"/>
                    <a:pt x="188330" y="243954"/>
                  </a:cubicBezTo>
                  <a:cubicBezTo>
                    <a:pt x="188330" y="243954"/>
                    <a:pt x="318540" y="113888"/>
                    <a:pt x="352975" y="79491"/>
                  </a:cubicBezTo>
                  <a:cubicBezTo>
                    <a:pt x="355127" y="76804"/>
                    <a:pt x="358356" y="75460"/>
                    <a:pt x="361584" y="75460"/>
                  </a:cubicBezTo>
                  <a:close/>
                  <a:moveTo>
                    <a:pt x="46281" y="8638"/>
                  </a:moveTo>
                  <a:cubicBezTo>
                    <a:pt x="71036" y="8638"/>
                    <a:pt x="91486" y="30133"/>
                    <a:pt x="91486" y="57001"/>
                  </a:cubicBezTo>
                  <a:lnTo>
                    <a:pt x="91486" y="456801"/>
                  </a:lnTo>
                  <a:cubicBezTo>
                    <a:pt x="91486" y="483670"/>
                    <a:pt x="113012" y="505164"/>
                    <a:pt x="138844" y="505164"/>
                  </a:cubicBezTo>
                  <a:lnTo>
                    <a:pt x="541383" y="505164"/>
                  </a:lnTo>
                  <a:cubicBezTo>
                    <a:pt x="568291" y="505164"/>
                    <a:pt x="589817" y="524509"/>
                    <a:pt x="589817" y="550303"/>
                  </a:cubicBezTo>
                  <a:cubicBezTo>
                    <a:pt x="589817" y="575022"/>
                    <a:pt x="568291" y="595442"/>
                    <a:pt x="541383" y="595442"/>
                  </a:cubicBezTo>
                  <a:lnTo>
                    <a:pt x="138844" y="595442"/>
                  </a:lnTo>
                  <a:cubicBezTo>
                    <a:pt x="113012" y="595442"/>
                    <a:pt x="91486" y="595442"/>
                    <a:pt x="91486" y="596516"/>
                  </a:cubicBezTo>
                  <a:cubicBezTo>
                    <a:pt x="91486" y="597591"/>
                    <a:pt x="71036" y="597591"/>
                    <a:pt x="46281" y="597591"/>
                  </a:cubicBezTo>
                  <a:cubicBezTo>
                    <a:pt x="20450" y="597591"/>
                    <a:pt x="1076" y="597591"/>
                    <a:pt x="1076" y="596516"/>
                  </a:cubicBezTo>
                  <a:cubicBezTo>
                    <a:pt x="0" y="595442"/>
                    <a:pt x="0" y="575022"/>
                    <a:pt x="0" y="550303"/>
                  </a:cubicBezTo>
                  <a:cubicBezTo>
                    <a:pt x="0" y="524509"/>
                    <a:pt x="1076" y="483670"/>
                    <a:pt x="1076" y="456801"/>
                  </a:cubicBezTo>
                  <a:lnTo>
                    <a:pt x="1076" y="57001"/>
                  </a:lnTo>
                  <a:cubicBezTo>
                    <a:pt x="1076" y="30133"/>
                    <a:pt x="20450" y="8638"/>
                    <a:pt x="46281" y="8638"/>
                  </a:cubicBezTo>
                  <a:close/>
                  <a:moveTo>
                    <a:pt x="347607" y="0"/>
                  </a:moveTo>
                  <a:lnTo>
                    <a:pt x="470364" y="0"/>
                  </a:lnTo>
                  <a:cubicBezTo>
                    <a:pt x="482208" y="0"/>
                    <a:pt x="490823" y="8597"/>
                    <a:pt x="490823" y="18267"/>
                  </a:cubicBezTo>
                  <a:lnTo>
                    <a:pt x="490823" y="128945"/>
                  </a:lnTo>
                  <a:cubicBezTo>
                    <a:pt x="490823" y="138616"/>
                    <a:pt x="484362" y="141839"/>
                    <a:pt x="476824" y="134317"/>
                  </a:cubicBezTo>
                  <a:lnTo>
                    <a:pt x="439136" y="101007"/>
                  </a:lnTo>
                  <a:lnTo>
                    <a:pt x="378834" y="46205"/>
                  </a:lnTo>
                  <a:lnTo>
                    <a:pt x="341146" y="12895"/>
                  </a:lnTo>
                  <a:cubicBezTo>
                    <a:pt x="333608" y="6447"/>
                    <a:pt x="335762" y="0"/>
                    <a:pt x="34760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50" name="组合 49"/>
          <p:cNvGrpSpPr/>
          <p:nvPr/>
        </p:nvGrpSpPr>
        <p:grpSpPr>
          <a:xfrm>
            <a:off x="3736249" y="4645479"/>
            <a:ext cx="654051" cy="654051"/>
            <a:chOff x="1121996" y="1976559"/>
            <a:chExt cx="1589454" cy="1589454"/>
          </a:xfrm>
          <a:gradFill>
            <a:gsLst>
              <a:gs pos="0">
                <a:srgbClr val="007BD3"/>
              </a:gs>
              <a:gs pos="0">
                <a:srgbClr val="034373">
                  <a:alpha val="80000"/>
                </a:srgbClr>
              </a:gs>
            </a:gsLst>
            <a:lin ang="0" scaled="0"/>
          </a:gradFill>
        </p:grpSpPr>
        <p:sp>
          <p:nvSpPr>
            <p:cNvPr id="51" name="椭圆 50"/>
            <p:cNvSpPr/>
            <p:nvPr/>
          </p:nvSpPr>
          <p:spPr>
            <a:xfrm>
              <a:off x="1121996" y="1976559"/>
              <a:ext cx="1589454" cy="1589454"/>
            </a:xfrm>
            <a:prstGeom prst="ellipse">
              <a:avLst/>
            </a:prstGeom>
            <a:grpFill/>
            <a:ln w="57150">
              <a:noFill/>
            </a:ln>
            <a:effectLst>
              <a:outerShdw blurRad="254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2" name="椭圆 22"/>
            <p:cNvSpPr/>
            <p:nvPr/>
          </p:nvSpPr>
          <p:spPr>
            <a:xfrm>
              <a:off x="1477108" y="2363885"/>
              <a:ext cx="879230" cy="814801"/>
            </a:xfrm>
            <a:custGeom>
              <a:avLst/>
              <a:gdLst>
                <a:gd name="T0" fmla="*/ 5404 w 6827"/>
                <a:gd name="T1" fmla="*/ 0 h 6336"/>
                <a:gd name="T2" fmla="*/ 1422 w 6827"/>
                <a:gd name="T3" fmla="*/ 0 h 6336"/>
                <a:gd name="T4" fmla="*/ 0 w 6827"/>
                <a:gd name="T5" fmla="*/ 1422 h 6336"/>
                <a:gd name="T6" fmla="*/ 0 w 6827"/>
                <a:gd name="T7" fmla="*/ 3698 h 6336"/>
                <a:gd name="T8" fmla="*/ 1422 w 6827"/>
                <a:gd name="T9" fmla="*/ 5120 h 6336"/>
                <a:gd name="T10" fmla="*/ 2276 w 6827"/>
                <a:gd name="T11" fmla="*/ 5120 h 6336"/>
                <a:gd name="T12" fmla="*/ 2560 w 6827"/>
                <a:gd name="T13" fmla="*/ 4836 h 6336"/>
                <a:gd name="T14" fmla="*/ 2276 w 6827"/>
                <a:gd name="T15" fmla="*/ 4551 h 6336"/>
                <a:gd name="T16" fmla="*/ 1422 w 6827"/>
                <a:gd name="T17" fmla="*/ 4551 h 6336"/>
                <a:gd name="T18" fmla="*/ 569 w 6827"/>
                <a:gd name="T19" fmla="*/ 3698 h 6336"/>
                <a:gd name="T20" fmla="*/ 569 w 6827"/>
                <a:gd name="T21" fmla="*/ 1422 h 6336"/>
                <a:gd name="T22" fmla="*/ 1422 w 6827"/>
                <a:gd name="T23" fmla="*/ 569 h 6336"/>
                <a:gd name="T24" fmla="*/ 5404 w 6827"/>
                <a:gd name="T25" fmla="*/ 569 h 6336"/>
                <a:gd name="T26" fmla="*/ 6258 w 6827"/>
                <a:gd name="T27" fmla="*/ 1422 h 6336"/>
                <a:gd name="T28" fmla="*/ 6258 w 6827"/>
                <a:gd name="T29" fmla="*/ 3698 h 6336"/>
                <a:gd name="T30" fmla="*/ 5404 w 6827"/>
                <a:gd name="T31" fmla="*/ 4551 h 6336"/>
                <a:gd name="T32" fmla="*/ 5404 w 6827"/>
                <a:gd name="T33" fmla="*/ 3698 h 6336"/>
                <a:gd name="T34" fmla="*/ 4962 w 6827"/>
                <a:gd name="T35" fmla="*/ 3461 h 6336"/>
                <a:gd name="T36" fmla="*/ 3256 w 6827"/>
                <a:gd name="T37" fmla="*/ 4599 h 6336"/>
                <a:gd name="T38" fmla="*/ 3256 w 6827"/>
                <a:gd name="T39" fmla="*/ 5072 h 6336"/>
                <a:gd name="T40" fmla="*/ 4962 w 6827"/>
                <a:gd name="T41" fmla="*/ 6210 h 6336"/>
                <a:gd name="T42" fmla="*/ 5404 w 6827"/>
                <a:gd name="T43" fmla="*/ 5974 h 6336"/>
                <a:gd name="T44" fmla="*/ 5404 w 6827"/>
                <a:gd name="T45" fmla="*/ 5120 h 6336"/>
                <a:gd name="T46" fmla="*/ 6827 w 6827"/>
                <a:gd name="T47" fmla="*/ 3698 h 6336"/>
                <a:gd name="T48" fmla="*/ 6827 w 6827"/>
                <a:gd name="T49" fmla="*/ 1422 h 6336"/>
                <a:gd name="T50" fmla="*/ 5404 w 6827"/>
                <a:gd name="T51" fmla="*/ 0 h 6336"/>
                <a:gd name="T52" fmla="*/ 4836 w 6827"/>
                <a:gd name="T53" fmla="*/ 5442 h 6336"/>
                <a:gd name="T54" fmla="*/ 3926 w 6827"/>
                <a:gd name="T55" fmla="*/ 4836 h 6336"/>
                <a:gd name="T56" fmla="*/ 4836 w 6827"/>
                <a:gd name="T57" fmla="*/ 4229 h 6336"/>
                <a:gd name="T58" fmla="*/ 4836 w 6827"/>
                <a:gd name="T59" fmla="*/ 5442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827" h="6336">
                  <a:moveTo>
                    <a:pt x="5404" y="0"/>
                  </a:moveTo>
                  <a:lnTo>
                    <a:pt x="1422" y="0"/>
                  </a:lnTo>
                  <a:cubicBezTo>
                    <a:pt x="637" y="0"/>
                    <a:pt x="0" y="637"/>
                    <a:pt x="0" y="1422"/>
                  </a:cubicBezTo>
                  <a:lnTo>
                    <a:pt x="0" y="3698"/>
                  </a:lnTo>
                  <a:cubicBezTo>
                    <a:pt x="0" y="4483"/>
                    <a:pt x="637" y="5120"/>
                    <a:pt x="1422" y="5120"/>
                  </a:cubicBezTo>
                  <a:lnTo>
                    <a:pt x="2276" y="5120"/>
                  </a:lnTo>
                  <a:cubicBezTo>
                    <a:pt x="2433" y="5120"/>
                    <a:pt x="2560" y="4993"/>
                    <a:pt x="2560" y="4836"/>
                  </a:cubicBezTo>
                  <a:cubicBezTo>
                    <a:pt x="2560" y="4679"/>
                    <a:pt x="2433" y="4551"/>
                    <a:pt x="2276" y="4551"/>
                  </a:cubicBezTo>
                  <a:lnTo>
                    <a:pt x="1422" y="4551"/>
                  </a:lnTo>
                  <a:cubicBezTo>
                    <a:pt x="951" y="4551"/>
                    <a:pt x="569" y="4169"/>
                    <a:pt x="569" y="3698"/>
                  </a:cubicBezTo>
                  <a:lnTo>
                    <a:pt x="569" y="1422"/>
                  </a:lnTo>
                  <a:cubicBezTo>
                    <a:pt x="569" y="951"/>
                    <a:pt x="951" y="569"/>
                    <a:pt x="1422" y="569"/>
                  </a:cubicBezTo>
                  <a:lnTo>
                    <a:pt x="5404" y="569"/>
                  </a:lnTo>
                  <a:cubicBezTo>
                    <a:pt x="5876" y="569"/>
                    <a:pt x="6258" y="951"/>
                    <a:pt x="6258" y="1422"/>
                  </a:cubicBezTo>
                  <a:lnTo>
                    <a:pt x="6258" y="3698"/>
                  </a:lnTo>
                  <a:cubicBezTo>
                    <a:pt x="6258" y="4169"/>
                    <a:pt x="5876" y="4551"/>
                    <a:pt x="5404" y="4551"/>
                  </a:cubicBezTo>
                  <a:lnTo>
                    <a:pt x="5404" y="3698"/>
                  </a:lnTo>
                  <a:cubicBezTo>
                    <a:pt x="5404" y="3471"/>
                    <a:pt x="5151" y="3335"/>
                    <a:pt x="4962" y="3461"/>
                  </a:cubicBezTo>
                  <a:lnTo>
                    <a:pt x="3256" y="4599"/>
                  </a:lnTo>
                  <a:cubicBezTo>
                    <a:pt x="3087" y="4712"/>
                    <a:pt x="3087" y="4960"/>
                    <a:pt x="3256" y="5072"/>
                  </a:cubicBezTo>
                  <a:lnTo>
                    <a:pt x="4962" y="6210"/>
                  </a:lnTo>
                  <a:cubicBezTo>
                    <a:pt x="5151" y="6336"/>
                    <a:pt x="5404" y="6201"/>
                    <a:pt x="5404" y="5974"/>
                  </a:cubicBezTo>
                  <a:lnTo>
                    <a:pt x="5404" y="5120"/>
                  </a:lnTo>
                  <a:cubicBezTo>
                    <a:pt x="6190" y="5120"/>
                    <a:pt x="6827" y="4483"/>
                    <a:pt x="6827" y="3698"/>
                  </a:cubicBezTo>
                  <a:lnTo>
                    <a:pt x="6827" y="1422"/>
                  </a:lnTo>
                  <a:cubicBezTo>
                    <a:pt x="6827" y="637"/>
                    <a:pt x="6190" y="0"/>
                    <a:pt x="5404" y="0"/>
                  </a:cubicBezTo>
                  <a:close/>
                  <a:moveTo>
                    <a:pt x="4836" y="5442"/>
                  </a:moveTo>
                  <a:lnTo>
                    <a:pt x="3926" y="4836"/>
                  </a:lnTo>
                  <a:lnTo>
                    <a:pt x="4836" y="4229"/>
                  </a:lnTo>
                  <a:lnTo>
                    <a:pt x="4836" y="544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solidFill>
                  <a:schemeClr val="tx1">
                    <a:lumMod val="85000"/>
                    <a:lumOff val="1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25" name="文本框 6"/>
          <p:cNvSpPr txBox="1"/>
          <p:nvPr/>
        </p:nvSpPr>
        <p:spPr>
          <a:xfrm>
            <a:off x="1547495" y="2199005"/>
            <a:ext cx="2192020" cy="92964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just" defTabSz="914400">
              <a:lnSpc>
                <a:spcPct val="130000"/>
              </a:lnSpc>
              <a:defRPr/>
            </a:pPr>
            <a:r>
              <a:rPr lang="en-US" altLang="zh-CN" sz="1400" b="1" kern="0" dirty="0">
                <a:solidFill>
                  <a:srgbClr val="002060"/>
                </a:solidFill>
                <a:latin typeface="Arial" panose="020B0604020202020204" pitchFamily="34" charset="0"/>
                <a:ea typeface="微软雅黑" panose="020B0503020204020204" pitchFamily="34" charset="-122"/>
                <a:cs typeface="+mn-ea"/>
                <a:sym typeface="Arial" panose="020B0604020202020204" pitchFamily="34" charset="0"/>
              </a:rPr>
              <a:t>Degree Program:</a:t>
            </a:r>
          </a:p>
          <a:p>
            <a:pPr algn="just" defTabSz="914400">
              <a:lnSpc>
                <a:spcPct val="130000"/>
              </a:lnSpc>
              <a:defRPr/>
            </a:pPr>
            <a:r>
              <a:rPr lang="en-US" altLang="zh-CN" sz="1400" b="1" kern="0" dirty="0">
                <a:solidFill>
                  <a:srgbClr val="002060"/>
                </a:solidFill>
                <a:latin typeface="Arial" panose="020B0604020202020204" pitchFamily="34" charset="0"/>
                <a:ea typeface="微软雅黑" panose="020B0503020204020204" pitchFamily="34" charset="-122"/>
                <a:cs typeface="+mn-ea"/>
                <a:sym typeface="Arial" panose="020B0604020202020204" pitchFamily="34" charset="0"/>
              </a:rPr>
              <a:t>apply1@oa.shu.edu.cn</a:t>
            </a:r>
          </a:p>
          <a:p>
            <a:pPr algn="just" defTabSz="914400">
              <a:lnSpc>
                <a:spcPct val="130000"/>
              </a:lnSpc>
              <a:defRPr/>
            </a:pPr>
            <a:r>
              <a:rPr lang="en-US" altLang="zh-CN" sz="1400" b="1" kern="0" dirty="0">
                <a:solidFill>
                  <a:srgbClr val="002060"/>
                </a:solidFill>
                <a:latin typeface="Arial" panose="020B0604020202020204" pitchFamily="34" charset="0"/>
                <a:ea typeface="微软雅黑" panose="020B0503020204020204" pitchFamily="34" charset="-122"/>
                <a:cs typeface="+mn-ea"/>
                <a:sym typeface="Arial" panose="020B0604020202020204" pitchFamily="34" charset="0"/>
              </a:rPr>
              <a:t>apply9@oa.shu.edu.cn</a:t>
            </a:r>
          </a:p>
        </p:txBody>
      </p:sp>
      <p:sp>
        <p:nvSpPr>
          <p:cNvPr id="27" name="文本框 6"/>
          <p:cNvSpPr txBox="1"/>
          <p:nvPr/>
        </p:nvSpPr>
        <p:spPr>
          <a:xfrm>
            <a:off x="1547495" y="3459480"/>
            <a:ext cx="2160905" cy="65024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just" defTabSz="914400">
              <a:lnSpc>
                <a:spcPct val="130000"/>
              </a:lnSpc>
              <a:defRPr/>
            </a:pPr>
            <a:r>
              <a:rPr lang="en-US" altLang="zh-CN" sz="1400" b="1" kern="0" dirty="0">
                <a:solidFill>
                  <a:srgbClr val="002060"/>
                </a:solidFill>
                <a:latin typeface="Arial" panose="020B0604020202020204" pitchFamily="34" charset="0"/>
                <a:ea typeface="微软雅黑" panose="020B0503020204020204" pitchFamily="34" charset="-122"/>
                <a:cs typeface="+mn-ea"/>
                <a:sym typeface="Arial" panose="020B0604020202020204" pitchFamily="34" charset="0"/>
              </a:rPr>
              <a:t>Credit Program:</a:t>
            </a:r>
          </a:p>
          <a:p>
            <a:pPr algn="just" defTabSz="914400">
              <a:lnSpc>
                <a:spcPct val="130000"/>
              </a:lnSpc>
              <a:defRPr/>
            </a:pPr>
            <a:r>
              <a:rPr lang="en-US" altLang="zh-CN" sz="1400" b="1" kern="0" dirty="0">
                <a:solidFill>
                  <a:srgbClr val="002060"/>
                </a:solidFill>
                <a:latin typeface="Arial" panose="020B0604020202020204" pitchFamily="34" charset="0"/>
                <a:ea typeface="微软雅黑" panose="020B0503020204020204" pitchFamily="34" charset="-122"/>
                <a:cs typeface="+mn-ea"/>
                <a:sym typeface="Arial" panose="020B0604020202020204" pitchFamily="34" charset="0"/>
              </a:rPr>
              <a:t>apply3@oa.shu.edu.cn</a:t>
            </a:r>
          </a:p>
        </p:txBody>
      </p:sp>
      <p:sp>
        <p:nvSpPr>
          <p:cNvPr id="28" name="文本框 6"/>
          <p:cNvSpPr txBox="1"/>
          <p:nvPr/>
        </p:nvSpPr>
        <p:spPr>
          <a:xfrm>
            <a:off x="1563370" y="4645660"/>
            <a:ext cx="2160905" cy="92964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defTabSz="914400">
              <a:lnSpc>
                <a:spcPct val="130000"/>
              </a:lnSpc>
              <a:defRPr/>
            </a:pPr>
            <a:r>
              <a:rPr lang="en-US" altLang="zh-CN" sz="1400" b="1" kern="0" dirty="0">
                <a:solidFill>
                  <a:srgbClr val="002060"/>
                </a:solidFill>
                <a:latin typeface="Arial" panose="020B0604020202020204" pitchFamily="34" charset="0"/>
                <a:ea typeface="微软雅黑" panose="020B0503020204020204" pitchFamily="34" charset="-122"/>
                <a:cs typeface="+mn-ea"/>
                <a:sym typeface="Arial" panose="020B0604020202020204" pitchFamily="34" charset="0"/>
              </a:rPr>
              <a:t>Chinese Langauge Program:</a:t>
            </a:r>
          </a:p>
          <a:p>
            <a:pPr algn="just" defTabSz="914400">
              <a:lnSpc>
                <a:spcPct val="130000"/>
              </a:lnSpc>
              <a:defRPr/>
            </a:pPr>
            <a:r>
              <a:rPr lang="en-US" altLang="zh-CN" sz="1400" b="1" kern="0" dirty="0">
                <a:solidFill>
                  <a:srgbClr val="002060"/>
                </a:solidFill>
                <a:latin typeface="Arial" panose="020B0604020202020204" pitchFamily="34" charset="0"/>
                <a:ea typeface="微软雅黑" panose="020B0503020204020204" pitchFamily="34" charset="-122"/>
                <a:cs typeface="+mn-ea"/>
                <a:sym typeface="Arial" panose="020B0604020202020204" pitchFamily="34" charset="0"/>
              </a:rPr>
              <a:t>apply6@oa.shu.edu.cn</a:t>
            </a:r>
          </a:p>
        </p:txBody>
      </p:sp>
      <p:sp>
        <p:nvSpPr>
          <p:cNvPr id="29" name="文本框 6"/>
          <p:cNvSpPr txBox="1"/>
          <p:nvPr/>
        </p:nvSpPr>
        <p:spPr>
          <a:xfrm>
            <a:off x="4409440" y="2199005"/>
            <a:ext cx="2177415" cy="65024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just" defTabSz="914400">
              <a:lnSpc>
                <a:spcPct val="130000"/>
              </a:lnSpc>
              <a:defRPr/>
            </a:pPr>
            <a:r>
              <a:rPr lang="en-US" altLang="zh-CN" sz="1400" b="1" kern="0" dirty="0">
                <a:solidFill>
                  <a:srgbClr val="002060"/>
                </a:solidFill>
                <a:latin typeface="Arial" panose="020B0604020202020204" pitchFamily="34" charset="0"/>
                <a:ea typeface="微软雅黑" panose="020B0503020204020204" pitchFamily="34" charset="-122"/>
                <a:cs typeface="+mn-ea"/>
                <a:sym typeface="Arial" panose="020B0604020202020204" pitchFamily="34" charset="0"/>
              </a:rPr>
              <a:t>Talored Program:</a:t>
            </a:r>
          </a:p>
          <a:p>
            <a:pPr algn="just" defTabSz="914400">
              <a:lnSpc>
                <a:spcPct val="130000"/>
              </a:lnSpc>
              <a:defRPr/>
            </a:pPr>
            <a:r>
              <a:rPr lang="en-US" altLang="zh-CN" sz="1400" b="1" kern="0" dirty="0">
                <a:solidFill>
                  <a:srgbClr val="002060"/>
                </a:solidFill>
                <a:latin typeface="Arial" panose="020B0604020202020204" pitchFamily="34" charset="0"/>
                <a:ea typeface="微软雅黑" panose="020B0503020204020204" pitchFamily="34" charset="-122"/>
                <a:cs typeface="+mn-ea"/>
                <a:sym typeface="Arial" panose="020B0604020202020204" pitchFamily="34" charset="0"/>
              </a:rPr>
              <a:t>apply2@oa.shu.edu.cn</a:t>
            </a:r>
          </a:p>
        </p:txBody>
      </p:sp>
      <p:sp>
        <p:nvSpPr>
          <p:cNvPr id="30" name="文本框 6"/>
          <p:cNvSpPr txBox="1"/>
          <p:nvPr/>
        </p:nvSpPr>
        <p:spPr>
          <a:xfrm>
            <a:off x="4409440" y="3459480"/>
            <a:ext cx="2177415" cy="65024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just" defTabSz="914400">
              <a:lnSpc>
                <a:spcPct val="130000"/>
              </a:lnSpc>
              <a:defRPr/>
            </a:pPr>
            <a:r>
              <a:rPr lang="en-US" altLang="zh-CN" sz="1400" b="1" kern="0" dirty="0">
                <a:solidFill>
                  <a:srgbClr val="002060"/>
                </a:solidFill>
                <a:latin typeface="Arial" panose="020B0604020202020204" pitchFamily="34" charset="0"/>
                <a:ea typeface="微软雅黑" panose="020B0503020204020204" pitchFamily="34" charset="-122"/>
                <a:cs typeface="+mn-ea"/>
                <a:sym typeface="Arial" panose="020B0604020202020204" pitchFamily="34" charset="0"/>
              </a:rPr>
              <a:t>Exchange Program</a:t>
            </a:r>
          </a:p>
          <a:p>
            <a:pPr algn="just" defTabSz="914400">
              <a:lnSpc>
                <a:spcPct val="130000"/>
              </a:lnSpc>
              <a:defRPr/>
            </a:pPr>
            <a:r>
              <a:rPr lang="en-US" altLang="zh-CN" sz="1400" b="1" kern="0" dirty="0">
                <a:solidFill>
                  <a:srgbClr val="002060"/>
                </a:solidFill>
                <a:latin typeface="Arial" panose="020B0604020202020204" pitchFamily="34" charset="0"/>
                <a:ea typeface="微软雅黑" panose="020B0503020204020204" pitchFamily="34" charset="-122"/>
                <a:cs typeface="+mn-ea"/>
                <a:sym typeface="Arial" panose="020B0604020202020204" pitchFamily="34" charset="0"/>
              </a:rPr>
              <a:t>apply4@oa.shu.edu.cn</a:t>
            </a:r>
          </a:p>
        </p:txBody>
      </p:sp>
      <p:sp>
        <p:nvSpPr>
          <p:cNvPr id="31" name="文本框 6"/>
          <p:cNvSpPr txBox="1"/>
          <p:nvPr/>
        </p:nvSpPr>
        <p:spPr>
          <a:xfrm>
            <a:off x="4409440" y="4785360"/>
            <a:ext cx="2177415" cy="65024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just" defTabSz="914400">
              <a:lnSpc>
                <a:spcPct val="130000"/>
              </a:lnSpc>
              <a:defRPr/>
            </a:pPr>
            <a:r>
              <a:rPr lang="en-US" altLang="zh-CN" sz="1400" b="1" kern="0" dirty="0">
                <a:solidFill>
                  <a:srgbClr val="002060"/>
                </a:solidFill>
                <a:latin typeface="Arial" panose="020B0604020202020204" pitchFamily="34" charset="0"/>
                <a:ea typeface="微软雅黑" panose="020B0503020204020204" pitchFamily="34" charset="-122"/>
                <a:cs typeface="+mn-ea"/>
                <a:sym typeface="Arial" panose="020B0604020202020204" pitchFamily="34" charset="0"/>
              </a:rPr>
              <a:t>Scholarship Program:</a:t>
            </a:r>
          </a:p>
          <a:p>
            <a:pPr algn="just" defTabSz="914400">
              <a:lnSpc>
                <a:spcPct val="130000"/>
              </a:lnSpc>
              <a:defRPr/>
            </a:pPr>
            <a:r>
              <a:rPr lang="en-US" altLang="zh-CN" sz="1400" b="1" kern="0" dirty="0">
                <a:solidFill>
                  <a:srgbClr val="002060"/>
                </a:solidFill>
                <a:latin typeface="Arial" panose="020B0604020202020204" pitchFamily="34" charset="0"/>
                <a:ea typeface="微软雅黑" panose="020B0503020204020204" pitchFamily="34" charset="-122"/>
                <a:cs typeface="+mn-ea"/>
                <a:sym typeface="Arial" panose="020B0604020202020204" pitchFamily="34" charset="0"/>
              </a:rPr>
              <a:t>apply8@oa.shu.edu.cn</a:t>
            </a:r>
          </a:p>
        </p:txBody>
      </p:sp>
      <p:grpSp>
        <p:nvGrpSpPr>
          <p:cNvPr id="32" name="组合 31"/>
          <p:cNvGrpSpPr/>
          <p:nvPr/>
        </p:nvGrpSpPr>
        <p:grpSpPr>
          <a:xfrm>
            <a:off x="7409162" y="1028455"/>
            <a:ext cx="2411081" cy="1835970"/>
            <a:chOff x="6818242" y="1594564"/>
            <a:chExt cx="2411081" cy="1835966"/>
          </a:xfrm>
        </p:grpSpPr>
        <p:sp>
          <p:nvSpPr>
            <p:cNvPr id="33" name="文本框 6"/>
            <p:cNvSpPr txBox="1"/>
            <p:nvPr/>
          </p:nvSpPr>
          <p:spPr>
            <a:xfrm>
              <a:off x="6818242" y="2046868"/>
              <a:ext cx="2411081" cy="138366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just" fontAlgn="base">
                <a:lnSpc>
                  <a:spcPct val="150000"/>
                </a:lnSpc>
                <a:spcBef>
                  <a:spcPct val="0"/>
                </a:spcBef>
                <a:spcAft>
                  <a:spcPct val="0"/>
                </a:spcAft>
                <a:defRPr/>
              </a:pPr>
              <a:r>
                <a:rPr lang="zh-CN" altLang="en-US" sz="1400" b="1" kern="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rPr>
                <a:t>所有的申请均在线上申请</a:t>
              </a:r>
            </a:p>
            <a:p>
              <a:pPr algn="just" fontAlgn="base">
                <a:lnSpc>
                  <a:spcPct val="150000"/>
                </a:lnSpc>
                <a:spcBef>
                  <a:spcPct val="0"/>
                </a:spcBef>
                <a:spcAft>
                  <a:spcPct val="0"/>
                </a:spcAft>
                <a:defRPr/>
              </a:pPr>
              <a:r>
                <a:rPr lang="zh-CN" altLang="en-US" sz="1400" b="1" kern="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rPr>
                <a:t>如果你想了解更多申请方面的相关信息，可以根据以下邮箱联系我们</a:t>
              </a:r>
            </a:p>
          </p:txBody>
        </p:sp>
        <p:sp>
          <p:nvSpPr>
            <p:cNvPr id="34" name="文本框 7"/>
            <p:cNvSpPr txBox="1"/>
            <p:nvPr/>
          </p:nvSpPr>
          <p:spPr>
            <a:xfrm>
              <a:off x="7117327" y="1594564"/>
              <a:ext cx="2045970" cy="521969"/>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r>
                <a:rPr lang="en-US" altLang="zh-CN" sz="2800" b="1" kern="0" dirty="0">
                  <a:gradFill>
                    <a:gsLst>
                      <a:gs pos="0">
                        <a:prstClr val="white"/>
                      </a:gs>
                      <a:gs pos="100000">
                        <a:prstClr val="white">
                          <a:lumMod val="95000"/>
                        </a:prstClr>
                      </a:gs>
                    </a:gsLst>
                    <a:lin ang="5400000" scaled="1"/>
                  </a:gradFill>
                  <a:latin typeface="Arial" panose="020B0604020202020204" pitchFamily="34" charset="0"/>
                  <a:ea typeface="微软雅黑" panose="020B0503020204020204" pitchFamily="34" charset="-122"/>
                  <a:cs typeface="+mn-ea"/>
                  <a:sym typeface="Arial" panose="020B0604020202020204" pitchFamily="34" charset="0"/>
                </a:rPr>
                <a:t>Reminder</a:t>
              </a:r>
            </a:p>
          </p:txBody>
        </p:sp>
      </p:grpSp>
      <p:sp>
        <p:nvSpPr>
          <p:cNvPr id="3" name="等腰三角形 2"/>
          <p:cNvSpPr/>
          <p:nvPr/>
        </p:nvSpPr>
        <p:spPr>
          <a:xfrm rot="5400000">
            <a:off x="-174172" y="174171"/>
            <a:ext cx="841829" cy="493486"/>
          </a:xfrm>
          <a:prstGeom prst="triangle">
            <a:avLst/>
          </a:prstGeom>
          <a:gradFill>
            <a:gsLst>
              <a:gs pos="0">
                <a:srgbClr val="007BD3"/>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07" name="矩形 306"/>
          <p:cNvSpPr/>
          <p:nvPr/>
        </p:nvSpPr>
        <p:spPr>
          <a:xfrm>
            <a:off x="562610" y="159385"/>
            <a:ext cx="7556500" cy="583565"/>
          </a:xfrm>
          <a:prstGeom prst="rect">
            <a:avLst/>
          </a:prstGeom>
        </p:spPr>
        <p:txBody>
          <a:bodyPr wrap="square">
            <a:spAutoFit/>
          </a:bodyPr>
          <a:lstStyle/>
          <a:p>
            <a:pPr lvl="0" algn="l">
              <a:buClrTx/>
              <a:buSzTx/>
              <a:buFontTx/>
              <a:defRPr/>
            </a:pPr>
            <a:r>
              <a:rPr lang="en-US" altLang="zh-CN" sz="3200" b="1" kern="0" dirty="0">
                <a:solidFill>
                  <a:srgbClr val="376092"/>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mn-ea"/>
              </a:rPr>
              <a:t>Contact Us</a:t>
            </a:r>
            <a:endParaRPr lang="en-US" altLang="zh-CN" sz="3200" b="1" i="1" kern="0" dirty="0">
              <a:solidFill>
                <a:srgbClr val="376092"/>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mn-ea"/>
            </a:endParaRPr>
          </a:p>
        </p:txBody>
      </p:sp>
      <p:pic>
        <p:nvPicPr>
          <p:cNvPr id="4" name="图片 3"/>
          <p:cNvPicPr>
            <a:picLocks noChangeAspect="1"/>
          </p:cNvPicPr>
          <p:nvPr/>
        </p:nvPicPr>
        <p:blipFill>
          <a:blip r:embed="rId4"/>
          <a:stretch>
            <a:fillRect/>
          </a:stretch>
        </p:blipFill>
        <p:spPr>
          <a:xfrm>
            <a:off x="6659245" y="696595"/>
            <a:ext cx="5412105" cy="60166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bldLst>
      <p:bldP spid="2" grpId="0" bldLvl="0" animBg="1"/>
      <p:bldP spid="25" grpId="0"/>
      <p:bldP spid="27" grpId="0"/>
      <p:bldP spid="28" grpId="0"/>
      <p:bldP spid="29" grpId="0"/>
      <p:bldP spid="30" grpId="0"/>
      <p:bldP spid="31"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图片 44"/>
          <p:cNvPicPr>
            <a:picLocks noChangeAspect="1"/>
          </p:cNvPicPr>
          <p:nvPr/>
        </p:nvPicPr>
        <p:blipFill rotWithShape="1">
          <a:blip r:embed="rId5"/>
          <a:srcRect l="10864"/>
          <a:stretch>
            <a:fillRect/>
          </a:stretch>
        </p:blipFill>
        <p:spPr>
          <a:xfrm>
            <a:off x="0" y="830995"/>
            <a:ext cx="12185150" cy="6027004"/>
          </a:xfrm>
          <a:prstGeom prst="rect">
            <a:avLst/>
          </a:prstGeom>
        </p:spPr>
      </p:pic>
      <p:sp>
        <p:nvSpPr>
          <p:cNvPr id="5" name="ïŝḷîďe"/>
          <p:cNvSpPr/>
          <p:nvPr/>
        </p:nvSpPr>
        <p:spPr>
          <a:xfrm>
            <a:off x="5676900" y="841155"/>
            <a:ext cx="6515099" cy="6027003"/>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rmAutofit/>
          </a:bodyPr>
          <a:lstStyle/>
          <a:p>
            <a:pPr lvl="0" algn="ctr" defTabSz="913765">
              <a:lnSpc>
                <a:spcPct val="200000"/>
              </a:lnSpc>
              <a:buSzPct val="25000"/>
              <a:defRPr/>
            </a:pPr>
            <a:endParaRPr lang="en-US" altLang="zh-CN" sz="3200" i="1" dirty="0">
              <a:solidFill>
                <a:schemeClr val="tx1"/>
              </a:solidFill>
            </a:endParaRPr>
          </a:p>
        </p:txBody>
      </p:sp>
      <p:sp>
        <p:nvSpPr>
          <p:cNvPr id="43" name="文本框 42"/>
          <p:cNvSpPr txBox="1"/>
          <p:nvPr/>
        </p:nvSpPr>
        <p:spPr>
          <a:xfrm>
            <a:off x="675877" y="96752"/>
            <a:ext cx="5332998" cy="583565"/>
          </a:xfrm>
          <a:prstGeom prst="rect">
            <a:avLst/>
          </a:prstGeom>
          <a:noFill/>
        </p:spPr>
        <p:txBody>
          <a:bodyPr wrap="square" rtlCol="0">
            <a:spAutoFit/>
          </a:bodyPr>
          <a:lstStyle/>
          <a:p>
            <a:pPr lvl="0" algn="l">
              <a:buClrTx/>
              <a:buSzTx/>
              <a:buFontTx/>
              <a:defRPr/>
            </a:pPr>
            <a:r>
              <a:rPr lang="en-US" altLang="zh-CN" sz="3200" b="1" kern="0" dirty="0">
                <a:solidFill>
                  <a:srgbClr val="376092"/>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mn-ea"/>
              </a:rPr>
              <a:t>Contact Us</a:t>
            </a:r>
          </a:p>
        </p:txBody>
      </p:sp>
      <p:sp>
        <p:nvSpPr>
          <p:cNvPr id="1117" name="等腰三角形 1116"/>
          <p:cNvSpPr/>
          <p:nvPr/>
        </p:nvSpPr>
        <p:spPr>
          <a:xfrm rot="5400000">
            <a:off x="-174172" y="174171"/>
            <a:ext cx="841829" cy="493486"/>
          </a:xfrm>
          <a:prstGeom prst="triangle">
            <a:avLst/>
          </a:prstGeom>
          <a:gradFill>
            <a:gsLst>
              <a:gs pos="0">
                <a:srgbClr val="007BD3"/>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3" name="图片 2" descr="上大logo最新"/>
          <p:cNvPicPr>
            <a:picLocks noChangeAspect="1"/>
          </p:cNvPicPr>
          <p:nvPr/>
        </p:nvPicPr>
        <p:blipFill>
          <a:blip r:embed="rId6">
            <a:clrChange>
              <a:clrFrom>
                <a:srgbClr val="F6F5F6">
                  <a:alpha val="100000"/>
                </a:srgbClr>
              </a:clrFrom>
              <a:clrTo>
                <a:srgbClr val="F6F5F6">
                  <a:alpha val="100000"/>
                  <a:alpha val="0"/>
                </a:srgbClr>
              </a:clrTo>
            </a:clrChange>
          </a:blip>
          <a:stretch>
            <a:fillRect/>
          </a:stretch>
        </p:blipFill>
        <p:spPr>
          <a:xfrm>
            <a:off x="9076690" y="0"/>
            <a:ext cx="3115310" cy="841375"/>
          </a:xfrm>
          <a:prstGeom prst="rect">
            <a:avLst/>
          </a:prstGeom>
        </p:spPr>
      </p:pic>
      <p:sp>
        <p:nvSpPr>
          <p:cNvPr id="12" name="文本框 11"/>
          <p:cNvSpPr txBox="1"/>
          <p:nvPr/>
        </p:nvSpPr>
        <p:spPr>
          <a:xfrm>
            <a:off x="6616700" y="1200785"/>
            <a:ext cx="4720590" cy="398780"/>
          </a:xfrm>
          <a:prstGeom prst="rect">
            <a:avLst/>
          </a:prstGeom>
          <a:noFill/>
        </p:spPr>
        <p:txBody>
          <a:bodyPr wrap="square" rtlCol="0">
            <a:spAutoFit/>
          </a:bodyPr>
          <a:lstStyle/>
          <a:p>
            <a:r>
              <a:rPr lang="en-US" altLang="zh-CN" sz="2000" b="1">
                <a:solidFill>
                  <a:srgbClr val="002060"/>
                </a:solidFill>
                <a:latin typeface="微软雅黑" panose="020B0503020204020204" pitchFamily="34" charset="-122"/>
                <a:ea typeface="微软雅黑" panose="020B0503020204020204" pitchFamily="34" charset="-122"/>
              </a:rPr>
              <a:t>College of International Education</a:t>
            </a:r>
          </a:p>
        </p:txBody>
      </p:sp>
      <p:pic>
        <p:nvPicPr>
          <p:cNvPr id="14" name="图片 13" descr="32313533383736313b32313533383733343bbda8d6feb4f3cfc3"/>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5676900" y="942975"/>
            <a:ext cx="914400" cy="914400"/>
          </a:xfrm>
          <a:prstGeom prst="rect">
            <a:avLst/>
          </a:prstGeom>
        </p:spPr>
      </p:pic>
      <p:pic>
        <p:nvPicPr>
          <p:cNvPr id="15" name="图片 14" descr="32313533383736313b32313533383733343bbda8d6feb4f3cfc3"/>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5676900" y="2170430"/>
            <a:ext cx="914400" cy="914400"/>
          </a:xfrm>
          <a:prstGeom prst="rect">
            <a:avLst/>
          </a:prstGeom>
        </p:spPr>
      </p:pic>
      <p:sp>
        <p:nvSpPr>
          <p:cNvPr id="16" name="文本框 15"/>
          <p:cNvSpPr txBox="1"/>
          <p:nvPr/>
        </p:nvSpPr>
        <p:spPr>
          <a:xfrm>
            <a:off x="6591300" y="2291715"/>
            <a:ext cx="5363845" cy="891540"/>
          </a:xfrm>
          <a:prstGeom prst="rect">
            <a:avLst/>
          </a:prstGeom>
          <a:noFill/>
        </p:spPr>
        <p:txBody>
          <a:bodyPr wrap="square" rtlCol="0">
            <a:spAutoFit/>
          </a:bodyPr>
          <a:lstStyle/>
          <a:p>
            <a:pPr algn="l">
              <a:lnSpc>
                <a:spcPct val="130000"/>
              </a:lnSpc>
              <a:buClrTx/>
              <a:buSzTx/>
              <a:buFontTx/>
            </a:pPr>
            <a:r>
              <a:rPr lang="en-US" altLang="zh-CN" sz="2000" b="1">
                <a:solidFill>
                  <a:srgbClr val="002060"/>
                </a:solidFill>
                <a:latin typeface="微软雅黑" panose="020B0503020204020204" pitchFamily="34" charset="-122"/>
                <a:ea typeface="微软雅黑" panose="020B0503020204020204" pitchFamily="34" charset="-122"/>
                <a:sym typeface="+mn-ea"/>
              </a:rPr>
              <a:t>Website</a:t>
            </a:r>
            <a:r>
              <a:rPr lang="zh-CN" altLang="en-US" sz="2000" b="1">
                <a:solidFill>
                  <a:srgbClr val="002060"/>
                </a:solidFill>
                <a:latin typeface="微软雅黑" panose="020B0503020204020204" pitchFamily="34" charset="-122"/>
                <a:ea typeface="微软雅黑" panose="020B0503020204020204" pitchFamily="34" charset="-122"/>
                <a:sym typeface="+mn-ea"/>
              </a:rPr>
              <a:t>：https://apply.shu.edu.cn</a:t>
            </a:r>
          </a:p>
          <a:p>
            <a:pPr algn="l">
              <a:lnSpc>
                <a:spcPct val="130000"/>
              </a:lnSpc>
              <a:buClrTx/>
              <a:buSzTx/>
              <a:buFontTx/>
            </a:pPr>
            <a:endParaRPr lang="zh-CN" altLang="en-US" sz="2000" b="1">
              <a:solidFill>
                <a:srgbClr val="002060"/>
              </a:solidFill>
              <a:latin typeface="微软雅黑" panose="020B0503020204020204" pitchFamily="34" charset="-122"/>
              <a:ea typeface="微软雅黑" panose="020B0503020204020204" pitchFamily="34" charset="-122"/>
              <a:sym typeface="+mn-ea"/>
            </a:endParaRPr>
          </a:p>
        </p:txBody>
      </p:sp>
      <p:pic>
        <p:nvPicPr>
          <p:cNvPr id="17" name="图片 16" descr="32313533383736313b32313533383733343bbda8d6feb4f3cfc3"/>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5676900" y="3316605"/>
            <a:ext cx="914400" cy="886460"/>
          </a:xfrm>
          <a:prstGeom prst="rect">
            <a:avLst/>
          </a:prstGeom>
        </p:spPr>
      </p:pic>
      <p:sp>
        <p:nvSpPr>
          <p:cNvPr id="18" name="文本框 17"/>
          <p:cNvSpPr txBox="1"/>
          <p:nvPr/>
        </p:nvSpPr>
        <p:spPr>
          <a:xfrm>
            <a:off x="6616700" y="3574415"/>
            <a:ext cx="4721225" cy="706755"/>
          </a:xfrm>
          <a:prstGeom prst="rect">
            <a:avLst/>
          </a:prstGeom>
          <a:noFill/>
        </p:spPr>
        <p:txBody>
          <a:bodyPr wrap="square" rtlCol="0">
            <a:spAutoFit/>
          </a:bodyPr>
          <a:lstStyle/>
          <a:p>
            <a:r>
              <a:rPr lang="en-US" altLang="zh-CN" sz="2000" b="1">
                <a:solidFill>
                  <a:srgbClr val="002060"/>
                </a:solidFill>
                <a:latin typeface="微软雅黑" panose="020B0503020204020204" pitchFamily="34" charset="-122"/>
                <a:ea typeface="微软雅黑" panose="020B0503020204020204" pitchFamily="34" charset="-122"/>
              </a:rPr>
              <a:t>Application Period</a:t>
            </a:r>
            <a:r>
              <a:rPr lang="zh-CN" altLang="en-US" sz="2000" b="1">
                <a:solidFill>
                  <a:srgbClr val="002060"/>
                </a:solidFill>
                <a:latin typeface="微软雅黑" panose="020B0503020204020204" pitchFamily="34" charset="-122"/>
                <a:ea typeface="微软雅黑" panose="020B0503020204020204" pitchFamily="34" charset="-122"/>
              </a:rPr>
              <a:t>：</a:t>
            </a:r>
            <a:r>
              <a:rPr lang="en-US" altLang="zh-CN" sz="2000" b="1">
                <a:solidFill>
                  <a:srgbClr val="002060"/>
                </a:solidFill>
                <a:latin typeface="微软雅黑" panose="020B0503020204020204" pitchFamily="34" charset="-122"/>
                <a:ea typeface="微软雅黑" panose="020B0503020204020204" pitchFamily="34" charset="-122"/>
              </a:rPr>
              <a:t>2021/12/15-2022/6/30</a:t>
            </a:r>
          </a:p>
        </p:txBody>
      </p:sp>
      <p:pic>
        <p:nvPicPr>
          <p:cNvPr id="19" name="图片 18" descr="32313533383736313b32313533383733343bbda8d6feb4f3cfc3"/>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5702300" y="4462780"/>
            <a:ext cx="914400" cy="914400"/>
          </a:xfrm>
          <a:prstGeom prst="rect">
            <a:avLst/>
          </a:prstGeom>
        </p:spPr>
      </p:pic>
      <p:sp>
        <p:nvSpPr>
          <p:cNvPr id="20" name="文本框 19"/>
          <p:cNvSpPr txBox="1"/>
          <p:nvPr/>
        </p:nvSpPr>
        <p:spPr>
          <a:xfrm>
            <a:off x="6591300" y="5866765"/>
            <a:ext cx="4959985" cy="891540"/>
          </a:xfrm>
          <a:prstGeom prst="rect">
            <a:avLst/>
          </a:prstGeom>
          <a:noFill/>
        </p:spPr>
        <p:txBody>
          <a:bodyPr wrap="square" rtlCol="0">
            <a:spAutoFit/>
          </a:bodyPr>
          <a:lstStyle/>
          <a:p>
            <a:pPr algn="l">
              <a:lnSpc>
                <a:spcPct val="130000"/>
              </a:lnSpc>
              <a:buClrTx/>
              <a:buSzTx/>
              <a:buFontTx/>
            </a:pPr>
            <a:r>
              <a:rPr lang="en-US" altLang="zh-CN" sz="2000" b="1">
                <a:solidFill>
                  <a:srgbClr val="002060"/>
                </a:solidFill>
                <a:latin typeface="微软雅黑" panose="020B0503020204020204" pitchFamily="34" charset="-122"/>
                <a:ea typeface="微软雅黑" panose="020B0503020204020204" pitchFamily="34" charset="-122"/>
              </a:rPr>
              <a:t>Wechat ID</a:t>
            </a:r>
            <a:r>
              <a:rPr lang="zh-CN" altLang="en-US" sz="2000" b="1">
                <a:solidFill>
                  <a:srgbClr val="002060"/>
                </a:solidFill>
                <a:latin typeface="微软雅黑" panose="020B0503020204020204" pitchFamily="34" charset="-122"/>
                <a:ea typeface="微软雅黑" panose="020B0503020204020204" pitchFamily="34" charset="-122"/>
              </a:rPr>
              <a:t>：上海大学留学生</a:t>
            </a:r>
          </a:p>
          <a:p>
            <a:pPr algn="l">
              <a:lnSpc>
                <a:spcPct val="130000"/>
              </a:lnSpc>
              <a:buClrTx/>
              <a:buSzTx/>
              <a:buFontTx/>
            </a:pPr>
            <a:r>
              <a:rPr lang="en-US" altLang="zh-CN" sz="2000" b="1">
                <a:solidFill>
                  <a:srgbClr val="002060"/>
                </a:solidFill>
                <a:latin typeface="微软雅黑" panose="020B0503020204020204" pitchFamily="34" charset="-122"/>
                <a:ea typeface="微软雅黑" panose="020B0503020204020204" pitchFamily="34" charset="-122"/>
              </a:rPr>
              <a:t>           StudyatSHU</a:t>
            </a:r>
          </a:p>
        </p:txBody>
      </p:sp>
      <p:pic>
        <p:nvPicPr>
          <p:cNvPr id="21" name="图片 20"/>
          <p:cNvPicPr>
            <a:picLocks noChangeAspect="1"/>
          </p:cNvPicPr>
          <p:nvPr>
            <p:custDataLst>
              <p:tags r:id="rId2"/>
            </p:custDataLst>
          </p:nvPr>
        </p:nvPicPr>
        <p:blipFill>
          <a:blip r:embed="rId9"/>
          <a:stretch>
            <a:fillRect/>
          </a:stretch>
        </p:blipFill>
        <p:spPr>
          <a:xfrm>
            <a:off x="10338435" y="5011420"/>
            <a:ext cx="1846580" cy="1846580"/>
          </a:xfrm>
          <a:prstGeom prst="rect">
            <a:avLst/>
          </a:prstGeom>
        </p:spPr>
      </p:pic>
      <p:pic>
        <p:nvPicPr>
          <p:cNvPr id="22" name="图片 21" descr="32313533383736313b32313533383733343bbda8d6feb4f3cfc3"/>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5702300" y="5726430"/>
            <a:ext cx="914400" cy="914400"/>
          </a:xfrm>
          <a:prstGeom prst="rect">
            <a:avLst/>
          </a:prstGeom>
        </p:spPr>
      </p:pic>
      <p:sp>
        <p:nvSpPr>
          <p:cNvPr id="24" name="文本框 23"/>
          <p:cNvSpPr txBox="1"/>
          <p:nvPr/>
        </p:nvSpPr>
        <p:spPr>
          <a:xfrm>
            <a:off x="6591300" y="4674235"/>
            <a:ext cx="4959985" cy="491490"/>
          </a:xfrm>
          <a:prstGeom prst="rect">
            <a:avLst/>
          </a:prstGeom>
          <a:noFill/>
        </p:spPr>
        <p:txBody>
          <a:bodyPr wrap="square" rtlCol="0">
            <a:spAutoFit/>
          </a:bodyPr>
          <a:lstStyle/>
          <a:p>
            <a:pPr algn="l">
              <a:lnSpc>
                <a:spcPct val="130000"/>
              </a:lnSpc>
              <a:buClrTx/>
              <a:buSzTx/>
              <a:buFontTx/>
            </a:pPr>
            <a:r>
              <a:rPr lang="en-US" altLang="zh-CN" sz="2000" b="1">
                <a:solidFill>
                  <a:srgbClr val="002060"/>
                </a:solidFill>
                <a:latin typeface="微软雅黑" panose="020B0503020204020204" pitchFamily="34" charset="-122"/>
                <a:ea typeface="微软雅黑" panose="020B0503020204020204" pitchFamily="34" charset="-122"/>
                <a:sym typeface="+mn-ea"/>
              </a:rPr>
              <a:t>Tel</a:t>
            </a:r>
            <a:r>
              <a:rPr lang="zh-CN" altLang="en-US" sz="2000" b="1">
                <a:solidFill>
                  <a:srgbClr val="002060"/>
                </a:solidFill>
                <a:latin typeface="微软雅黑" panose="020B0503020204020204" pitchFamily="34" charset="-122"/>
                <a:ea typeface="微软雅黑" panose="020B0503020204020204" pitchFamily="34" charset="-122"/>
                <a:sym typeface="+mn-ea"/>
              </a:rPr>
              <a:t>:+86-21-66136615</a:t>
            </a:r>
          </a:p>
        </p:txBody>
      </p:sp>
    </p:spTree>
    <p:custDataLst>
      <p:tags r:id="rId1"/>
    </p:custDataLst>
  </p:cSld>
  <p:clrMapOvr>
    <a:masterClrMapping/>
  </p:clrMapOvr>
  <p:transition spd="slow">
    <p:push/>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0" name="任意多边形 160"/>
          <p:cNvSpPr/>
          <p:nvPr/>
        </p:nvSpPr>
        <p:spPr>
          <a:xfrm>
            <a:off x="-73623" y="-77750"/>
            <a:ext cx="12297648" cy="697469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21600"/>
                </a:lnTo>
                <a:lnTo>
                  <a:pt x="0" y="0"/>
                </a:lnTo>
                <a:close/>
                <a:moveTo>
                  <a:pt x="10685" y="8198"/>
                </a:moveTo>
                <a:cubicBezTo>
                  <a:pt x="10574" y="8210"/>
                  <a:pt x="10477" y="8328"/>
                  <a:pt x="10395" y="8552"/>
                </a:cubicBezTo>
                <a:cubicBezTo>
                  <a:pt x="10373" y="8611"/>
                  <a:pt x="10351" y="8623"/>
                  <a:pt x="10328" y="8587"/>
                </a:cubicBezTo>
                <a:cubicBezTo>
                  <a:pt x="10254" y="8493"/>
                  <a:pt x="10198" y="8475"/>
                  <a:pt x="10161" y="8534"/>
                </a:cubicBezTo>
                <a:cubicBezTo>
                  <a:pt x="10124" y="8581"/>
                  <a:pt x="10124" y="8593"/>
                  <a:pt x="10161" y="8570"/>
                </a:cubicBezTo>
                <a:cubicBezTo>
                  <a:pt x="10183" y="8581"/>
                  <a:pt x="10194" y="8611"/>
                  <a:pt x="10194" y="8658"/>
                </a:cubicBezTo>
                <a:cubicBezTo>
                  <a:pt x="10202" y="9012"/>
                  <a:pt x="10276" y="9236"/>
                  <a:pt x="10417" y="9331"/>
                </a:cubicBezTo>
                <a:cubicBezTo>
                  <a:pt x="10343" y="9449"/>
                  <a:pt x="10258" y="9549"/>
                  <a:pt x="10161" y="9631"/>
                </a:cubicBezTo>
                <a:cubicBezTo>
                  <a:pt x="10161" y="9572"/>
                  <a:pt x="10150" y="9490"/>
                  <a:pt x="10127" y="9384"/>
                </a:cubicBezTo>
                <a:cubicBezTo>
                  <a:pt x="10083" y="9277"/>
                  <a:pt x="10064" y="9100"/>
                  <a:pt x="10072" y="8853"/>
                </a:cubicBezTo>
                <a:cubicBezTo>
                  <a:pt x="10072" y="8806"/>
                  <a:pt x="10068" y="8782"/>
                  <a:pt x="10061" y="8782"/>
                </a:cubicBezTo>
                <a:cubicBezTo>
                  <a:pt x="10053" y="8782"/>
                  <a:pt x="10042" y="8800"/>
                  <a:pt x="10027" y="8835"/>
                </a:cubicBezTo>
                <a:cubicBezTo>
                  <a:pt x="9960" y="9012"/>
                  <a:pt x="9916" y="9047"/>
                  <a:pt x="9893" y="8941"/>
                </a:cubicBezTo>
                <a:cubicBezTo>
                  <a:pt x="9878" y="8918"/>
                  <a:pt x="9867" y="8912"/>
                  <a:pt x="9860" y="8923"/>
                </a:cubicBezTo>
                <a:cubicBezTo>
                  <a:pt x="9852" y="8923"/>
                  <a:pt x="9849" y="8935"/>
                  <a:pt x="9849" y="8959"/>
                </a:cubicBezTo>
                <a:cubicBezTo>
                  <a:pt x="9797" y="9230"/>
                  <a:pt x="9823" y="9484"/>
                  <a:pt x="9927" y="9720"/>
                </a:cubicBezTo>
                <a:cubicBezTo>
                  <a:pt x="9733" y="9708"/>
                  <a:pt x="9618" y="9832"/>
                  <a:pt x="9581" y="10092"/>
                </a:cubicBezTo>
                <a:cubicBezTo>
                  <a:pt x="9574" y="10115"/>
                  <a:pt x="9566" y="10139"/>
                  <a:pt x="9559" y="10162"/>
                </a:cubicBezTo>
                <a:cubicBezTo>
                  <a:pt x="9514" y="10363"/>
                  <a:pt x="9481" y="10475"/>
                  <a:pt x="9458" y="10499"/>
                </a:cubicBezTo>
                <a:cubicBezTo>
                  <a:pt x="9421" y="10534"/>
                  <a:pt x="9414" y="10605"/>
                  <a:pt x="9436" y="10711"/>
                </a:cubicBezTo>
                <a:cubicBezTo>
                  <a:pt x="9436" y="10900"/>
                  <a:pt x="9473" y="11047"/>
                  <a:pt x="9548" y="11154"/>
                </a:cubicBezTo>
                <a:cubicBezTo>
                  <a:pt x="9562" y="11189"/>
                  <a:pt x="9577" y="11207"/>
                  <a:pt x="9592" y="11207"/>
                </a:cubicBezTo>
                <a:cubicBezTo>
                  <a:pt x="9607" y="11207"/>
                  <a:pt x="9618" y="11183"/>
                  <a:pt x="9626" y="11136"/>
                </a:cubicBezTo>
                <a:cubicBezTo>
                  <a:pt x="9626" y="11089"/>
                  <a:pt x="9633" y="11024"/>
                  <a:pt x="9648" y="10941"/>
                </a:cubicBezTo>
                <a:cubicBezTo>
                  <a:pt x="9678" y="10729"/>
                  <a:pt x="9704" y="10581"/>
                  <a:pt x="9726" y="10499"/>
                </a:cubicBezTo>
                <a:cubicBezTo>
                  <a:pt x="9726" y="10451"/>
                  <a:pt x="9763" y="10363"/>
                  <a:pt x="9838" y="10233"/>
                </a:cubicBezTo>
                <a:cubicBezTo>
                  <a:pt x="9875" y="10162"/>
                  <a:pt x="9983" y="10086"/>
                  <a:pt x="10161" y="10003"/>
                </a:cubicBezTo>
                <a:cubicBezTo>
                  <a:pt x="10339" y="9909"/>
                  <a:pt x="10462" y="9832"/>
                  <a:pt x="10529" y="9773"/>
                </a:cubicBezTo>
                <a:cubicBezTo>
                  <a:pt x="10655" y="9643"/>
                  <a:pt x="10800" y="9567"/>
                  <a:pt x="10964" y="9543"/>
                </a:cubicBezTo>
                <a:cubicBezTo>
                  <a:pt x="10979" y="9543"/>
                  <a:pt x="10986" y="9549"/>
                  <a:pt x="10986" y="9561"/>
                </a:cubicBezTo>
                <a:cubicBezTo>
                  <a:pt x="10994" y="9572"/>
                  <a:pt x="10990" y="9590"/>
                  <a:pt x="10975" y="9614"/>
                </a:cubicBezTo>
                <a:cubicBezTo>
                  <a:pt x="10908" y="9779"/>
                  <a:pt x="10834" y="9891"/>
                  <a:pt x="10752" y="9950"/>
                </a:cubicBezTo>
                <a:cubicBezTo>
                  <a:pt x="10663" y="10009"/>
                  <a:pt x="10607" y="10044"/>
                  <a:pt x="10585" y="10056"/>
                </a:cubicBezTo>
                <a:cubicBezTo>
                  <a:pt x="10458" y="10151"/>
                  <a:pt x="10332" y="10210"/>
                  <a:pt x="10206" y="10233"/>
                </a:cubicBezTo>
                <a:cubicBezTo>
                  <a:pt x="10131" y="10245"/>
                  <a:pt x="10098" y="10363"/>
                  <a:pt x="10105" y="10587"/>
                </a:cubicBezTo>
                <a:cubicBezTo>
                  <a:pt x="10120" y="10693"/>
                  <a:pt x="10172" y="10717"/>
                  <a:pt x="10261" y="10658"/>
                </a:cubicBezTo>
                <a:cubicBezTo>
                  <a:pt x="10380" y="10516"/>
                  <a:pt x="10477" y="10428"/>
                  <a:pt x="10551" y="10392"/>
                </a:cubicBezTo>
                <a:cubicBezTo>
                  <a:pt x="10559" y="10475"/>
                  <a:pt x="10522" y="10540"/>
                  <a:pt x="10440" y="10587"/>
                </a:cubicBezTo>
                <a:cubicBezTo>
                  <a:pt x="10380" y="10717"/>
                  <a:pt x="10365" y="10841"/>
                  <a:pt x="10395" y="10959"/>
                </a:cubicBezTo>
                <a:cubicBezTo>
                  <a:pt x="10187" y="11065"/>
                  <a:pt x="10042" y="11189"/>
                  <a:pt x="9960" y="11331"/>
                </a:cubicBezTo>
                <a:cubicBezTo>
                  <a:pt x="9864" y="11472"/>
                  <a:pt x="9849" y="11602"/>
                  <a:pt x="9916" y="11720"/>
                </a:cubicBezTo>
                <a:cubicBezTo>
                  <a:pt x="10027" y="11956"/>
                  <a:pt x="10157" y="12145"/>
                  <a:pt x="10306" y="12286"/>
                </a:cubicBezTo>
                <a:cubicBezTo>
                  <a:pt x="10440" y="12416"/>
                  <a:pt x="10551" y="12422"/>
                  <a:pt x="10641" y="12304"/>
                </a:cubicBezTo>
                <a:cubicBezTo>
                  <a:pt x="10745" y="12186"/>
                  <a:pt x="10812" y="11873"/>
                  <a:pt x="10841" y="11366"/>
                </a:cubicBezTo>
                <a:cubicBezTo>
                  <a:pt x="10849" y="11366"/>
                  <a:pt x="10860" y="11366"/>
                  <a:pt x="10875" y="11366"/>
                </a:cubicBezTo>
                <a:cubicBezTo>
                  <a:pt x="10919" y="11342"/>
                  <a:pt x="10953" y="11331"/>
                  <a:pt x="10975" y="11331"/>
                </a:cubicBezTo>
                <a:cubicBezTo>
                  <a:pt x="11050" y="11272"/>
                  <a:pt x="11072" y="11177"/>
                  <a:pt x="11042" y="11047"/>
                </a:cubicBezTo>
                <a:cubicBezTo>
                  <a:pt x="10960" y="10859"/>
                  <a:pt x="10834" y="10770"/>
                  <a:pt x="10663" y="10782"/>
                </a:cubicBezTo>
                <a:cubicBezTo>
                  <a:pt x="10700" y="10687"/>
                  <a:pt x="10748" y="10593"/>
                  <a:pt x="10808" y="10499"/>
                </a:cubicBezTo>
                <a:cubicBezTo>
                  <a:pt x="10867" y="10404"/>
                  <a:pt x="10886" y="10292"/>
                  <a:pt x="10864" y="10162"/>
                </a:cubicBezTo>
                <a:cubicBezTo>
                  <a:pt x="10916" y="10186"/>
                  <a:pt x="10986" y="10157"/>
                  <a:pt x="11076" y="10074"/>
                </a:cubicBezTo>
                <a:cubicBezTo>
                  <a:pt x="11128" y="10027"/>
                  <a:pt x="11195" y="9997"/>
                  <a:pt x="11276" y="9985"/>
                </a:cubicBezTo>
                <a:cubicBezTo>
                  <a:pt x="11343" y="9950"/>
                  <a:pt x="11351" y="9838"/>
                  <a:pt x="11299" y="9649"/>
                </a:cubicBezTo>
                <a:cubicBezTo>
                  <a:pt x="11150" y="9378"/>
                  <a:pt x="10945" y="9295"/>
                  <a:pt x="10685" y="9401"/>
                </a:cubicBezTo>
                <a:cubicBezTo>
                  <a:pt x="10804" y="9165"/>
                  <a:pt x="10897" y="8965"/>
                  <a:pt x="10964" y="8800"/>
                </a:cubicBezTo>
                <a:cubicBezTo>
                  <a:pt x="11009" y="8693"/>
                  <a:pt x="10994" y="8552"/>
                  <a:pt x="10919" y="8375"/>
                </a:cubicBezTo>
                <a:cubicBezTo>
                  <a:pt x="10852" y="8257"/>
                  <a:pt x="10774" y="8198"/>
                  <a:pt x="10685" y="8198"/>
                </a:cubicBezTo>
                <a:close/>
                <a:moveTo>
                  <a:pt x="18456" y="8247"/>
                </a:moveTo>
                <a:cubicBezTo>
                  <a:pt x="18414" y="8244"/>
                  <a:pt x="18374" y="8263"/>
                  <a:pt x="18336" y="8304"/>
                </a:cubicBezTo>
                <a:cubicBezTo>
                  <a:pt x="18307" y="8351"/>
                  <a:pt x="18292" y="8381"/>
                  <a:pt x="18292" y="8393"/>
                </a:cubicBezTo>
                <a:cubicBezTo>
                  <a:pt x="18299" y="8404"/>
                  <a:pt x="18318" y="8398"/>
                  <a:pt x="18348" y="8375"/>
                </a:cubicBezTo>
                <a:cubicBezTo>
                  <a:pt x="18414" y="8375"/>
                  <a:pt x="18459" y="8440"/>
                  <a:pt x="18481" y="8570"/>
                </a:cubicBezTo>
                <a:cubicBezTo>
                  <a:pt x="18422" y="8994"/>
                  <a:pt x="18329" y="9307"/>
                  <a:pt x="18203" y="9508"/>
                </a:cubicBezTo>
                <a:cubicBezTo>
                  <a:pt x="18158" y="9531"/>
                  <a:pt x="18143" y="9584"/>
                  <a:pt x="18158" y="9667"/>
                </a:cubicBezTo>
                <a:cubicBezTo>
                  <a:pt x="18165" y="9714"/>
                  <a:pt x="18173" y="9767"/>
                  <a:pt x="18180" y="9826"/>
                </a:cubicBezTo>
                <a:cubicBezTo>
                  <a:pt x="18188" y="9885"/>
                  <a:pt x="18199" y="9932"/>
                  <a:pt x="18214" y="9968"/>
                </a:cubicBezTo>
                <a:cubicBezTo>
                  <a:pt x="18221" y="10015"/>
                  <a:pt x="18232" y="10039"/>
                  <a:pt x="18247" y="10039"/>
                </a:cubicBezTo>
                <a:cubicBezTo>
                  <a:pt x="18255" y="10050"/>
                  <a:pt x="18273" y="10033"/>
                  <a:pt x="18303" y="9985"/>
                </a:cubicBezTo>
                <a:cubicBezTo>
                  <a:pt x="18318" y="9974"/>
                  <a:pt x="18336" y="9956"/>
                  <a:pt x="18359" y="9932"/>
                </a:cubicBezTo>
                <a:cubicBezTo>
                  <a:pt x="18433" y="9850"/>
                  <a:pt x="18489" y="9791"/>
                  <a:pt x="18526" y="9755"/>
                </a:cubicBezTo>
                <a:cubicBezTo>
                  <a:pt x="18533" y="9814"/>
                  <a:pt x="18537" y="9897"/>
                  <a:pt x="18537" y="10003"/>
                </a:cubicBezTo>
                <a:cubicBezTo>
                  <a:pt x="18537" y="10121"/>
                  <a:pt x="18537" y="10275"/>
                  <a:pt x="18537" y="10463"/>
                </a:cubicBezTo>
                <a:cubicBezTo>
                  <a:pt x="18537" y="10546"/>
                  <a:pt x="18496" y="10575"/>
                  <a:pt x="18414" y="10552"/>
                </a:cubicBezTo>
                <a:cubicBezTo>
                  <a:pt x="18377" y="10540"/>
                  <a:pt x="18370" y="10552"/>
                  <a:pt x="18392" y="10587"/>
                </a:cubicBezTo>
                <a:cubicBezTo>
                  <a:pt x="18422" y="10670"/>
                  <a:pt x="18470" y="10770"/>
                  <a:pt x="18537" y="10888"/>
                </a:cubicBezTo>
                <a:cubicBezTo>
                  <a:pt x="18559" y="10935"/>
                  <a:pt x="18578" y="10965"/>
                  <a:pt x="18593" y="10977"/>
                </a:cubicBezTo>
                <a:cubicBezTo>
                  <a:pt x="18608" y="11012"/>
                  <a:pt x="18623" y="11030"/>
                  <a:pt x="18638" y="11030"/>
                </a:cubicBezTo>
                <a:cubicBezTo>
                  <a:pt x="18652" y="11030"/>
                  <a:pt x="18664" y="11006"/>
                  <a:pt x="18671" y="10959"/>
                </a:cubicBezTo>
                <a:cubicBezTo>
                  <a:pt x="18701" y="10829"/>
                  <a:pt x="18719" y="10634"/>
                  <a:pt x="18727" y="10375"/>
                </a:cubicBezTo>
                <a:cubicBezTo>
                  <a:pt x="18846" y="10422"/>
                  <a:pt x="18965" y="10428"/>
                  <a:pt x="19084" y="10392"/>
                </a:cubicBezTo>
                <a:cubicBezTo>
                  <a:pt x="19121" y="10392"/>
                  <a:pt x="19139" y="10351"/>
                  <a:pt x="19139" y="10269"/>
                </a:cubicBezTo>
                <a:cubicBezTo>
                  <a:pt x="19110" y="10092"/>
                  <a:pt x="19013" y="9980"/>
                  <a:pt x="18849" y="9932"/>
                </a:cubicBezTo>
                <a:cubicBezTo>
                  <a:pt x="18805" y="9921"/>
                  <a:pt x="18764" y="9926"/>
                  <a:pt x="18727" y="9950"/>
                </a:cubicBezTo>
                <a:cubicBezTo>
                  <a:pt x="18719" y="9891"/>
                  <a:pt x="18712" y="9832"/>
                  <a:pt x="18704" y="9773"/>
                </a:cubicBezTo>
                <a:cubicBezTo>
                  <a:pt x="18756" y="9820"/>
                  <a:pt x="18809" y="9826"/>
                  <a:pt x="18861" y="9791"/>
                </a:cubicBezTo>
                <a:cubicBezTo>
                  <a:pt x="19009" y="9708"/>
                  <a:pt x="19106" y="9631"/>
                  <a:pt x="19151" y="9561"/>
                </a:cubicBezTo>
                <a:cubicBezTo>
                  <a:pt x="19173" y="9454"/>
                  <a:pt x="19173" y="9354"/>
                  <a:pt x="19151" y="9260"/>
                </a:cubicBezTo>
                <a:cubicBezTo>
                  <a:pt x="19076" y="9118"/>
                  <a:pt x="18983" y="9065"/>
                  <a:pt x="18872" y="9100"/>
                </a:cubicBezTo>
                <a:cubicBezTo>
                  <a:pt x="18730" y="9171"/>
                  <a:pt x="18634" y="9230"/>
                  <a:pt x="18582" y="9277"/>
                </a:cubicBezTo>
                <a:cubicBezTo>
                  <a:pt x="18559" y="9289"/>
                  <a:pt x="18548" y="9295"/>
                  <a:pt x="18548" y="9295"/>
                </a:cubicBezTo>
                <a:cubicBezTo>
                  <a:pt x="18541" y="9283"/>
                  <a:pt x="18541" y="9266"/>
                  <a:pt x="18548" y="9242"/>
                </a:cubicBezTo>
                <a:cubicBezTo>
                  <a:pt x="18630" y="9053"/>
                  <a:pt x="18690" y="8864"/>
                  <a:pt x="18727" y="8676"/>
                </a:cubicBezTo>
                <a:cubicBezTo>
                  <a:pt x="18727" y="8570"/>
                  <a:pt x="18682" y="8452"/>
                  <a:pt x="18593" y="8322"/>
                </a:cubicBezTo>
                <a:cubicBezTo>
                  <a:pt x="18545" y="8275"/>
                  <a:pt x="18499" y="8249"/>
                  <a:pt x="18456" y="8247"/>
                </a:cubicBezTo>
                <a:close/>
                <a:moveTo>
                  <a:pt x="13421" y="8595"/>
                </a:moveTo>
                <a:cubicBezTo>
                  <a:pt x="13395" y="8596"/>
                  <a:pt x="13368" y="8605"/>
                  <a:pt x="13340" y="8623"/>
                </a:cubicBezTo>
                <a:cubicBezTo>
                  <a:pt x="13198" y="8705"/>
                  <a:pt x="13105" y="8918"/>
                  <a:pt x="13061" y="9260"/>
                </a:cubicBezTo>
                <a:cubicBezTo>
                  <a:pt x="13046" y="9342"/>
                  <a:pt x="13042" y="9384"/>
                  <a:pt x="13050" y="9384"/>
                </a:cubicBezTo>
                <a:cubicBezTo>
                  <a:pt x="13057" y="9384"/>
                  <a:pt x="13072" y="9348"/>
                  <a:pt x="13094" y="9277"/>
                </a:cubicBezTo>
                <a:cubicBezTo>
                  <a:pt x="13169" y="9006"/>
                  <a:pt x="13258" y="8859"/>
                  <a:pt x="13362" y="8835"/>
                </a:cubicBezTo>
                <a:cubicBezTo>
                  <a:pt x="13407" y="8859"/>
                  <a:pt x="13421" y="8923"/>
                  <a:pt x="13407" y="9030"/>
                </a:cubicBezTo>
                <a:cubicBezTo>
                  <a:pt x="13317" y="9513"/>
                  <a:pt x="13217" y="9856"/>
                  <a:pt x="13105" y="10056"/>
                </a:cubicBezTo>
                <a:cubicBezTo>
                  <a:pt x="13031" y="10103"/>
                  <a:pt x="13012" y="10251"/>
                  <a:pt x="13050" y="10499"/>
                </a:cubicBezTo>
                <a:cubicBezTo>
                  <a:pt x="13057" y="10617"/>
                  <a:pt x="13072" y="10682"/>
                  <a:pt x="13094" y="10693"/>
                </a:cubicBezTo>
                <a:cubicBezTo>
                  <a:pt x="13117" y="10705"/>
                  <a:pt x="13154" y="10670"/>
                  <a:pt x="13206" y="10587"/>
                </a:cubicBezTo>
                <a:cubicBezTo>
                  <a:pt x="13169" y="11106"/>
                  <a:pt x="12998" y="11460"/>
                  <a:pt x="12693" y="11649"/>
                </a:cubicBezTo>
                <a:cubicBezTo>
                  <a:pt x="12656" y="11673"/>
                  <a:pt x="12637" y="11696"/>
                  <a:pt x="12637" y="11720"/>
                </a:cubicBezTo>
                <a:cubicBezTo>
                  <a:pt x="12630" y="11755"/>
                  <a:pt x="12644" y="11773"/>
                  <a:pt x="12682" y="11773"/>
                </a:cubicBezTo>
                <a:cubicBezTo>
                  <a:pt x="12830" y="11844"/>
                  <a:pt x="12972" y="11803"/>
                  <a:pt x="13105" y="11649"/>
                </a:cubicBezTo>
                <a:cubicBezTo>
                  <a:pt x="13217" y="11555"/>
                  <a:pt x="13302" y="11360"/>
                  <a:pt x="13362" y="11065"/>
                </a:cubicBezTo>
                <a:cubicBezTo>
                  <a:pt x="13652" y="11525"/>
                  <a:pt x="13923" y="11850"/>
                  <a:pt x="14176" y="12038"/>
                </a:cubicBezTo>
                <a:cubicBezTo>
                  <a:pt x="14198" y="12074"/>
                  <a:pt x="14217" y="12080"/>
                  <a:pt x="14232" y="12056"/>
                </a:cubicBezTo>
                <a:cubicBezTo>
                  <a:pt x="14239" y="12044"/>
                  <a:pt x="14243" y="12009"/>
                  <a:pt x="14243" y="11950"/>
                </a:cubicBezTo>
                <a:cubicBezTo>
                  <a:pt x="14206" y="11679"/>
                  <a:pt x="14146" y="11502"/>
                  <a:pt x="14065" y="11419"/>
                </a:cubicBezTo>
                <a:cubicBezTo>
                  <a:pt x="13864" y="11218"/>
                  <a:pt x="13633" y="11083"/>
                  <a:pt x="13373" y="11012"/>
                </a:cubicBezTo>
                <a:cubicBezTo>
                  <a:pt x="13381" y="10859"/>
                  <a:pt x="13388" y="10752"/>
                  <a:pt x="13395" y="10693"/>
                </a:cubicBezTo>
                <a:cubicBezTo>
                  <a:pt x="13395" y="10611"/>
                  <a:pt x="13395" y="10516"/>
                  <a:pt x="13395" y="10410"/>
                </a:cubicBezTo>
                <a:cubicBezTo>
                  <a:pt x="13440" y="10351"/>
                  <a:pt x="13511" y="10275"/>
                  <a:pt x="13607" y="10180"/>
                </a:cubicBezTo>
                <a:cubicBezTo>
                  <a:pt x="13674" y="10098"/>
                  <a:pt x="13726" y="10033"/>
                  <a:pt x="13763" y="9985"/>
                </a:cubicBezTo>
                <a:cubicBezTo>
                  <a:pt x="13778" y="9962"/>
                  <a:pt x="13790" y="9956"/>
                  <a:pt x="13797" y="9968"/>
                </a:cubicBezTo>
                <a:cubicBezTo>
                  <a:pt x="13804" y="9980"/>
                  <a:pt x="13804" y="10003"/>
                  <a:pt x="13797" y="10039"/>
                </a:cubicBezTo>
                <a:cubicBezTo>
                  <a:pt x="13723" y="10298"/>
                  <a:pt x="13622" y="10434"/>
                  <a:pt x="13496" y="10446"/>
                </a:cubicBezTo>
                <a:cubicBezTo>
                  <a:pt x="13459" y="10457"/>
                  <a:pt x="13440" y="10469"/>
                  <a:pt x="13440" y="10481"/>
                </a:cubicBezTo>
                <a:cubicBezTo>
                  <a:pt x="13433" y="10505"/>
                  <a:pt x="13440" y="10522"/>
                  <a:pt x="13462" y="10534"/>
                </a:cubicBezTo>
                <a:cubicBezTo>
                  <a:pt x="13596" y="10676"/>
                  <a:pt x="13745" y="10623"/>
                  <a:pt x="13908" y="10375"/>
                </a:cubicBezTo>
                <a:cubicBezTo>
                  <a:pt x="13983" y="10245"/>
                  <a:pt x="14039" y="10168"/>
                  <a:pt x="14076" y="10145"/>
                </a:cubicBezTo>
                <a:cubicBezTo>
                  <a:pt x="14120" y="10098"/>
                  <a:pt x="14132" y="10015"/>
                  <a:pt x="14109" y="9897"/>
                </a:cubicBezTo>
                <a:cubicBezTo>
                  <a:pt x="14080" y="9803"/>
                  <a:pt x="14027" y="9708"/>
                  <a:pt x="13953" y="9614"/>
                </a:cubicBezTo>
                <a:cubicBezTo>
                  <a:pt x="13894" y="9543"/>
                  <a:pt x="13834" y="9543"/>
                  <a:pt x="13775" y="9614"/>
                </a:cubicBezTo>
                <a:cubicBezTo>
                  <a:pt x="13737" y="9649"/>
                  <a:pt x="13689" y="9696"/>
                  <a:pt x="13630" y="9755"/>
                </a:cubicBezTo>
                <a:cubicBezTo>
                  <a:pt x="13570" y="9803"/>
                  <a:pt x="13526" y="9838"/>
                  <a:pt x="13496" y="9862"/>
                </a:cubicBezTo>
                <a:cubicBezTo>
                  <a:pt x="13474" y="9885"/>
                  <a:pt x="13459" y="9891"/>
                  <a:pt x="13451" y="9879"/>
                </a:cubicBezTo>
                <a:cubicBezTo>
                  <a:pt x="13444" y="9867"/>
                  <a:pt x="13447" y="9844"/>
                  <a:pt x="13462" y="9808"/>
                </a:cubicBezTo>
                <a:cubicBezTo>
                  <a:pt x="13500" y="9667"/>
                  <a:pt x="13548" y="9513"/>
                  <a:pt x="13607" y="9348"/>
                </a:cubicBezTo>
                <a:cubicBezTo>
                  <a:pt x="13622" y="9289"/>
                  <a:pt x="13641" y="9230"/>
                  <a:pt x="13663" y="9171"/>
                </a:cubicBezTo>
                <a:cubicBezTo>
                  <a:pt x="13700" y="9077"/>
                  <a:pt x="13693" y="8959"/>
                  <a:pt x="13641" y="8817"/>
                </a:cubicBezTo>
                <a:cubicBezTo>
                  <a:pt x="13574" y="8667"/>
                  <a:pt x="13501" y="8593"/>
                  <a:pt x="13421" y="8595"/>
                </a:cubicBezTo>
                <a:close/>
                <a:moveTo>
                  <a:pt x="17837" y="8609"/>
                </a:moveTo>
                <a:cubicBezTo>
                  <a:pt x="17824" y="8612"/>
                  <a:pt x="17812" y="8623"/>
                  <a:pt x="17801" y="8640"/>
                </a:cubicBezTo>
                <a:cubicBezTo>
                  <a:pt x="17786" y="8664"/>
                  <a:pt x="17790" y="8699"/>
                  <a:pt x="17812" y="8747"/>
                </a:cubicBezTo>
                <a:cubicBezTo>
                  <a:pt x="17857" y="8853"/>
                  <a:pt x="17849" y="8977"/>
                  <a:pt x="17790" y="9118"/>
                </a:cubicBezTo>
                <a:cubicBezTo>
                  <a:pt x="17641" y="9508"/>
                  <a:pt x="17544" y="9702"/>
                  <a:pt x="17500" y="9702"/>
                </a:cubicBezTo>
                <a:cubicBezTo>
                  <a:pt x="17448" y="9738"/>
                  <a:pt x="17429" y="9785"/>
                  <a:pt x="17444" y="9844"/>
                </a:cubicBezTo>
                <a:cubicBezTo>
                  <a:pt x="17444" y="9879"/>
                  <a:pt x="17444" y="9938"/>
                  <a:pt x="17444" y="10021"/>
                </a:cubicBezTo>
                <a:cubicBezTo>
                  <a:pt x="17452" y="10092"/>
                  <a:pt x="17459" y="10145"/>
                  <a:pt x="17466" y="10180"/>
                </a:cubicBezTo>
                <a:cubicBezTo>
                  <a:pt x="17466" y="10227"/>
                  <a:pt x="17470" y="10251"/>
                  <a:pt x="17478" y="10251"/>
                </a:cubicBezTo>
                <a:cubicBezTo>
                  <a:pt x="17492" y="10263"/>
                  <a:pt x="17511" y="10251"/>
                  <a:pt x="17533" y="10216"/>
                </a:cubicBezTo>
                <a:cubicBezTo>
                  <a:pt x="17585" y="10145"/>
                  <a:pt x="17637" y="10074"/>
                  <a:pt x="17689" y="10003"/>
                </a:cubicBezTo>
                <a:cubicBezTo>
                  <a:pt x="17719" y="10168"/>
                  <a:pt x="17723" y="10316"/>
                  <a:pt x="17701" y="10446"/>
                </a:cubicBezTo>
                <a:cubicBezTo>
                  <a:pt x="17678" y="10623"/>
                  <a:pt x="17719" y="10817"/>
                  <a:pt x="17823" y="11030"/>
                </a:cubicBezTo>
                <a:cubicBezTo>
                  <a:pt x="17734" y="11018"/>
                  <a:pt x="17660" y="11095"/>
                  <a:pt x="17600" y="11260"/>
                </a:cubicBezTo>
                <a:cubicBezTo>
                  <a:pt x="17563" y="11201"/>
                  <a:pt x="17530" y="11159"/>
                  <a:pt x="17500" y="11136"/>
                </a:cubicBezTo>
                <a:cubicBezTo>
                  <a:pt x="17478" y="11148"/>
                  <a:pt x="17466" y="11159"/>
                  <a:pt x="17466" y="11171"/>
                </a:cubicBezTo>
                <a:cubicBezTo>
                  <a:pt x="17459" y="11195"/>
                  <a:pt x="17463" y="11207"/>
                  <a:pt x="17478" y="11207"/>
                </a:cubicBezTo>
                <a:cubicBezTo>
                  <a:pt x="17515" y="11218"/>
                  <a:pt x="17492" y="11348"/>
                  <a:pt x="17411" y="11596"/>
                </a:cubicBezTo>
                <a:cubicBezTo>
                  <a:pt x="17359" y="11679"/>
                  <a:pt x="17385" y="11856"/>
                  <a:pt x="17489" y="12127"/>
                </a:cubicBezTo>
                <a:cubicBezTo>
                  <a:pt x="17518" y="12186"/>
                  <a:pt x="17548" y="12162"/>
                  <a:pt x="17578" y="12056"/>
                </a:cubicBezTo>
                <a:cubicBezTo>
                  <a:pt x="17630" y="11773"/>
                  <a:pt x="17656" y="11596"/>
                  <a:pt x="17656" y="11525"/>
                </a:cubicBezTo>
                <a:cubicBezTo>
                  <a:pt x="17663" y="11384"/>
                  <a:pt x="17693" y="11260"/>
                  <a:pt x="17745" y="11154"/>
                </a:cubicBezTo>
                <a:cubicBezTo>
                  <a:pt x="17768" y="11118"/>
                  <a:pt x="17782" y="11106"/>
                  <a:pt x="17790" y="11118"/>
                </a:cubicBezTo>
                <a:cubicBezTo>
                  <a:pt x="17805" y="11118"/>
                  <a:pt x="17820" y="11154"/>
                  <a:pt x="17834" y="11224"/>
                </a:cubicBezTo>
                <a:cubicBezTo>
                  <a:pt x="17887" y="11649"/>
                  <a:pt x="18024" y="11944"/>
                  <a:pt x="18247" y="12109"/>
                </a:cubicBezTo>
                <a:cubicBezTo>
                  <a:pt x="18552" y="12298"/>
                  <a:pt x="18890" y="12310"/>
                  <a:pt x="19262" y="12145"/>
                </a:cubicBezTo>
                <a:cubicBezTo>
                  <a:pt x="19299" y="12109"/>
                  <a:pt x="19318" y="12074"/>
                  <a:pt x="19318" y="12038"/>
                </a:cubicBezTo>
                <a:cubicBezTo>
                  <a:pt x="19318" y="12003"/>
                  <a:pt x="19303" y="11974"/>
                  <a:pt x="19273" y="11950"/>
                </a:cubicBezTo>
                <a:cubicBezTo>
                  <a:pt x="19162" y="11844"/>
                  <a:pt x="19006" y="11673"/>
                  <a:pt x="18805" y="11437"/>
                </a:cubicBezTo>
                <a:cubicBezTo>
                  <a:pt x="18775" y="11413"/>
                  <a:pt x="18756" y="11390"/>
                  <a:pt x="18749" y="11366"/>
                </a:cubicBezTo>
                <a:cubicBezTo>
                  <a:pt x="18838" y="11248"/>
                  <a:pt x="18916" y="11148"/>
                  <a:pt x="18983" y="11065"/>
                </a:cubicBezTo>
                <a:cubicBezTo>
                  <a:pt x="19006" y="11041"/>
                  <a:pt x="19028" y="11047"/>
                  <a:pt x="19050" y="11083"/>
                </a:cubicBezTo>
                <a:cubicBezTo>
                  <a:pt x="19184" y="11319"/>
                  <a:pt x="19322" y="11431"/>
                  <a:pt x="19463" y="11419"/>
                </a:cubicBezTo>
                <a:cubicBezTo>
                  <a:pt x="19515" y="11431"/>
                  <a:pt x="19533" y="11366"/>
                  <a:pt x="19519" y="11224"/>
                </a:cubicBezTo>
                <a:cubicBezTo>
                  <a:pt x="19481" y="10977"/>
                  <a:pt x="19325" y="10870"/>
                  <a:pt x="19050" y="10906"/>
                </a:cubicBezTo>
                <a:cubicBezTo>
                  <a:pt x="19020" y="10918"/>
                  <a:pt x="19002" y="10929"/>
                  <a:pt x="18994" y="10941"/>
                </a:cubicBezTo>
                <a:cubicBezTo>
                  <a:pt x="18987" y="10977"/>
                  <a:pt x="18957" y="11006"/>
                  <a:pt x="18905" y="11030"/>
                </a:cubicBezTo>
                <a:cubicBezTo>
                  <a:pt x="18756" y="11100"/>
                  <a:pt x="18645" y="11183"/>
                  <a:pt x="18571" y="11277"/>
                </a:cubicBezTo>
                <a:cubicBezTo>
                  <a:pt x="18548" y="11301"/>
                  <a:pt x="18533" y="11307"/>
                  <a:pt x="18526" y="11295"/>
                </a:cubicBezTo>
                <a:cubicBezTo>
                  <a:pt x="18519" y="11295"/>
                  <a:pt x="18519" y="11277"/>
                  <a:pt x="18526" y="11242"/>
                </a:cubicBezTo>
                <a:cubicBezTo>
                  <a:pt x="18519" y="11041"/>
                  <a:pt x="18452" y="10947"/>
                  <a:pt x="18325" y="10959"/>
                </a:cubicBezTo>
                <a:cubicBezTo>
                  <a:pt x="18303" y="10959"/>
                  <a:pt x="18288" y="10965"/>
                  <a:pt x="18281" y="10977"/>
                </a:cubicBezTo>
                <a:cubicBezTo>
                  <a:pt x="18273" y="10988"/>
                  <a:pt x="18273" y="11006"/>
                  <a:pt x="18281" y="11030"/>
                </a:cubicBezTo>
                <a:cubicBezTo>
                  <a:pt x="18288" y="11148"/>
                  <a:pt x="18281" y="11248"/>
                  <a:pt x="18258" y="11331"/>
                </a:cubicBezTo>
                <a:cubicBezTo>
                  <a:pt x="18229" y="11413"/>
                  <a:pt x="18288" y="11543"/>
                  <a:pt x="18437" y="11720"/>
                </a:cubicBezTo>
                <a:cubicBezTo>
                  <a:pt x="18489" y="11803"/>
                  <a:pt x="18530" y="11791"/>
                  <a:pt x="18559" y="11685"/>
                </a:cubicBezTo>
                <a:cubicBezTo>
                  <a:pt x="18567" y="11637"/>
                  <a:pt x="18611" y="11555"/>
                  <a:pt x="18693" y="11437"/>
                </a:cubicBezTo>
                <a:cubicBezTo>
                  <a:pt x="18887" y="11755"/>
                  <a:pt x="18924" y="11909"/>
                  <a:pt x="18805" y="11897"/>
                </a:cubicBezTo>
                <a:cubicBezTo>
                  <a:pt x="18619" y="11932"/>
                  <a:pt x="18444" y="11909"/>
                  <a:pt x="18281" y="11826"/>
                </a:cubicBezTo>
                <a:cubicBezTo>
                  <a:pt x="18147" y="11767"/>
                  <a:pt x="18061" y="11620"/>
                  <a:pt x="18024" y="11384"/>
                </a:cubicBezTo>
                <a:cubicBezTo>
                  <a:pt x="18002" y="11230"/>
                  <a:pt x="17950" y="11118"/>
                  <a:pt x="17868" y="11047"/>
                </a:cubicBezTo>
                <a:cubicBezTo>
                  <a:pt x="17875" y="10870"/>
                  <a:pt x="17890" y="10699"/>
                  <a:pt x="17913" y="10534"/>
                </a:cubicBezTo>
                <a:cubicBezTo>
                  <a:pt x="17950" y="10333"/>
                  <a:pt x="17957" y="10145"/>
                  <a:pt x="17935" y="9968"/>
                </a:cubicBezTo>
                <a:cubicBezTo>
                  <a:pt x="17927" y="9956"/>
                  <a:pt x="17924" y="9932"/>
                  <a:pt x="17924" y="9897"/>
                </a:cubicBezTo>
                <a:cubicBezTo>
                  <a:pt x="17931" y="9873"/>
                  <a:pt x="17935" y="9850"/>
                  <a:pt x="17935" y="9826"/>
                </a:cubicBezTo>
                <a:cubicBezTo>
                  <a:pt x="17942" y="9732"/>
                  <a:pt x="17931" y="9755"/>
                  <a:pt x="17901" y="9897"/>
                </a:cubicBezTo>
                <a:cubicBezTo>
                  <a:pt x="17879" y="9826"/>
                  <a:pt x="17846" y="9785"/>
                  <a:pt x="17801" y="9773"/>
                </a:cubicBezTo>
                <a:cubicBezTo>
                  <a:pt x="17957" y="9431"/>
                  <a:pt x="18076" y="9230"/>
                  <a:pt x="18158" y="9171"/>
                </a:cubicBezTo>
                <a:cubicBezTo>
                  <a:pt x="18203" y="9100"/>
                  <a:pt x="18210" y="9024"/>
                  <a:pt x="18180" y="8941"/>
                </a:cubicBezTo>
                <a:cubicBezTo>
                  <a:pt x="18091" y="8811"/>
                  <a:pt x="17991" y="8705"/>
                  <a:pt x="17879" y="8623"/>
                </a:cubicBezTo>
                <a:cubicBezTo>
                  <a:pt x="17864" y="8611"/>
                  <a:pt x="17850" y="8606"/>
                  <a:pt x="17837" y="8609"/>
                </a:cubicBezTo>
                <a:close/>
                <a:moveTo>
                  <a:pt x="18158" y="10021"/>
                </a:moveTo>
                <a:cubicBezTo>
                  <a:pt x="18136" y="10021"/>
                  <a:pt x="18124" y="10027"/>
                  <a:pt x="18124" y="10039"/>
                </a:cubicBezTo>
                <a:cubicBezTo>
                  <a:pt x="18117" y="10050"/>
                  <a:pt x="18121" y="10068"/>
                  <a:pt x="18136" y="10092"/>
                </a:cubicBezTo>
                <a:cubicBezTo>
                  <a:pt x="18158" y="10127"/>
                  <a:pt x="18143" y="10227"/>
                  <a:pt x="18091" y="10392"/>
                </a:cubicBezTo>
                <a:cubicBezTo>
                  <a:pt x="18069" y="10487"/>
                  <a:pt x="18080" y="10652"/>
                  <a:pt x="18124" y="10888"/>
                </a:cubicBezTo>
                <a:cubicBezTo>
                  <a:pt x="18132" y="10935"/>
                  <a:pt x="18139" y="10959"/>
                  <a:pt x="18147" y="10959"/>
                </a:cubicBezTo>
                <a:cubicBezTo>
                  <a:pt x="18154" y="10959"/>
                  <a:pt x="18169" y="10935"/>
                  <a:pt x="18191" y="10888"/>
                </a:cubicBezTo>
                <a:cubicBezTo>
                  <a:pt x="18281" y="10640"/>
                  <a:pt x="18329" y="10463"/>
                  <a:pt x="18336" y="10357"/>
                </a:cubicBezTo>
                <a:cubicBezTo>
                  <a:pt x="18344" y="10310"/>
                  <a:pt x="18366" y="10257"/>
                  <a:pt x="18403" y="10198"/>
                </a:cubicBezTo>
                <a:cubicBezTo>
                  <a:pt x="18418" y="10174"/>
                  <a:pt x="18422" y="10157"/>
                  <a:pt x="18414" y="10145"/>
                </a:cubicBezTo>
                <a:cubicBezTo>
                  <a:pt x="18407" y="10145"/>
                  <a:pt x="18392" y="10151"/>
                  <a:pt x="18370" y="10162"/>
                </a:cubicBezTo>
                <a:cubicBezTo>
                  <a:pt x="18318" y="10233"/>
                  <a:pt x="18292" y="10239"/>
                  <a:pt x="18292" y="10180"/>
                </a:cubicBezTo>
                <a:cubicBezTo>
                  <a:pt x="18262" y="10086"/>
                  <a:pt x="18217" y="10033"/>
                  <a:pt x="18158" y="10021"/>
                </a:cubicBezTo>
                <a:close/>
                <a:moveTo>
                  <a:pt x="15713" y="8649"/>
                </a:moveTo>
                <a:cubicBezTo>
                  <a:pt x="15700" y="8649"/>
                  <a:pt x="15689" y="8652"/>
                  <a:pt x="15682" y="8658"/>
                </a:cubicBezTo>
                <a:cubicBezTo>
                  <a:pt x="15667" y="8682"/>
                  <a:pt x="15667" y="8711"/>
                  <a:pt x="15682" y="8747"/>
                </a:cubicBezTo>
                <a:cubicBezTo>
                  <a:pt x="15704" y="8794"/>
                  <a:pt x="15700" y="8835"/>
                  <a:pt x="15671" y="8870"/>
                </a:cubicBezTo>
                <a:cubicBezTo>
                  <a:pt x="15660" y="8888"/>
                  <a:pt x="15652" y="8900"/>
                  <a:pt x="15648" y="8906"/>
                </a:cubicBezTo>
                <a:lnTo>
                  <a:pt x="15648" y="8906"/>
                </a:lnTo>
                <a:lnTo>
                  <a:pt x="15606" y="8985"/>
                </a:lnTo>
                <a:cubicBezTo>
                  <a:pt x="15514" y="9158"/>
                  <a:pt x="15461" y="9249"/>
                  <a:pt x="15448" y="9260"/>
                </a:cubicBezTo>
                <a:cubicBezTo>
                  <a:pt x="15366" y="9319"/>
                  <a:pt x="15295" y="9342"/>
                  <a:pt x="15236" y="9331"/>
                </a:cubicBezTo>
                <a:cubicBezTo>
                  <a:pt x="15206" y="9331"/>
                  <a:pt x="15184" y="9342"/>
                  <a:pt x="15169" y="9366"/>
                </a:cubicBezTo>
                <a:cubicBezTo>
                  <a:pt x="15161" y="9378"/>
                  <a:pt x="15165" y="9401"/>
                  <a:pt x="15180" y="9437"/>
                </a:cubicBezTo>
                <a:cubicBezTo>
                  <a:pt x="15239" y="9614"/>
                  <a:pt x="15303" y="9714"/>
                  <a:pt x="15370" y="9738"/>
                </a:cubicBezTo>
                <a:cubicBezTo>
                  <a:pt x="15414" y="9749"/>
                  <a:pt x="15436" y="9803"/>
                  <a:pt x="15436" y="9897"/>
                </a:cubicBezTo>
                <a:cubicBezTo>
                  <a:pt x="15429" y="9932"/>
                  <a:pt x="15425" y="9962"/>
                  <a:pt x="15425" y="9985"/>
                </a:cubicBezTo>
                <a:cubicBezTo>
                  <a:pt x="15418" y="10162"/>
                  <a:pt x="15407" y="10269"/>
                  <a:pt x="15392" y="10304"/>
                </a:cubicBezTo>
                <a:cubicBezTo>
                  <a:pt x="15384" y="10316"/>
                  <a:pt x="15381" y="10322"/>
                  <a:pt x="15381" y="10322"/>
                </a:cubicBezTo>
                <a:cubicBezTo>
                  <a:pt x="15366" y="10369"/>
                  <a:pt x="15366" y="10416"/>
                  <a:pt x="15381" y="10463"/>
                </a:cubicBezTo>
                <a:cubicBezTo>
                  <a:pt x="15396" y="10687"/>
                  <a:pt x="15459" y="10817"/>
                  <a:pt x="15570" y="10853"/>
                </a:cubicBezTo>
                <a:cubicBezTo>
                  <a:pt x="15622" y="10900"/>
                  <a:pt x="15660" y="10859"/>
                  <a:pt x="15682" y="10729"/>
                </a:cubicBezTo>
                <a:cubicBezTo>
                  <a:pt x="15704" y="10564"/>
                  <a:pt x="15756" y="10387"/>
                  <a:pt x="15838" y="10198"/>
                </a:cubicBezTo>
                <a:cubicBezTo>
                  <a:pt x="15920" y="10033"/>
                  <a:pt x="15979" y="9897"/>
                  <a:pt x="16016" y="9791"/>
                </a:cubicBezTo>
                <a:cubicBezTo>
                  <a:pt x="16016" y="10133"/>
                  <a:pt x="16013" y="10381"/>
                  <a:pt x="16005" y="10534"/>
                </a:cubicBezTo>
                <a:cubicBezTo>
                  <a:pt x="16005" y="10723"/>
                  <a:pt x="16002" y="10894"/>
                  <a:pt x="15994" y="11047"/>
                </a:cubicBezTo>
                <a:cubicBezTo>
                  <a:pt x="15979" y="11154"/>
                  <a:pt x="15983" y="11289"/>
                  <a:pt x="16005" y="11454"/>
                </a:cubicBezTo>
                <a:cubicBezTo>
                  <a:pt x="15760" y="11419"/>
                  <a:pt x="15507" y="11354"/>
                  <a:pt x="15247" y="11260"/>
                </a:cubicBezTo>
                <a:cubicBezTo>
                  <a:pt x="15217" y="11059"/>
                  <a:pt x="15154" y="10876"/>
                  <a:pt x="15057" y="10711"/>
                </a:cubicBezTo>
                <a:cubicBezTo>
                  <a:pt x="15028" y="10676"/>
                  <a:pt x="15020" y="10640"/>
                  <a:pt x="15035" y="10605"/>
                </a:cubicBezTo>
                <a:cubicBezTo>
                  <a:pt x="15065" y="10534"/>
                  <a:pt x="15098" y="10457"/>
                  <a:pt x="15135" y="10375"/>
                </a:cubicBezTo>
                <a:cubicBezTo>
                  <a:pt x="15173" y="10304"/>
                  <a:pt x="15173" y="10239"/>
                  <a:pt x="15135" y="10180"/>
                </a:cubicBezTo>
                <a:cubicBezTo>
                  <a:pt x="15068" y="10109"/>
                  <a:pt x="15013" y="10050"/>
                  <a:pt x="14968" y="10003"/>
                </a:cubicBezTo>
                <a:cubicBezTo>
                  <a:pt x="14946" y="9980"/>
                  <a:pt x="14912" y="9974"/>
                  <a:pt x="14868" y="9985"/>
                </a:cubicBezTo>
                <a:cubicBezTo>
                  <a:pt x="14853" y="9997"/>
                  <a:pt x="14838" y="10003"/>
                  <a:pt x="14823" y="10003"/>
                </a:cubicBezTo>
                <a:cubicBezTo>
                  <a:pt x="14764" y="10015"/>
                  <a:pt x="14719" y="10021"/>
                  <a:pt x="14689" y="10021"/>
                </a:cubicBezTo>
                <a:cubicBezTo>
                  <a:pt x="14645" y="10044"/>
                  <a:pt x="14611" y="10027"/>
                  <a:pt x="14589" y="9968"/>
                </a:cubicBezTo>
                <a:cubicBezTo>
                  <a:pt x="14581" y="9956"/>
                  <a:pt x="14574" y="9950"/>
                  <a:pt x="14567" y="9950"/>
                </a:cubicBezTo>
                <a:cubicBezTo>
                  <a:pt x="14559" y="9950"/>
                  <a:pt x="14555" y="9956"/>
                  <a:pt x="14555" y="9968"/>
                </a:cubicBezTo>
                <a:cubicBezTo>
                  <a:pt x="14563" y="10251"/>
                  <a:pt x="14652" y="10392"/>
                  <a:pt x="14823" y="10392"/>
                </a:cubicBezTo>
                <a:cubicBezTo>
                  <a:pt x="14853" y="10392"/>
                  <a:pt x="14864" y="10416"/>
                  <a:pt x="14857" y="10463"/>
                </a:cubicBezTo>
                <a:cubicBezTo>
                  <a:pt x="14834" y="10723"/>
                  <a:pt x="14890" y="10900"/>
                  <a:pt x="15024" y="10994"/>
                </a:cubicBezTo>
                <a:cubicBezTo>
                  <a:pt x="15068" y="11006"/>
                  <a:pt x="15080" y="11047"/>
                  <a:pt x="15057" y="11118"/>
                </a:cubicBezTo>
                <a:cubicBezTo>
                  <a:pt x="15028" y="11213"/>
                  <a:pt x="14998" y="11260"/>
                  <a:pt x="14968" y="11260"/>
                </a:cubicBezTo>
                <a:cubicBezTo>
                  <a:pt x="14857" y="11295"/>
                  <a:pt x="14778" y="11319"/>
                  <a:pt x="14734" y="11331"/>
                </a:cubicBezTo>
                <a:cubicBezTo>
                  <a:pt x="14712" y="11342"/>
                  <a:pt x="14700" y="11354"/>
                  <a:pt x="14700" y="11366"/>
                </a:cubicBezTo>
                <a:cubicBezTo>
                  <a:pt x="14693" y="11378"/>
                  <a:pt x="14697" y="11395"/>
                  <a:pt x="14712" y="11419"/>
                </a:cubicBezTo>
                <a:cubicBezTo>
                  <a:pt x="14734" y="11490"/>
                  <a:pt x="14756" y="11561"/>
                  <a:pt x="14778" y="11631"/>
                </a:cubicBezTo>
                <a:cubicBezTo>
                  <a:pt x="14801" y="11690"/>
                  <a:pt x="14857" y="11696"/>
                  <a:pt x="14946" y="11649"/>
                </a:cubicBezTo>
                <a:cubicBezTo>
                  <a:pt x="14968" y="11649"/>
                  <a:pt x="14990" y="11643"/>
                  <a:pt x="15013" y="11631"/>
                </a:cubicBezTo>
                <a:cubicBezTo>
                  <a:pt x="15124" y="11572"/>
                  <a:pt x="15199" y="11543"/>
                  <a:pt x="15236" y="11543"/>
                </a:cubicBezTo>
                <a:cubicBezTo>
                  <a:pt x="15236" y="11496"/>
                  <a:pt x="15544" y="11631"/>
                  <a:pt x="16161" y="11950"/>
                </a:cubicBezTo>
                <a:cubicBezTo>
                  <a:pt x="16266" y="11985"/>
                  <a:pt x="16370" y="11985"/>
                  <a:pt x="16474" y="11950"/>
                </a:cubicBezTo>
                <a:cubicBezTo>
                  <a:pt x="16719" y="11891"/>
                  <a:pt x="16905" y="11791"/>
                  <a:pt x="17031" y="11649"/>
                </a:cubicBezTo>
                <a:cubicBezTo>
                  <a:pt x="17054" y="11626"/>
                  <a:pt x="17065" y="11602"/>
                  <a:pt x="17065" y="11578"/>
                </a:cubicBezTo>
                <a:cubicBezTo>
                  <a:pt x="17065" y="11543"/>
                  <a:pt x="17054" y="11519"/>
                  <a:pt x="17031" y="11508"/>
                </a:cubicBezTo>
                <a:cubicBezTo>
                  <a:pt x="16972" y="11496"/>
                  <a:pt x="16924" y="11490"/>
                  <a:pt x="16886" y="11490"/>
                </a:cubicBezTo>
                <a:cubicBezTo>
                  <a:pt x="16849" y="11490"/>
                  <a:pt x="16801" y="11490"/>
                  <a:pt x="16741" y="11490"/>
                </a:cubicBezTo>
                <a:cubicBezTo>
                  <a:pt x="16652" y="11513"/>
                  <a:pt x="16563" y="11525"/>
                  <a:pt x="16474" y="11525"/>
                </a:cubicBezTo>
                <a:cubicBezTo>
                  <a:pt x="16385" y="11525"/>
                  <a:pt x="16277" y="11508"/>
                  <a:pt x="16150" y="11472"/>
                </a:cubicBezTo>
                <a:cubicBezTo>
                  <a:pt x="16158" y="11177"/>
                  <a:pt x="16169" y="10841"/>
                  <a:pt x="16184" y="10463"/>
                </a:cubicBezTo>
                <a:cubicBezTo>
                  <a:pt x="16221" y="10569"/>
                  <a:pt x="16269" y="10664"/>
                  <a:pt x="16329" y="10746"/>
                </a:cubicBezTo>
                <a:cubicBezTo>
                  <a:pt x="16381" y="10841"/>
                  <a:pt x="16433" y="10835"/>
                  <a:pt x="16485" y="10729"/>
                </a:cubicBezTo>
                <a:cubicBezTo>
                  <a:pt x="16544" y="10611"/>
                  <a:pt x="16596" y="10392"/>
                  <a:pt x="16641" y="10074"/>
                </a:cubicBezTo>
                <a:cubicBezTo>
                  <a:pt x="16648" y="9932"/>
                  <a:pt x="16671" y="9808"/>
                  <a:pt x="16708" y="9702"/>
                </a:cubicBezTo>
                <a:cubicBezTo>
                  <a:pt x="16730" y="9620"/>
                  <a:pt x="16719" y="9537"/>
                  <a:pt x="16675" y="9454"/>
                </a:cubicBezTo>
                <a:cubicBezTo>
                  <a:pt x="16556" y="9230"/>
                  <a:pt x="16470" y="9124"/>
                  <a:pt x="16418" y="9136"/>
                </a:cubicBezTo>
                <a:cubicBezTo>
                  <a:pt x="16351" y="9148"/>
                  <a:pt x="16277" y="9195"/>
                  <a:pt x="16195" y="9277"/>
                </a:cubicBezTo>
                <a:cubicBezTo>
                  <a:pt x="16128" y="9242"/>
                  <a:pt x="16076" y="9218"/>
                  <a:pt x="16039" y="9207"/>
                </a:cubicBezTo>
                <a:cubicBezTo>
                  <a:pt x="15972" y="9230"/>
                  <a:pt x="15946" y="9289"/>
                  <a:pt x="15961" y="9384"/>
                </a:cubicBezTo>
                <a:cubicBezTo>
                  <a:pt x="15990" y="9431"/>
                  <a:pt x="16005" y="9478"/>
                  <a:pt x="16005" y="9525"/>
                </a:cubicBezTo>
                <a:cubicBezTo>
                  <a:pt x="15916" y="9726"/>
                  <a:pt x="15801" y="9921"/>
                  <a:pt x="15660" y="10109"/>
                </a:cubicBezTo>
                <a:cubicBezTo>
                  <a:pt x="15637" y="10133"/>
                  <a:pt x="15626" y="10139"/>
                  <a:pt x="15626" y="10127"/>
                </a:cubicBezTo>
                <a:cubicBezTo>
                  <a:pt x="15619" y="10115"/>
                  <a:pt x="15619" y="10092"/>
                  <a:pt x="15626" y="10056"/>
                </a:cubicBezTo>
                <a:cubicBezTo>
                  <a:pt x="15634" y="9867"/>
                  <a:pt x="15626" y="9720"/>
                  <a:pt x="15604" y="9614"/>
                </a:cubicBezTo>
                <a:cubicBezTo>
                  <a:pt x="15589" y="9555"/>
                  <a:pt x="15604" y="9508"/>
                  <a:pt x="15648" y="9472"/>
                </a:cubicBezTo>
                <a:cubicBezTo>
                  <a:pt x="15715" y="9401"/>
                  <a:pt x="15767" y="9348"/>
                  <a:pt x="15805" y="9313"/>
                </a:cubicBezTo>
                <a:cubicBezTo>
                  <a:pt x="15864" y="9254"/>
                  <a:pt x="15916" y="9201"/>
                  <a:pt x="15961" y="9154"/>
                </a:cubicBezTo>
                <a:cubicBezTo>
                  <a:pt x="16005" y="9130"/>
                  <a:pt x="16013" y="9077"/>
                  <a:pt x="15983" y="8994"/>
                </a:cubicBezTo>
                <a:cubicBezTo>
                  <a:pt x="15924" y="8853"/>
                  <a:pt x="15849" y="8741"/>
                  <a:pt x="15760" y="8658"/>
                </a:cubicBezTo>
                <a:cubicBezTo>
                  <a:pt x="15741" y="8652"/>
                  <a:pt x="15726" y="8649"/>
                  <a:pt x="15713" y="8649"/>
                </a:cubicBezTo>
                <a:close/>
                <a:moveTo>
                  <a:pt x="14756" y="9136"/>
                </a:moveTo>
                <a:cubicBezTo>
                  <a:pt x="14734" y="9136"/>
                  <a:pt x="14719" y="9142"/>
                  <a:pt x="14712" y="9154"/>
                </a:cubicBezTo>
                <a:cubicBezTo>
                  <a:pt x="14712" y="9165"/>
                  <a:pt x="14715" y="9177"/>
                  <a:pt x="14723" y="9189"/>
                </a:cubicBezTo>
                <a:cubicBezTo>
                  <a:pt x="14738" y="9283"/>
                  <a:pt x="14764" y="9360"/>
                  <a:pt x="14801" y="9419"/>
                </a:cubicBezTo>
                <a:cubicBezTo>
                  <a:pt x="14823" y="9431"/>
                  <a:pt x="14823" y="9460"/>
                  <a:pt x="14801" y="9508"/>
                </a:cubicBezTo>
                <a:cubicBezTo>
                  <a:pt x="14778" y="9555"/>
                  <a:pt x="14741" y="9614"/>
                  <a:pt x="14689" y="9685"/>
                </a:cubicBezTo>
                <a:cubicBezTo>
                  <a:pt x="14667" y="9708"/>
                  <a:pt x="14652" y="9726"/>
                  <a:pt x="14645" y="9738"/>
                </a:cubicBezTo>
                <a:cubicBezTo>
                  <a:pt x="14600" y="9785"/>
                  <a:pt x="14600" y="9797"/>
                  <a:pt x="14645" y="9773"/>
                </a:cubicBezTo>
                <a:cubicBezTo>
                  <a:pt x="14689" y="9761"/>
                  <a:pt x="14764" y="9744"/>
                  <a:pt x="14868" y="9720"/>
                </a:cubicBezTo>
                <a:cubicBezTo>
                  <a:pt x="14935" y="9696"/>
                  <a:pt x="14987" y="9679"/>
                  <a:pt x="15024" y="9667"/>
                </a:cubicBezTo>
                <a:cubicBezTo>
                  <a:pt x="15106" y="9631"/>
                  <a:pt x="15132" y="9543"/>
                  <a:pt x="15102" y="9401"/>
                </a:cubicBezTo>
                <a:cubicBezTo>
                  <a:pt x="15020" y="9236"/>
                  <a:pt x="14905" y="9148"/>
                  <a:pt x="14756" y="9136"/>
                </a:cubicBezTo>
                <a:close/>
                <a:moveTo>
                  <a:pt x="12715" y="9273"/>
                </a:moveTo>
                <a:cubicBezTo>
                  <a:pt x="12668" y="9273"/>
                  <a:pt x="12623" y="9310"/>
                  <a:pt x="12581" y="9384"/>
                </a:cubicBezTo>
                <a:cubicBezTo>
                  <a:pt x="12418" y="9596"/>
                  <a:pt x="12302" y="9667"/>
                  <a:pt x="12235" y="9596"/>
                </a:cubicBezTo>
                <a:cubicBezTo>
                  <a:pt x="12213" y="9584"/>
                  <a:pt x="12198" y="9578"/>
                  <a:pt x="12191" y="9578"/>
                </a:cubicBezTo>
                <a:cubicBezTo>
                  <a:pt x="12183" y="9590"/>
                  <a:pt x="12187" y="9608"/>
                  <a:pt x="12202" y="9631"/>
                </a:cubicBezTo>
                <a:cubicBezTo>
                  <a:pt x="12284" y="9879"/>
                  <a:pt x="12373" y="10009"/>
                  <a:pt x="12470" y="10021"/>
                </a:cubicBezTo>
                <a:cubicBezTo>
                  <a:pt x="12559" y="10009"/>
                  <a:pt x="12641" y="9879"/>
                  <a:pt x="12715" y="9631"/>
                </a:cubicBezTo>
                <a:cubicBezTo>
                  <a:pt x="12723" y="9608"/>
                  <a:pt x="12734" y="9602"/>
                  <a:pt x="12749" y="9614"/>
                </a:cubicBezTo>
                <a:cubicBezTo>
                  <a:pt x="12763" y="9637"/>
                  <a:pt x="12767" y="9661"/>
                  <a:pt x="12760" y="9685"/>
                </a:cubicBezTo>
                <a:cubicBezTo>
                  <a:pt x="12723" y="9862"/>
                  <a:pt x="12678" y="10050"/>
                  <a:pt x="12626" y="10251"/>
                </a:cubicBezTo>
                <a:cubicBezTo>
                  <a:pt x="12440" y="10133"/>
                  <a:pt x="12243" y="10157"/>
                  <a:pt x="12035" y="10322"/>
                </a:cubicBezTo>
                <a:cubicBezTo>
                  <a:pt x="12012" y="10345"/>
                  <a:pt x="12001" y="10363"/>
                  <a:pt x="12001" y="10375"/>
                </a:cubicBezTo>
                <a:cubicBezTo>
                  <a:pt x="12001" y="10398"/>
                  <a:pt x="12012" y="10410"/>
                  <a:pt x="12035" y="10410"/>
                </a:cubicBezTo>
                <a:cubicBezTo>
                  <a:pt x="12213" y="10446"/>
                  <a:pt x="12362" y="10516"/>
                  <a:pt x="12481" y="10623"/>
                </a:cubicBezTo>
                <a:cubicBezTo>
                  <a:pt x="12302" y="11059"/>
                  <a:pt x="12131" y="11165"/>
                  <a:pt x="11968" y="10941"/>
                </a:cubicBezTo>
                <a:cubicBezTo>
                  <a:pt x="11945" y="10929"/>
                  <a:pt x="11931" y="10923"/>
                  <a:pt x="11923" y="10923"/>
                </a:cubicBezTo>
                <a:cubicBezTo>
                  <a:pt x="11923" y="10935"/>
                  <a:pt x="11927" y="10947"/>
                  <a:pt x="11934" y="10959"/>
                </a:cubicBezTo>
                <a:cubicBezTo>
                  <a:pt x="12105" y="11478"/>
                  <a:pt x="12332" y="11454"/>
                  <a:pt x="12615" y="10888"/>
                </a:cubicBezTo>
                <a:cubicBezTo>
                  <a:pt x="12644" y="10935"/>
                  <a:pt x="12670" y="11000"/>
                  <a:pt x="12693" y="11083"/>
                </a:cubicBezTo>
                <a:cubicBezTo>
                  <a:pt x="12723" y="11165"/>
                  <a:pt x="12771" y="11224"/>
                  <a:pt x="12838" y="11260"/>
                </a:cubicBezTo>
                <a:cubicBezTo>
                  <a:pt x="12868" y="11283"/>
                  <a:pt x="12886" y="11289"/>
                  <a:pt x="12894" y="11277"/>
                </a:cubicBezTo>
                <a:cubicBezTo>
                  <a:pt x="12901" y="11266"/>
                  <a:pt x="12905" y="11224"/>
                  <a:pt x="12905" y="11154"/>
                </a:cubicBezTo>
                <a:cubicBezTo>
                  <a:pt x="12882" y="10918"/>
                  <a:pt x="12849" y="10699"/>
                  <a:pt x="12804" y="10499"/>
                </a:cubicBezTo>
                <a:cubicBezTo>
                  <a:pt x="12856" y="10333"/>
                  <a:pt x="12897" y="10180"/>
                  <a:pt x="12927" y="10039"/>
                </a:cubicBezTo>
                <a:cubicBezTo>
                  <a:pt x="12949" y="9956"/>
                  <a:pt x="12979" y="9885"/>
                  <a:pt x="13016" y="9826"/>
                </a:cubicBezTo>
                <a:cubicBezTo>
                  <a:pt x="13031" y="9732"/>
                  <a:pt x="13024" y="9631"/>
                  <a:pt x="12994" y="9525"/>
                </a:cubicBezTo>
                <a:cubicBezTo>
                  <a:pt x="12927" y="9431"/>
                  <a:pt x="12864" y="9360"/>
                  <a:pt x="12804" y="9313"/>
                </a:cubicBezTo>
                <a:cubicBezTo>
                  <a:pt x="12774" y="9286"/>
                  <a:pt x="12744" y="9273"/>
                  <a:pt x="12715" y="9273"/>
                </a:cubicBezTo>
                <a:close/>
                <a:moveTo>
                  <a:pt x="5449" y="8331"/>
                </a:moveTo>
                <a:cubicBezTo>
                  <a:pt x="5426" y="8336"/>
                  <a:pt x="5410" y="8357"/>
                  <a:pt x="5398" y="8393"/>
                </a:cubicBezTo>
                <a:cubicBezTo>
                  <a:pt x="5280" y="8593"/>
                  <a:pt x="5161" y="8888"/>
                  <a:pt x="5042" y="9277"/>
                </a:cubicBezTo>
                <a:cubicBezTo>
                  <a:pt x="5064" y="9065"/>
                  <a:pt x="4934" y="8841"/>
                  <a:pt x="4651" y="8605"/>
                </a:cubicBezTo>
                <a:cubicBezTo>
                  <a:pt x="4629" y="8593"/>
                  <a:pt x="4618" y="8593"/>
                  <a:pt x="4618" y="8605"/>
                </a:cubicBezTo>
                <a:cubicBezTo>
                  <a:pt x="4610" y="8605"/>
                  <a:pt x="4610" y="8617"/>
                  <a:pt x="4618" y="8640"/>
                </a:cubicBezTo>
                <a:cubicBezTo>
                  <a:pt x="4640" y="8888"/>
                  <a:pt x="4670" y="9030"/>
                  <a:pt x="4707" y="9065"/>
                </a:cubicBezTo>
                <a:cubicBezTo>
                  <a:pt x="4729" y="9124"/>
                  <a:pt x="4733" y="9171"/>
                  <a:pt x="4718" y="9207"/>
                </a:cubicBezTo>
                <a:cubicBezTo>
                  <a:pt x="4644" y="9348"/>
                  <a:pt x="4536" y="9449"/>
                  <a:pt x="4395" y="9508"/>
                </a:cubicBezTo>
                <a:cubicBezTo>
                  <a:pt x="4305" y="9649"/>
                  <a:pt x="4283" y="9844"/>
                  <a:pt x="4328" y="10092"/>
                </a:cubicBezTo>
                <a:cubicBezTo>
                  <a:pt x="4343" y="10151"/>
                  <a:pt x="4350" y="10257"/>
                  <a:pt x="4350" y="10410"/>
                </a:cubicBezTo>
                <a:cubicBezTo>
                  <a:pt x="4328" y="10776"/>
                  <a:pt x="4324" y="11130"/>
                  <a:pt x="4339" y="11472"/>
                </a:cubicBezTo>
                <a:cubicBezTo>
                  <a:pt x="4346" y="11732"/>
                  <a:pt x="4413" y="11891"/>
                  <a:pt x="4540" y="11950"/>
                </a:cubicBezTo>
                <a:cubicBezTo>
                  <a:pt x="4599" y="11974"/>
                  <a:pt x="4629" y="11956"/>
                  <a:pt x="4629" y="11897"/>
                </a:cubicBezTo>
                <a:cubicBezTo>
                  <a:pt x="4644" y="11567"/>
                  <a:pt x="4670" y="11301"/>
                  <a:pt x="4707" y="11100"/>
                </a:cubicBezTo>
                <a:cubicBezTo>
                  <a:pt x="4781" y="11077"/>
                  <a:pt x="4826" y="11059"/>
                  <a:pt x="4841" y="11047"/>
                </a:cubicBezTo>
                <a:cubicBezTo>
                  <a:pt x="4885" y="11012"/>
                  <a:pt x="4926" y="10994"/>
                  <a:pt x="4963" y="10994"/>
                </a:cubicBezTo>
                <a:cubicBezTo>
                  <a:pt x="4934" y="11065"/>
                  <a:pt x="4900" y="11124"/>
                  <a:pt x="4863" y="11171"/>
                </a:cubicBezTo>
                <a:cubicBezTo>
                  <a:pt x="4826" y="11218"/>
                  <a:pt x="4815" y="11319"/>
                  <a:pt x="4830" y="11472"/>
                </a:cubicBezTo>
                <a:cubicBezTo>
                  <a:pt x="4845" y="11578"/>
                  <a:pt x="4885" y="11596"/>
                  <a:pt x="4952" y="11525"/>
                </a:cubicBezTo>
                <a:cubicBezTo>
                  <a:pt x="5019" y="11443"/>
                  <a:pt x="5108" y="11384"/>
                  <a:pt x="5220" y="11348"/>
                </a:cubicBezTo>
                <a:cubicBezTo>
                  <a:pt x="5265" y="11738"/>
                  <a:pt x="5365" y="12038"/>
                  <a:pt x="5521" y="12251"/>
                </a:cubicBezTo>
                <a:cubicBezTo>
                  <a:pt x="5558" y="12322"/>
                  <a:pt x="5599" y="12322"/>
                  <a:pt x="5644" y="12251"/>
                </a:cubicBezTo>
                <a:cubicBezTo>
                  <a:pt x="5785" y="12015"/>
                  <a:pt x="5882" y="11732"/>
                  <a:pt x="5934" y="11401"/>
                </a:cubicBezTo>
                <a:cubicBezTo>
                  <a:pt x="6023" y="11460"/>
                  <a:pt x="6109" y="11496"/>
                  <a:pt x="6190" y="11508"/>
                </a:cubicBezTo>
                <a:cubicBezTo>
                  <a:pt x="6220" y="11519"/>
                  <a:pt x="6239" y="11513"/>
                  <a:pt x="6246" y="11490"/>
                </a:cubicBezTo>
                <a:cubicBezTo>
                  <a:pt x="6261" y="11466"/>
                  <a:pt x="6261" y="11431"/>
                  <a:pt x="6246" y="11384"/>
                </a:cubicBezTo>
                <a:cubicBezTo>
                  <a:pt x="6194" y="11266"/>
                  <a:pt x="6101" y="11183"/>
                  <a:pt x="5967" y="11136"/>
                </a:cubicBezTo>
                <a:cubicBezTo>
                  <a:pt x="5967" y="11100"/>
                  <a:pt x="5975" y="11036"/>
                  <a:pt x="5990" y="10941"/>
                </a:cubicBezTo>
                <a:cubicBezTo>
                  <a:pt x="5997" y="10859"/>
                  <a:pt x="6004" y="10794"/>
                  <a:pt x="6012" y="10746"/>
                </a:cubicBezTo>
                <a:cubicBezTo>
                  <a:pt x="6064" y="10758"/>
                  <a:pt x="6116" y="10770"/>
                  <a:pt x="6168" y="10782"/>
                </a:cubicBezTo>
                <a:cubicBezTo>
                  <a:pt x="6228" y="10817"/>
                  <a:pt x="6287" y="10835"/>
                  <a:pt x="6347" y="10835"/>
                </a:cubicBezTo>
                <a:cubicBezTo>
                  <a:pt x="6391" y="10823"/>
                  <a:pt x="6399" y="10770"/>
                  <a:pt x="6369" y="10676"/>
                </a:cubicBezTo>
                <a:cubicBezTo>
                  <a:pt x="6294" y="10546"/>
                  <a:pt x="6224" y="10475"/>
                  <a:pt x="6157" y="10463"/>
                </a:cubicBezTo>
                <a:cubicBezTo>
                  <a:pt x="6112" y="10463"/>
                  <a:pt x="6071" y="10463"/>
                  <a:pt x="6034" y="10463"/>
                </a:cubicBezTo>
                <a:cubicBezTo>
                  <a:pt x="6027" y="10404"/>
                  <a:pt x="6031" y="10357"/>
                  <a:pt x="6045" y="10322"/>
                </a:cubicBezTo>
                <a:cubicBezTo>
                  <a:pt x="6075" y="10168"/>
                  <a:pt x="6064" y="10050"/>
                  <a:pt x="6012" y="9968"/>
                </a:cubicBezTo>
                <a:cubicBezTo>
                  <a:pt x="5938" y="9873"/>
                  <a:pt x="5874" y="9808"/>
                  <a:pt x="5822" y="9773"/>
                </a:cubicBezTo>
                <a:cubicBezTo>
                  <a:pt x="5748" y="9714"/>
                  <a:pt x="5677" y="9732"/>
                  <a:pt x="5610" y="9826"/>
                </a:cubicBezTo>
                <a:cubicBezTo>
                  <a:pt x="5566" y="9862"/>
                  <a:pt x="5521" y="9897"/>
                  <a:pt x="5477" y="9932"/>
                </a:cubicBezTo>
                <a:cubicBezTo>
                  <a:pt x="5536" y="9602"/>
                  <a:pt x="5622" y="9395"/>
                  <a:pt x="5733" y="9313"/>
                </a:cubicBezTo>
                <a:cubicBezTo>
                  <a:pt x="5807" y="9266"/>
                  <a:pt x="5874" y="9207"/>
                  <a:pt x="5934" y="9136"/>
                </a:cubicBezTo>
                <a:cubicBezTo>
                  <a:pt x="5971" y="9089"/>
                  <a:pt x="5975" y="9041"/>
                  <a:pt x="5945" y="8994"/>
                </a:cubicBezTo>
                <a:cubicBezTo>
                  <a:pt x="5878" y="8841"/>
                  <a:pt x="5811" y="8800"/>
                  <a:pt x="5744" y="8870"/>
                </a:cubicBezTo>
                <a:cubicBezTo>
                  <a:pt x="5729" y="8882"/>
                  <a:pt x="5703" y="8894"/>
                  <a:pt x="5666" y="8906"/>
                </a:cubicBezTo>
                <a:cubicBezTo>
                  <a:pt x="5629" y="8929"/>
                  <a:pt x="5622" y="8918"/>
                  <a:pt x="5644" y="8870"/>
                </a:cubicBezTo>
                <a:cubicBezTo>
                  <a:pt x="5644" y="8835"/>
                  <a:pt x="5651" y="8806"/>
                  <a:pt x="5666" y="8782"/>
                </a:cubicBezTo>
                <a:cubicBezTo>
                  <a:pt x="5674" y="8640"/>
                  <a:pt x="5629" y="8499"/>
                  <a:pt x="5532" y="8357"/>
                </a:cubicBezTo>
                <a:cubicBezTo>
                  <a:pt x="5499" y="8334"/>
                  <a:pt x="5471" y="8325"/>
                  <a:pt x="5449" y="8331"/>
                </a:cubicBezTo>
                <a:close/>
                <a:moveTo>
                  <a:pt x="7712" y="8410"/>
                </a:moveTo>
                <a:cubicBezTo>
                  <a:pt x="7696" y="8409"/>
                  <a:pt x="7679" y="8409"/>
                  <a:pt x="7663" y="8410"/>
                </a:cubicBezTo>
                <a:cubicBezTo>
                  <a:pt x="7588" y="8457"/>
                  <a:pt x="7566" y="8540"/>
                  <a:pt x="7596" y="8658"/>
                </a:cubicBezTo>
                <a:cubicBezTo>
                  <a:pt x="7596" y="8670"/>
                  <a:pt x="7599" y="8682"/>
                  <a:pt x="7607" y="8693"/>
                </a:cubicBezTo>
                <a:cubicBezTo>
                  <a:pt x="7607" y="8717"/>
                  <a:pt x="7611" y="8729"/>
                  <a:pt x="7618" y="8729"/>
                </a:cubicBezTo>
                <a:cubicBezTo>
                  <a:pt x="7625" y="8788"/>
                  <a:pt x="7633" y="8817"/>
                  <a:pt x="7640" y="8817"/>
                </a:cubicBezTo>
                <a:cubicBezTo>
                  <a:pt x="7655" y="8817"/>
                  <a:pt x="7666" y="8794"/>
                  <a:pt x="7674" y="8747"/>
                </a:cubicBezTo>
                <a:cubicBezTo>
                  <a:pt x="7681" y="8688"/>
                  <a:pt x="7692" y="8676"/>
                  <a:pt x="7707" y="8711"/>
                </a:cubicBezTo>
                <a:cubicBezTo>
                  <a:pt x="7722" y="8747"/>
                  <a:pt x="7730" y="8806"/>
                  <a:pt x="7730" y="8888"/>
                </a:cubicBezTo>
                <a:cubicBezTo>
                  <a:pt x="7722" y="8900"/>
                  <a:pt x="7718" y="8929"/>
                  <a:pt x="7718" y="8977"/>
                </a:cubicBezTo>
                <a:cubicBezTo>
                  <a:pt x="7696" y="9224"/>
                  <a:pt x="7659" y="9531"/>
                  <a:pt x="7607" y="9897"/>
                </a:cubicBezTo>
                <a:cubicBezTo>
                  <a:pt x="7443" y="10098"/>
                  <a:pt x="7261" y="10204"/>
                  <a:pt x="7060" y="10216"/>
                </a:cubicBezTo>
                <a:cubicBezTo>
                  <a:pt x="7016" y="10227"/>
                  <a:pt x="6990" y="10251"/>
                  <a:pt x="6982" y="10286"/>
                </a:cubicBezTo>
                <a:cubicBezTo>
                  <a:pt x="6967" y="10310"/>
                  <a:pt x="6975" y="10345"/>
                  <a:pt x="7005" y="10392"/>
                </a:cubicBezTo>
                <a:cubicBezTo>
                  <a:pt x="7071" y="10628"/>
                  <a:pt x="7224" y="10735"/>
                  <a:pt x="7462" y="10711"/>
                </a:cubicBezTo>
                <a:cubicBezTo>
                  <a:pt x="7387" y="11277"/>
                  <a:pt x="7235" y="11602"/>
                  <a:pt x="7005" y="11685"/>
                </a:cubicBezTo>
                <a:cubicBezTo>
                  <a:pt x="6967" y="11696"/>
                  <a:pt x="6949" y="11690"/>
                  <a:pt x="6949" y="11667"/>
                </a:cubicBezTo>
                <a:cubicBezTo>
                  <a:pt x="6949" y="11643"/>
                  <a:pt x="6967" y="11596"/>
                  <a:pt x="7005" y="11525"/>
                </a:cubicBezTo>
                <a:cubicBezTo>
                  <a:pt x="7019" y="11502"/>
                  <a:pt x="7023" y="11496"/>
                  <a:pt x="7016" y="11508"/>
                </a:cubicBezTo>
                <a:cubicBezTo>
                  <a:pt x="7008" y="11508"/>
                  <a:pt x="6990" y="11513"/>
                  <a:pt x="6960" y="11525"/>
                </a:cubicBezTo>
                <a:cubicBezTo>
                  <a:pt x="6878" y="11561"/>
                  <a:pt x="6822" y="11649"/>
                  <a:pt x="6793" y="11791"/>
                </a:cubicBezTo>
                <a:cubicBezTo>
                  <a:pt x="6763" y="11897"/>
                  <a:pt x="6822" y="11950"/>
                  <a:pt x="6971" y="11950"/>
                </a:cubicBezTo>
                <a:cubicBezTo>
                  <a:pt x="7358" y="11962"/>
                  <a:pt x="7577" y="11761"/>
                  <a:pt x="7629" y="11348"/>
                </a:cubicBezTo>
                <a:cubicBezTo>
                  <a:pt x="7696" y="10935"/>
                  <a:pt x="7778" y="10652"/>
                  <a:pt x="7875" y="10499"/>
                </a:cubicBezTo>
                <a:cubicBezTo>
                  <a:pt x="8053" y="10180"/>
                  <a:pt x="8261" y="9950"/>
                  <a:pt x="8499" y="9808"/>
                </a:cubicBezTo>
                <a:cubicBezTo>
                  <a:pt x="8611" y="9761"/>
                  <a:pt x="8633" y="9655"/>
                  <a:pt x="8566" y="9490"/>
                </a:cubicBezTo>
                <a:cubicBezTo>
                  <a:pt x="8521" y="9348"/>
                  <a:pt x="8402" y="9301"/>
                  <a:pt x="8209" y="9348"/>
                </a:cubicBezTo>
                <a:cubicBezTo>
                  <a:pt x="8127" y="9360"/>
                  <a:pt x="8057" y="9331"/>
                  <a:pt x="7997" y="9260"/>
                </a:cubicBezTo>
                <a:cubicBezTo>
                  <a:pt x="8005" y="9213"/>
                  <a:pt x="8023" y="9083"/>
                  <a:pt x="8053" y="8870"/>
                </a:cubicBezTo>
                <a:cubicBezTo>
                  <a:pt x="8060" y="8788"/>
                  <a:pt x="8049" y="8711"/>
                  <a:pt x="8020" y="8640"/>
                </a:cubicBezTo>
                <a:cubicBezTo>
                  <a:pt x="7928" y="8496"/>
                  <a:pt x="7826" y="8419"/>
                  <a:pt x="7712" y="8410"/>
                </a:cubicBezTo>
                <a:close/>
                <a:moveTo>
                  <a:pt x="8092" y="11008"/>
                </a:moveTo>
                <a:cubicBezTo>
                  <a:pt x="8047" y="11005"/>
                  <a:pt x="8008" y="11012"/>
                  <a:pt x="7975" y="11030"/>
                </a:cubicBezTo>
                <a:cubicBezTo>
                  <a:pt x="7967" y="11030"/>
                  <a:pt x="7953" y="11036"/>
                  <a:pt x="7930" y="11047"/>
                </a:cubicBezTo>
                <a:cubicBezTo>
                  <a:pt x="7901" y="11047"/>
                  <a:pt x="7882" y="11047"/>
                  <a:pt x="7875" y="11047"/>
                </a:cubicBezTo>
                <a:cubicBezTo>
                  <a:pt x="7860" y="11047"/>
                  <a:pt x="7841" y="11053"/>
                  <a:pt x="7819" y="11065"/>
                </a:cubicBezTo>
                <a:cubicBezTo>
                  <a:pt x="7796" y="11065"/>
                  <a:pt x="7778" y="11065"/>
                  <a:pt x="7763" y="11065"/>
                </a:cubicBezTo>
                <a:cubicBezTo>
                  <a:pt x="7726" y="11077"/>
                  <a:pt x="7704" y="11089"/>
                  <a:pt x="7696" y="11100"/>
                </a:cubicBezTo>
                <a:cubicBezTo>
                  <a:pt x="7689" y="11112"/>
                  <a:pt x="7704" y="11118"/>
                  <a:pt x="7741" y="11118"/>
                </a:cubicBezTo>
                <a:cubicBezTo>
                  <a:pt x="7882" y="11130"/>
                  <a:pt x="8001" y="11207"/>
                  <a:pt x="8098" y="11348"/>
                </a:cubicBezTo>
                <a:cubicBezTo>
                  <a:pt x="8172" y="11466"/>
                  <a:pt x="8239" y="11549"/>
                  <a:pt x="8298" y="11596"/>
                </a:cubicBezTo>
                <a:cubicBezTo>
                  <a:pt x="8425" y="11773"/>
                  <a:pt x="8529" y="11891"/>
                  <a:pt x="8611" y="11950"/>
                </a:cubicBezTo>
                <a:cubicBezTo>
                  <a:pt x="8618" y="11950"/>
                  <a:pt x="8629" y="11962"/>
                  <a:pt x="8644" y="11985"/>
                </a:cubicBezTo>
                <a:cubicBezTo>
                  <a:pt x="8726" y="12068"/>
                  <a:pt x="8785" y="12103"/>
                  <a:pt x="8823" y="12092"/>
                </a:cubicBezTo>
                <a:cubicBezTo>
                  <a:pt x="8867" y="12080"/>
                  <a:pt x="8889" y="12021"/>
                  <a:pt x="8889" y="11915"/>
                </a:cubicBezTo>
                <a:cubicBezTo>
                  <a:pt x="8904" y="11513"/>
                  <a:pt x="8689" y="11224"/>
                  <a:pt x="8243" y="11047"/>
                </a:cubicBezTo>
                <a:cubicBezTo>
                  <a:pt x="8187" y="11024"/>
                  <a:pt x="8137" y="11010"/>
                  <a:pt x="8092" y="11008"/>
                </a:cubicBezTo>
                <a:close/>
                <a:moveTo>
                  <a:pt x="2342" y="8587"/>
                </a:moveTo>
                <a:cubicBezTo>
                  <a:pt x="2335" y="8587"/>
                  <a:pt x="2331" y="8599"/>
                  <a:pt x="2331" y="8623"/>
                </a:cubicBezTo>
                <a:cubicBezTo>
                  <a:pt x="2316" y="8788"/>
                  <a:pt x="2331" y="8953"/>
                  <a:pt x="2376" y="9118"/>
                </a:cubicBezTo>
                <a:cubicBezTo>
                  <a:pt x="2458" y="9390"/>
                  <a:pt x="2480" y="9808"/>
                  <a:pt x="2443" y="10375"/>
                </a:cubicBezTo>
                <a:cubicBezTo>
                  <a:pt x="2421" y="10410"/>
                  <a:pt x="2391" y="10457"/>
                  <a:pt x="2354" y="10516"/>
                </a:cubicBezTo>
                <a:cubicBezTo>
                  <a:pt x="2316" y="10564"/>
                  <a:pt x="2294" y="10593"/>
                  <a:pt x="2287" y="10605"/>
                </a:cubicBezTo>
                <a:cubicBezTo>
                  <a:pt x="2257" y="10640"/>
                  <a:pt x="2246" y="10670"/>
                  <a:pt x="2253" y="10693"/>
                </a:cubicBezTo>
                <a:cubicBezTo>
                  <a:pt x="2253" y="10705"/>
                  <a:pt x="2268" y="10693"/>
                  <a:pt x="2298" y="10658"/>
                </a:cubicBezTo>
                <a:cubicBezTo>
                  <a:pt x="2313" y="10646"/>
                  <a:pt x="2342" y="10617"/>
                  <a:pt x="2387" y="10569"/>
                </a:cubicBezTo>
                <a:cubicBezTo>
                  <a:pt x="2409" y="10546"/>
                  <a:pt x="2424" y="10528"/>
                  <a:pt x="2432" y="10516"/>
                </a:cubicBezTo>
                <a:cubicBezTo>
                  <a:pt x="2424" y="10611"/>
                  <a:pt x="2413" y="10741"/>
                  <a:pt x="2398" y="10906"/>
                </a:cubicBezTo>
                <a:cubicBezTo>
                  <a:pt x="2391" y="10977"/>
                  <a:pt x="2387" y="11047"/>
                  <a:pt x="2387" y="11118"/>
                </a:cubicBezTo>
                <a:cubicBezTo>
                  <a:pt x="2350" y="11142"/>
                  <a:pt x="2302" y="11159"/>
                  <a:pt x="2242" y="11171"/>
                </a:cubicBezTo>
                <a:cubicBezTo>
                  <a:pt x="2108" y="11230"/>
                  <a:pt x="1971" y="11289"/>
                  <a:pt x="1829" y="11348"/>
                </a:cubicBezTo>
                <a:cubicBezTo>
                  <a:pt x="1755" y="11384"/>
                  <a:pt x="1722" y="11372"/>
                  <a:pt x="1729" y="11313"/>
                </a:cubicBezTo>
                <a:cubicBezTo>
                  <a:pt x="1729" y="11277"/>
                  <a:pt x="1710" y="11260"/>
                  <a:pt x="1673" y="11260"/>
                </a:cubicBezTo>
                <a:cubicBezTo>
                  <a:pt x="1629" y="11354"/>
                  <a:pt x="1614" y="11431"/>
                  <a:pt x="1629" y="11490"/>
                </a:cubicBezTo>
                <a:cubicBezTo>
                  <a:pt x="1651" y="11620"/>
                  <a:pt x="1684" y="11720"/>
                  <a:pt x="1729" y="11791"/>
                </a:cubicBezTo>
                <a:cubicBezTo>
                  <a:pt x="1759" y="11838"/>
                  <a:pt x="1815" y="11832"/>
                  <a:pt x="1896" y="11773"/>
                </a:cubicBezTo>
                <a:cubicBezTo>
                  <a:pt x="2030" y="11714"/>
                  <a:pt x="2209" y="11631"/>
                  <a:pt x="2432" y="11525"/>
                </a:cubicBezTo>
                <a:cubicBezTo>
                  <a:pt x="2461" y="11525"/>
                  <a:pt x="2487" y="11543"/>
                  <a:pt x="2510" y="11578"/>
                </a:cubicBezTo>
                <a:cubicBezTo>
                  <a:pt x="2532" y="11614"/>
                  <a:pt x="2554" y="11614"/>
                  <a:pt x="2577" y="11578"/>
                </a:cubicBezTo>
                <a:cubicBezTo>
                  <a:pt x="2592" y="11519"/>
                  <a:pt x="2618" y="11484"/>
                  <a:pt x="2655" y="11472"/>
                </a:cubicBezTo>
                <a:cubicBezTo>
                  <a:pt x="2841" y="11472"/>
                  <a:pt x="2993" y="11472"/>
                  <a:pt x="3112" y="11472"/>
                </a:cubicBezTo>
                <a:cubicBezTo>
                  <a:pt x="3238" y="11484"/>
                  <a:pt x="3324" y="11496"/>
                  <a:pt x="3369" y="11508"/>
                </a:cubicBezTo>
                <a:cubicBezTo>
                  <a:pt x="3450" y="11578"/>
                  <a:pt x="3532" y="11608"/>
                  <a:pt x="3614" y="11596"/>
                </a:cubicBezTo>
                <a:cubicBezTo>
                  <a:pt x="3681" y="11561"/>
                  <a:pt x="3707" y="11472"/>
                  <a:pt x="3692" y="11331"/>
                </a:cubicBezTo>
                <a:cubicBezTo>
                  <a:pt x="3625" y="11095"/>
                  <a:pt x="3536" y="10977"/>
                  <a:pt x="3424" y="10977"/>
                </a:cubicBezTo>
                <a:cubicBezTo>
                  <a:pt x="3320" y="11000"/>
                  <a:pt x="3209" y="11018"/>
                  <a:pt x="3090" y="11030"/>
                </a:cubicBezTo>
                <a:cubicBezTo>
                  <a:pt x="2963" y="11041"/>
                  <a:pt x="2829" y="11041"/>
                  <a:pt x="2688" y="11030"/>
                </a:cubicBezTo>
                <a:cubicBezTo>
                  <a:pt x="2696" y="10888"/>
                  <a:pt x="2696" y="10746"/>
                  <a:pt x="2688" y="10605"/>
                </a:cubicBezTo>
                <a:cubicBezTo>
                  <a:pt x="2681" y="10475"/>
                  <a:pt x="2684" y="10339"/>
                  <a:pt x="2699" y="10198"/>
                </a:cubicBezTo>
                <a:cubicBezTo>
                  <a:pt x="2796" y="10044"/>
                  <a:pt x="2908" y="9897"/>
                  <a:pt x="3034" y="9755"/>
                </a:cubicBezTo>
                <a:cubicBezTo>
                  <a:pt x="3093" y="9685"/>
                  <a:pt x="3157" y="9643"/>
                  <a:pt x="3224" y="9631"/>
                </a:cubicBezTo>
                <a:cubicBezTo>
                  <a:pt x="3268" y="9596"/>
                  <a:pt x="3290" y="9525"/>
                  <a:pt x="3290" y="9419"/>
                </a:cubicBezTo>
                <a:cubicBezTo>
                  <a:pt x="3283" y="9313"/>
                  <a:pt x="3231" y="9236"/>
                  <a:pt x="3134" y="9189"/>
                </a:cubicBezTo>
                <a:cubicBezTo>
                  <a:pt x="3030" y="9142"/>
                  <a:pt x="2963" y="9148"/>
                  <a:pt x="2934" y="9207"/>
                </a:cubicBezTo>
                <a:cubicBezTo>
                  <a:pt x="2904" y="9242"/>
                  <a:pt x="2863" y="9266"/>
                  <a:pt x="2811" y="9277"/>
                </a:cubicBezTo>
                <a:cubicBezTo>
                  <a:pt x="2766" y="9289"/>
                  <a:pt x="2748" y="9266"/>
                  <a:pt x="2755" y="9207"/>
                </a:cubicBezTo>
                <a:cubicBezTo>
                  <a:pt x="2748" y="9053"/>
                  <a:pt x="2722" y="8941"/>
                  <a:pt x="2677" y="8870"/>
                </a:cubicBezTo>
                <a:cubicBezTo>
                  <a:pt x="2640" y="8811"/>
                  <a:pt x="2543" y="8723"/>
                  <a:pt x="2387" y="8605"/>
                </a:cubicBezTo>
                <a:cubicBezTo>
                  <a:pt x="2357" y="8593"/>
                  <a:pt x="2342" y="8587"/>
                  <a:pt x="2342" y="8587"/>
                </a:cubicBezTo>
                <a:close/>
              </a:path>
            </a:pathLst>
          </a:custGeom>
          <a:solidFill>
            <a:srgbClr val="FFFFFF">
              <a:alpha val="77000"/>
            </a:srgbClr>
          </a:solidFill>
          <a:ln w="12700">
            <a:miter lim="400000"/>
          </a:ln>
        </p:spPr>
        <p:txBody>
          <a:bodyPr lIns="45719" rIns="45719" anchor="ctr"/>
          <a:lstStyle/>
          <a:p>
            <a:pPr algn="ctr" defTabSz="914400">
              <a:defRPr>
                <a:solidFill>
                  <a:srgbClr val="FFFFFF"/>
                </a:solidFill>
                <a:latin typeface="+mj-lt"/>
                <a:ea typeface="+mj-ea"/>
                <a:cs typeface="+mj-cs"/>
                <a:sym typeface="Calibri" panose="020F0502020204030204"/>
              </a:defRPr>
            </a:pPr>
            <a:endParaRPr/>
          </a:p>
        </p:txBody>
      </p:sp>
      <p:pic>
        <p:nvPicPr>
          <p:cNvPr id="1781" name="图片 36" descr="图片 36"/>
          <p:cNvPicPr>
            <a:picLocks noChangeAspect="1"/>
          </p:cNvPicPr>
          <p:nvPr/>
        </p:nvPicPr>
        <p:blipFill>
          <a:blip r:embed="rId2"/>
          <a:stretch>
            <a:fillRect/>
          </a:stretch>
        </p:blipFill>
        <p:spPr>
          <a:xfrm>
            <a:off x="9541933" y="3630698"/>
            <a:ext cx="1253068" cy="2198301"/>
          </a:xfrm>
          <a:prstGeom prst="rect">
            <a:avLst/>
          </a:prstGeom>
          <a:ln w="12700">
            <a:miter lim="400000"/>
            <a:headEnd/>
            <a:tailEnd/>
          </a:ln>
        </p:spPr>
      </p:pic>
      <p:sp>
        <p:nvSpPr>
          <p:cNvPr id="1782" name="矩形 23"/>
          <p:cNvSpPr txBox="1"/>
          <p:nvPr/>
        </p:nvSpPr>
        <p:spPr>
          <a:xfrm>
            <a:off x="1832698" y="1576670"/>
            <a:ext cx="2755825" cy="574421"/>
          </a:xfrm>
          <a:prstGeom prst="rect">
            <a:avLst/>
          </a:prstGeom>
          <a:ln w="12700">
            <a:miter lim="400000"/>
          </a:ln>
        </p:spPr>
        <p:txBody>
          <a:bodyPr lIns="58610" tIns="58610" rIns="58610" bIns="58610" anchor="ctr">
            <a:spAutoFit/>
          </a:bodyPr>
          <a:lstStyle>
            <a:lvl1pPr defTabSz="914400">
              <a:defRPr sz="3100" b="1">
                <a:solidFill>
                  <a:srgbClr val="A6A6A6"/>
                </a:solidFill>
                <a:latin typeface="+mj-lt"/>
                <a:ea typeface="+mj-ea"/>
                <a:cs typeface="+mj-cs"/>
                <a:sym typeface="Calibri" panose="020F0502020204030204"/>
              </a:defRPr>
            </a:lvl1pPr>
          </a:lstStyle>
          <a:p>
            <a:r>
              <a:t>   SHU IMAGES</a:t>
            </a:r>
          </a:p>
        </p:txBody>
      </p:sp>
      <p:pic>
        <p:nvPicPr>
          <p:cNvPr id="1783" name="图片 2" descr="图片 2"/>
          <p:cNvPicPr>
            <a:picLocks noChangeAspect="1"/>
          </p:cNvPicPr>
          <p:nvPr/>
        </p:nvPicPr>
        <p:blipFill>
          <a:blip r:embed="rId3"/>
          <a:stretch>
            <a:fillRect/>
          </a:stretch>
        </p:blipFill>
        <p:spPr>
          <a:xfrm>
            <a:off x="1564701" y="-77749"/>
            <a:ext cx="1869926" cy="1112766"/>
          </a:xfrm>
          <a:prstGeom prst="rect">
            <a:avLst/>
          </a:prstGeom>
          <a:ln w="12700">
            <a:miter lim="400000"/>
            <a:headEnd/>
            <a:tailEnd/>
          </a:ln>
        </p:spPr>
      </p:pic>
      <p:pic>
        <p:nvPicPr>
          <p:cNvPr id="1784" name="图片 25" descr="图片 25"/>
          <p:cNvPicPr>
            <a:picLocks noChangeAspect="1"/>
          </p:cNvPicPr>
          <p:nvPr/>
        </p:nvPicPr>
        <p:blipFill>
          <a:blip r:embed="rId4"/>
          <a:stretch>
            <a:fillRect/>
          </a:stretch>
        </p:blipFill>
        <p:spPr>
          <a:xfrm>
            <a:off x="-66499" y="-77748"/>
            <a:ext cx="1648532" cy="1091898"/>
          </a:xfrm>
          <a:prstGeom prst="rect">
            <a:avLst/>
          </a:prstGeom>
          <a:ln w="12700">
            <a:miter lim="400000"/>
            <a:headEnd/>
            <a:tailEnd/>
          </a:ln>
        </p:spPr>
      </p:pic>
      <p:pic>
        <p:nvPicPr>
          <p:cNvPr id="1785" name="图片 33" descr="图片 33"/>
          <p:cNvPicPr>
            <a:picLocks noChangeAspect="1"/>
          </p:cNvPicPr>
          <p:nvPr/>
        </p:nvPicPr>
        <p:blipFill>
          <a:blip r:embed="rId5"/>
          <a:stretch>
            <a:fillRect/>
          </a:stretch>
        </p:blipFill>
        <p:spPr>
          <a:xfrm>
            <a:off x="5345288" y="-77749"/>
            <a:ext cx="2054864" cy="1112766"/>
          </a:xfrm>
          <a:prstGeom prst="rect">
            <a:avLst/>
          </a:prstGeom>
          <a:ln w="12700">
            <a:miter lim="400000"/>
            <a:headEnd/>
            <a:tailEnd/>
          </a:ln>
        </p:spPr>
      </p:pic>
      <p:pic>
        <p:nvPicPr>
          <p:cNvPr id="1786" name="图片 32" descr="图片 32"/>
          <p:cNvPicPr>
            <a:picLocks noChangeAspect="1"/>
          </p:cNvPicPr>
          <p:nvPr/>
        </p:nvPicPr>
        <p:blipFill>
          <a:blip r:embed="rId6"/>
          <a:stretch>
            <a:fillRect/>
          </a:stretch>
        </p:blipFill>
        <p:spPr>
          <a:xfrm>
            <a:off x="6786074" y="5800690"/>
            <a:ext cx="2102869" cy="1086311"/>
          </a:xfrm>
          <a:prstGeom prst="rect">
            <a:avLst/>
          </a:prstGeom>
          <a:ln w="12700">
            <a:miter lim="400000"/>
            <a:headEnd/>
            <a:tailEnd/>
          </a:ln>
        </p:spPr>
      </p:pic>
      <p:pic>
        <p:nvPicPr>
          <p:cNvPr id="1787" name="图片 40" descr="图片 40"/>
          <p:cNvPicPr>
            <a:picLocks noChangeAspect="1"/>
          </p:cNvPicPr>
          <p:nvPr/>
        </p:nvPicPr>
        <p:blipFill>
          <a:blip r:embed="rId7"/>
          <a:stretch>
            <a:fillRect/>
          </a:stretch>
        </p:blipFill>
        <p:spPr>
          <a:xfrm>
            <a:off x="-66496" y="5800690"/>
            <a:ext cx="1710416" cy="1078803"/>
          </a:xfrm>
          <a:prstGeom prst="rect">
            <a:avLst/>
          </a:prstGeom>
          <a:ln w="12700">
            <a:miter lim="400000"/>
            <a:headEnd/>
            <a:tailEnd/>
          </a:ln>
        </p:spPr>
      </p:pic>
      <p:pic>
        <p:nvPicPr>
          <p:cNvPr id="1788" name="图片 42" descr="图片 42"/>
          <p:cNvPicPr>
            <a:picLocks noChangeAspect="1"/>
          </p:cNvPicPr>
          <p:nvPr/>
        </p:nvPicPr>
        <p:blipFill>
          <a:blip r:embed="rId8"/>
          <a:stretch>
            <a:fillRect/>
          </a:stretch>
        </p:blipFill>
        <p:spPr>
          <a:xfrm>
            <a:off x="1635181" y="5808198"/>
            <a:ext cx="1712386" cy="1078803"/>
          </a:xfrm>
          <a:prstGeom prst="rect">
            <a:avLst/>
          </a:prstGeom>
          <a:ln w="12700">
            <a:miter lim="400000"/>
            <a:headEnd/>
            <a:tailEnd/>
          </a:ln>
        </p:spPr>
      </p:pic>
      <p:pic>
        <p:nvPicPr>
          <p:cNvPr id="1789" name="图片 44" descr="图片 44"/>
          <p:cNvPicPr>
            <a:picLocks noChangeAspect="1"/>
          </p:cNvPicPr>
          <p:nvPr/>
        </p:nvPicPr>
        <p:blipFill>
          <a:blip r:embed="rId9"/>
          <a:stretch>
            <a:fillRect/>
          </a:stretch>
        </p:blipFill>
        <p:spPr>
          <a:xfrm>
            <a:off x="7733834" y="4708235"/>
            <a:ext cx="1943525" cy="1116493"/>
          </a:xfrm>
          <a:prstGeom prst="rect">
            <a:avLst/>
          </a:prstGeom>
          <a:ln w="12700">
            <a:miter lim="400000"/>
            <a:headEnd/>
            <a:tailEnd/>
          </a:ln>
        </p:spPr>
      </p:pic>
      <p:pic>
        <p:nvPicPr>
          <p:cNvPr id="1790" name="图片 53" descr="图片 53"/>
          <p:cNvPicPr>
            <a:picLocks noChangeAspect="1"/>
          </p:cNvPicPr>
          <p:nvPr/>
        </p:nvPicPr>
        <p:blipFill>
          <a:blip r:embed="rId10"/>
          <a:stretch>
            <a:fillRect/>
          </a:stretch>
        </p:blipFill>
        <p:spPr>
          <a:xfrm>
            <a:off x="7733834" y="3624064"/>
            <a:ext cx="1936205" cy="1089921"/>
          </a:xfrm>
          <a:prstGeom prst="rect">
            <a:avLst/>
          </a:prstGeom>
          <a:ln w="12700">
            <a:miter lim="400000"/>
            <a:headEnd/>
            <a:tailEnd/>
          </a:ln>
        </p:spPr>
      </p:pic>
      <p:pic>
        <p:nvPicPr>
          <p:cNvPr id="1791" name="图片 43" descr="图片 43"/>
          <p:cNvPicPr>
            <a:picLocks noChangeAspect="1"/>
          </p:cNvPicPr>
          <p:nvPr/>
        </p:nvPicPr>
        <p:blipFill>
          <a:blip r:embed="rId11"/>
          <a:stretch>
            <a:fillRect/>
          </a:stretch>
        </p:blipFill>
        <p:spPr>
          <a:xfrm>
            <a:off x="2424525" y="3313672"/>
            <a:ext cx="2617307" cy="1556168"/>
          </a:xfrm>
          <a:prstGeom prst="rect">
            <a:avLst/>
          </a:prstGeom>
          <a:ln w="12700">
            <a:miter lim="400000"/>
            <a:headEnd/>
            <a:tailEnd/>
          </a:ln>
        </p:spPr>
      </p:pic>
      <p:pic>
        <p:nvPicPr>
          <p:cNvPr id="1792" name="图片 3" descr="图片 3"/>
          <p:cNvPicPr>
            <a:picLocks noChangeAspect="1"/>
          </p:cNvPicPr>
          <p:nvPr/>
        </p:nvPicPr>
        <p:blipFill>
          <a:blip r:embed="rId12"/>
          <a:srcRect/>
          <a:stretch>
            <a:fillRect/>
          </a:stretch>
        </p:blipFill>
        <p:spPr>
          <a:xfrm>
            <a:off x="-72849" y="4288761"/>
            <a:ext cx="2564624" cy="1535231"/>
          </a:xfrm>
          <a:prstGeom prst="rect">
            <a:avLst/>
          </a:prstGeom>
          <a:ln w="12700">
            <a:miter lim="400000"/>
            <a:headEnd/>
            <a:tailEnd/>
          </a:ln>
        </p:spPr>
      </p:pic>
      <p:pic>
        <p:nvPicPr>
          <p:cNvPr id="1793" name="图片 9" descr="图片 9"/>
          <p:cNvPicPr>
            <a:picLocks noChangeAspect="1"/>
          </p:cNvPicPr>
          <p:nvPr/>
        </p:nvPicPr>
        <p:blipFill>
          <a:blip r:embed="rId13"/>
          <a:stretch>
            <a:fillRect/>
          </a:stretch>
        </p:blipFill>
        <p:spPr>
          <a:xfrm>
            <a:off x="2427533" y="2084344"/>
            <a:ext cx="2623974" cy="1508457"/>
          </a:xfrm>
          <a:prstGeom prst="rect">
            <a:avLst/>
          </a:prstGeom>
          <a:ln w="12700">
            <a:miter lim="400000"/>
            <a:headEnd/>
            <a:tailEnd/>
          </a:ln>
        </p:spPr>
      </p:pic>
      <p:pic>
        <p:nvPicPr>
          <p:cNvPr id="1794" name="图片 29" descr="图片 29"/>
          <p:cNvPicPr>
            <a:picLocks noChangeAspect="1"/>
          </p:cNvPicPr>
          <p:nvPr/>
        </p:nvPicPr>
        <p:blipFill>
          <a:blip r:embed="rId14"/>
          <a:stretch>
            <a:fillRect/>
          </a:stretch>
        </p:blipFill>
        <p:spPr>
          <a:xfrm>
            <a:off x="6456200" y="2064986"/>
            <a:ext cx="1823228" cy="1230679"/>
          </a:xfrm>
          <a:prstGeom prst="rect">
            <a:avLst/>
          </a:prstGeom>
          <a:ln w="12700">
            <a:miter lim="400000"/>
            <a:headEnd/>
            <a:tailEnd/>
          </a:ln>
        </p:spPr>
      </p:pic>
      <p:pic>
        <p:nvPicPr>
          <p:cNvPr id="1795" name="图片 34" descr="图片 34"/>
          <p:cNvPicPr>
            <a:picLocks noChangeAspect="1"/>
          </p:cNvPicPr>
          <p:nvPr/>
        </p:nvPicPr>
        <p:blipFill>
          <a:blip r:embed="rId15"/>
          <a:stretch>
            <a:fillRect/>
          </a:stretch>
        </p:blipFill>
        <p:spPr>
          <a:xfrm>
            <a:off x="5024923" y="3167434"/>
            <a:ext cx="2746590" cy="1589391"/>
          </a:xfrm>
          <a:prstGeom prst="rect">
            <a:avLst/>
          </a:prstGeom>
          <a:ln w="12700">
            <a:miter lim="400000"/>
            <a:headEnd/>
            <a:tailEnd/>
          </a:ln>
        </p:spPr>
      </p:pic>
      <p:pic>
        <p:nvPicPr>
          <p:cNvPr id="1796" name="图片 41" descr="图片 41"/>
          <p:cNvPicPr>
            <a:picLocks noChangeAspect="1"/>
          </p:cNvPicPr>
          <p:nvPr/>
        </p:nvPicPr>
        <p:blipFill>
          <a:blip r:embed="rId16"/>
          <a:stretch>
            <a:fillRect/>
          </a:stretch>
        </p:blipFill>
        <p:spPr>
          <a:xfrm>
            <a:off x="4227621" y="1014149"/>
            <a:ext cx="1802688" cy="1081613"/>
          </a:xfrm>
          <a:prstGeom prst="rect">
            <a:avLst/>
          </a:prstGeom>
          <a:ln w="12700">
            <a:miter lim="400000"/>
            <a:headEnd/>
            <a:tailEnd/>
          </a:ln>
        </p:spPr>
      </p:pic>
      <p:pic>
        <p:nvPicPr>
          <p:cNvPr id="1797" name="图片 45" descr="图片 45"/>
          <p:cNvPicPr>
            <a:picLocks noChangeAspect="1"/>
          </p:cNvPicPr>
          <p:nvPr/>
        </p:nvPicPr>
        <p:blipFill>
          <a:blip r:embed="rId17"/>
          <a:stretch>
            <a:fillRect/>
          </a:stretch>
        </p:blipFill>
        <p:spPr>
          <a:xfrm>
            <a:off x="6140756" y="4745187"/>
            <a:ext cx="1615948" cy="1078803"/>
          </a:xfrm>
          <a:prstGeom prst="rect">
            <a:avLst/>
          </a:prstGeom>
          <a:ln w="12700">
            <a:miter lim="400000"/>
            <a:headEnd/>
            <a:tailEnd/>
          </a:ln>
        </p:spPr>
      </p:pic>
      <p:pic>
        <p:nvPicPr>
          <p:cNvPr id="1798" name="图片 51" descr="图片 51"/>
          <p:cNvPicPr>
            <a:picLocks noChangeAspect="1"/>
          </p:cNvPicPr>
          <p:nvPr/>
        </p:nvPicPr>
        <p:blipFill>
          <a:blip r:embed="rId18"/>
          <a:stretch>
            <a:fillRect/>
          </a:stretch>
        </p:blipFill>
        <p:spPr>
          <a:xfrm>
            <a:off x="7624211" y="1005539"/>
            <a:ext cx="1803454" cy="1106142"/>
          </a:xfrm>
          <a:prstGeom prst="rect">
            <a:avLst/>
          </a:prstGeom>
          <a:ln w="12700">
            <a:miter lim="400000"/>
            <a:headEnd/>
            <a:tailEnd/>
          </a:ln>
        </p:spPr>
      </p:pic>
      <p:pic>
        <p:nvPicPr>
          <p:cNvPr id="1799" name="图片 52" descr="图片 52"/>
          <p:cNvPicPr>
            <a:picLocks noChangeAspect="1"/>
          </p:cNvPicPr>
          <p:nvPr/>
        </p:nvPicPr>
        <p:blipFill>
          <a:blip r:embed="rId19"/>
          <a:stretch>
            <a:fillRect/>
          </a:stretch>
        </p:blipFill>
        <p:spPr>
          <a:xfrm>
            <a:off x="6029437" y="1005539"/>
            <a:ext cx="1596411" cy="1078803"/>
          </a:xfrm>
          <a:prstGeom prst="rect">
            <a:avLst/>
          </a:prstGeom>
          <a:ln w="12700">
            <a:miter lim="400000"/>
            <a:headEnd/>
            <a:tailEnd/>
          </a:ln>
        </p:spPr>
      </p:pic>
      <p:pic>
        <p:nvPicPr>
          <p:cNvPr id="1800" name="图片 55" descr="图片 55"/>
          <p:cNvPicPr>
            <a:picLocks noChangeAspect="1"/>
          </p:cNvPicPr>
          <p:nvPr/>
        </p:nvPicPr>
        <p:blipFill>
          <a:blip r:embed="rId20"/>
          <a:stretch>
            <a:fillRect/>
          </a:stretch>
        </p:blipFill>
        <p:spPr>
          <a:xfrm>
            <a:off x="7771510" y="2095761"/>
            <a:ext cx="2547174" cy="1528305"/>
          </a:xfrm>
          <a:prstGeom prst="rect">
            <a:avLst/>
          </a:prstGeom>
          <a:ln w="12700">
            <a:miter lim="400000"/>
            <a:headEnd/>
            <a:tailEnd/>
          </a:ln>
        </p:spPr>
      </p:pic>
      <p:pic>
        <p:nvPicPr>
          <p:cNvPr id="1801" name="图片 62" descr="图片 62"/>
          <p:cNvPicPr>
            <a:picLocks noChangeAspect="1"/>
          </p:cNvPicPr>
          <p:nvPr/>
        </p:nvPicPr>
        <p:blipFill>
          <a:blip r:embed="rId21"/>
          <a:stretch>
            <a:fillRect/>
          </a:stretch>
        </p:blipFill>
        <p:spPr>
          <a:xfrm>
            <a:off x="10464447" y="-76065"/>
            <a:ext cx="1759581" cy="1070924"/>
          </a:xfrm>
          <a:prstGeom prst="rect">
            <a:avLst/>
          </a:prstGeom>
          <a:ln w="12700">
            <a:miter lim="400000"/>
            <a:headEnd/>
            <a:tailEnd/>
          </a:ln>
        </p:spPr>
      </p:pic>
      <p:pic>
        <p:nvPicPr>
          <p:cNvPr id="1802" name="图片 1" descr="图片 1"/>
          <p:cNvPicPr>
            <a:picLocks noChangeAspect="1"/>
          </p:cNvPicPr>
          <p:nvPr/>
        </p:nvPicPr>
        <p:blipFill>
          <a:blip r:embed="rId22"/>
          <a:stretch>
            <a:fillRect/>
          </a:stretch>
        </p:blipFill>
        <p:spPr>
          <a:xfrm>
            <a:off x="10342881" y="4698001"/>
            <a:ext cx="1860012" cy="1132164"/>
          </a:xfrm>
          <a:prstGeom prst="rect">
            <a:avLst/>
          </a:prstGeom>
          <a:ln w="12700">
            <a:miter lim="400000"/>
            <a:headEnd/>
            <a:tailEnd/>
          </a:ln>
        </p:spPr>
      </p:pic>
      <p:pic>
        <p:nvPicPr>
          <p:cNvPr id="1803" name="图片 35" descr="图片 35"/>
          <p:cNvPicPr>
            <a:picLocks noChangeAspect="1"/>
          </p:cNvPicPr>
          <p:nvPr/>
        </p:nvPicPr>
        <p:blipFill>
          <a:blip r:embed="rId23"/>
          <a:stretch>
            <a:fillRect/>
          </a:stretch>
        </p:blipFill>
        <p:spPr>
          <a:xfrm>
            <a:off x="10333104" y="3600451"/>
            <a:ext cx="1859938" cy="1129190"/>
          </a:xfrm>
          <a:prstGeom prst="rect">
            <a:avLst/>
          </a:prstGeom>
          <a:ln w="12700">
            <a:miter lim="400000"/>
            <a:headEnd/>
            <a:tailEnd/>
          </a:ln>
        </p:spPr>
      </p:pic>
      <p:pic>
        <p:nvPicPr>
          <p:cNvPr id="1804" name="图片 4" descr="图片 4"/>
          <p:cNvPicPr>
            <a:picLocks noChangeAspect="1"/>
          </p:cNvPicPr>
          <p:nvPr/>
        </p:nvPicPr>
        <p:blipFill>
          <a:blip r:embed="rId24"/>
          <a:stretch>
            <a:fillRect/>
          </a:stretch>
        </p:blipFill>
        <p:spPr>
          <a:xfrm>
            <a:off x="2491772" y="4742034"/>
            <a:ext cx="1867617" cy="1094793"/>
          </a:xfrm>
          <a:prstGeom prst="rect">
            <a:avLst/>
          </a:prstGeom>
          <a:ln w="12700">
            <a:miter lim="400000"/>
            <a:headEnd/>
            <a:tailEnd/>
          </a:ln>
        </p:spPr>
      </p:pic>
      <p:pic>
        <p:nvPicPr>
          <p:cNvPr id="1805" name="图片 5" descr="图片 5"/>
          <p:cNvPicPr>
            <a:picLocks noChangeAspect="1"/>
          </p:cNvPicPr>
          <p:nvPr/>
        </p:nvPicPr>
        <p:blipFill>
          <a:blip r:embed="rId25"/>
          <a:stretch>
            <a:fillRect/>
          </a:stretch>
        </p:blipFill>
        <p:spPr>
          <a:xfrm>
            <a:off x="10318683" y="2068717"/>
            <a:ext cx="1881785" cy="1546974"/>
          </a:xfrm>
          <a:prstGeom prst="rect">
            <a:avLst/>
          </a:prstGeom>
          <a:ln w="12700">
            <a:miter lim="400000"/>
            <a:headEnd/>
            <a:tailEnd/>
          </a:ln>
        </p:spPr>
      </p:pic>
      <p:pic>
        <p:nvPicPr>
          <p:cNvPr id="1806" name="图片 10" descr="图片 10"/>
          <p:cNvPicPr>
            <a:picLocks noChangeAspect="1"/>
          </p:cNvPicPr>
          <p:nvPr/>
        </p:nvPicPr>
        <p:blipFill>
          <a:blip r:embed="rId26"/>
          <a:stretch>
            <a:fillRect/>
          </a:stretch>
        </p:blipFill>
        <p:spPr>
          <a:xfrm>
            <a:off x="-57896" y="1004203"/>
            <a:ext cx="2535001" cy="3297833"/>
          </a:xfrm>
          <a:prstGeom prst="rect">
            <a:avLst/>
          </a:prstGeom>
          <a:ln w="12700">
            <a:miter lim="400000"/>
            <a:headEnd/>
            <a:tailEnd/>
          </a:ln>
        </p:spPr>
      </p:pic>
      <p:pic>
        <p:nvPicPr>
          <p:cNvPr id="1807" name="图片 11" descr="图片 11"/>
          <p:cNvPicPr>
            <a:picLocks noChangeAspect="1"/>
          </p:cNvPicPr>
          <p:nvPr/>
        </p:nvPicPr>
        <p:blipFill>
          <a:blip r:embed="rId27"/>
          <a:stretch>
            <a:fillRect/>
          </a:stretch>
        </p:blipFill>
        <p:spPr>
          <a:xfrm>
            <a:off x="3424194" y="-85725"/>
            <a:ext cx="1958792" cy="1097403"/>
          </a:xfrm>
          <a:prstGeom prst="rect">
            <a:avLst/>
          </a:prstGeom>
          <a:ln w="12700">
            <a:miter lim="400000"/>
            <a:headEnd/>
            <a:tailEnd/>
          </a:ln>
        </p:spPr>
      </p:pic>
      <p:pic>
        <p:nvPicPr>
          <p:cNvPr id="1808" name="图片 13" descr="图片 13"/>
          <p:cNvPicPr>
            <a:picLocks noChangeAspect="1"/>
          </p:cNvPicPr>
          <p:nvPr/>
        </p:nvPicPr>
        <p:blipFill>
          <a:blip r:embed="rId28"/>
          <a:stretch>
            <a:fillRect/>
          </a:stretch>
        </p:blipFill>
        <p:spPr>
          <a:xfrm>
            <a:off x="10412455" y="985288"/>
            <a:ext cx="1806742" cy="1080000"/>
          </a:xfrm>
          <a:prstGeom prst="rect">
            <a:avLst/>
          </a:prstGeom>
          <a:ln w="12700">
            <a:miter lim="400000"/>
            <a:headEnd/>
            <a:tailEnd/>
          </a:ln>
        </p:spPr>
      </p:pic>
      <p:pic>
        <p:nvPicPr>
          <p:cNvPr id="1809" name="图片 14" descr="图片 14"/>
          <p:cNvPicPr>
            <a:picLocks noChangeAspect="1"/>
          </p:cNvPicPr>
          <p:nvPr/>
        </p:nvPicPr>
        <p:blipFill>
          <a:blip r:embed="rId29"/>
          <a:stretch>
            <a:fillRect/>
          </a:stretch>
        </p:blipFill>
        <p:spPr>
          <a:xfrm>
            <a:off x="2465403" y="1005237"/>
            <a:ext cx="1806742" cy="1111731"/>
          </a:xfrm>
          <a:prstGeom prst="rect">
            <a:avLst/>
          </a:prstGeom>
          <a:ln w="12700">
            <a:miter lim="400000"/>
            <a:headEnd/>
            <a:tailEnd/>
          </a:ln>
        </p:spPr>
      </p:pic>
      <p:pic>
        <p:nvPicPr>
          <p:cNvPr id="1810" name="图片 15" descr="图片 15"/>
          <p:cNvPicPr>
            <a:picLocks noChangeAspect="1"/>
          </p:cNvPicPr>
          <p:nvPr/>
        </p:nvPicPr>
        <p:blipFill>
          <a:blip r:embed="rId30"/>
          <a:stretch>
            <a:fillRect/>
          </a:stretch>
        </p:blipFill>
        <p:spPr>
          <a:xfrm>
            <a:off x="9201969" y="994859"/>
            <a:ext cx="1259842" cy="1101205"/>
          </a:xfrm>
          <a:prstGeom prst="rect">
            <a:avLst/>
          </a:prstGeom>
          <a:ln w="12700">
            <a:miter lim="400000"/>
            <a:headEnd/>
            <a:tailEnd/>
          </a:ln>
        </p:spPr>
      </p:pic>
      <p:pic>
        <p:nvPicPr>
          <p:cNvPr id="1811" name="图片 16" descr="图片 16"/>
          <p:cNvPicPr>
            <a:picLocks noChangeAspect="1"/>
          </p:cNvPicPr>
          <p:nvPr/>
        </p:nvPicPr>
        <p:blipFill>
          <a:blip r:embed="rId31"/>
          <a:stretch>
            <a:fillRect/>
          </a:stretch>
        </p:blipFill>
        <p:spPr>
          <a:xfrm>
            <a:off x="4360335" y="4742403"/>
            <a:ext cx="1811448" cy="1086869"/>
          </a:xfrm>
          <a:prstGeom prst="rect">
            <a:avLst/>
          </a:prstGeom>
          <a:ln w="12700">
            <a:miter lim="400000"/>
            <a:headEnd/>
            <a:tailEnd/>
          </a:ln>
        </p:spPr>
      </p:pic>
      <p:pic>
        <p:nvPicPr>
          <p:cNvPr id="1812" name="图片 18" descr="图片 18"/>
          <p:cNvPicPr>
            <a:picLocks noChangeAspect="1"/>
          </p:cNvPicPr>
          <p:nvPr/>
        </p:nvPicPr>
        <p:blipFill>
          <a:blip r:embed="rId32"/>
          <a:stretch>
            <a:fillRect/>
          </a:stretch>
        </p:blipFill>
        <p:spPr>
          <a:xfrm>
            <a:off x="10342880" y="5810436"/>
            <a:ext cx="1849121" cy="1080001"/>
          </a:xfrm>
          <a:prstGeom prst="rect">
            <a:avLst/>
          </a:prstGeom>
          <a:ln w="12700">
            <a:miter lim="400000"/>
            <a:headEnd/>
            <a:tailEnd/>
          </a:ln>
        </p:spPr>
      </p:pic>
      <p:pic>
        <p:nvPicPr>
          <p:cNvPr id="1813" name="图片 19" descr="图片 19"/>
          <p:cNvPicPr>
            <a:picLocks noChangeAspect="1"/>
          </p:cNvPicPr>
          <p:nvPr/>
        </p:nvPicPr>
        <p:blipFill>
          <a:blip r:embed="rId33"/>
          <a:stretch>
            <a:fillRect/>
          </a:stretch>
        </p:blipFill>
        <p:spPr>
          <a:xfrm>
            <a:off x="8575258" y="5824473"/>
            <a:ext cx="1771009" cy="1071828"/>
          </a:xfrm>
          <a:prstGeom prst="rect">
            <a:avLst/>
          </a:prstGeom>
          <a:ln w="12700">
            <a:miter lim="400000"/>
            <a:headEnd/>
            <a:tailEnd/>
          </a:ln>
        </p:spPr>
      </p:pic>
      <p:pic>
        <p:nvPicPr>
          <p:cNvPr id="1814" name="图片 20" descr="图片 20"/>
          <p:cNvPicPr>
            <a:picLocks noChangeAspect="1"/>
          </p:cNvPicPr>
          <p:nvPr/>
        </p:nvPicPr>
        <p:blipFill>
          <a:blip r:embed="rId34"/>
          <a:stretch>
            <a:fillRect/>
          </a:stretch>
        </p:blipFill>
        <p:spPr>
          <a:xfrm>
            <a:off x="3348509" y="5812552"/>
            <a:ext cx="1800001" cy="1080001"/>
          </a:xfrm>
          <a:prstGeom prst="rect">
            <a:avLst/>
          </a:prstGeom>
          <a:ln w="12700">
            <a:miter lim="400000"/>
            <a:headEnd/>
            <a:tailEnd/>
          </a:ln>
        </p:spPr>
      </p:pic>
      <p:pic>
        <p:nvPicPr>
          <p:cNvPr id="1815" name="图片 21" descr="图片 21"/>
          <p:cNvPicPr>
            <a:picLocks noChangeAspect="1"/>
          </p:cNvPicPr>
          <p:nvPr/>
        </p:nvPicPr>
        <p:blipFill>
          <a:blip r:embed="rId35"/>
          <a:stretch>
            <a:fillRect/>
          </a:stretch>
        </p:blipFill>
        <p:spPr>
          <a:xfrm>
            <a:off x="5015960" y="2088683"/>
            <a:ext cx="1583746" cy="1080001"/>
          </a:xfrm>
          <a:prstGeom prst="rect">
            <a:avLst/>
          </a:prstGeom>
          <a:ln w="12700">
            <a:miter lim="400000"/>
            <a:headEnd/>
            <a:tailEnd/>
          </a:ln>
        </p:spPr>
      </p:pic>
      <p:pic>
        <p:nvPicPr>
          <p:cNvPr id="1816" name="图片 22" descr="图片 22"/>
          <p:cNvPicPr>
            <a:picLocks noChangeAspect="1"/>
          </p:cNvPicPr>
          <p:nvPr/>
        </p:nvPicPr>
        <p:blipFill>
          <a:blip r:embed="rId36"/>
          <a:stretch>
            <a:fillRect/>
          </a:stretch>
        </p:blipFill>
        <p:spPr>
          <a:xfrm>
            <a:off x="9156097" y="-77749"/>
            <a:ext cx="1507336" cy="1080000"/>
          </a:xfrm>
          <a:prstGeom prst="rect">
            <a:avLst/>
          </a:prstGeom>
          <a:ln w="12700">
            <a:miter lim="400000"/>
            <a:headEnd/>
            <a:tailEnd/>
          </a:ln>
        </p:spPr>
      </p:pic>
      <p:pic>
        <p:nvPicPr>
          <p:cNvPr id="1817" name="图片 24" descr="图片 24"/>
          <p:cNvPicPr>
            <a:picLocks noChangeAspect="1"/>
          </p:cNvPicPr>
          <p:nvPr/>
        </p:nvPicPr>
        <p:blipFill>
          <a:blip r:embed="rId37"/>
          <a:stretch>
            <a:fillRect/>
          </a:stretch>
        </p:blipFill>
        <p:spPr>
          <a:xfrm>
            <a:off x="5122657" y="5823989"/>
            <a:ext cx="1804801" cy="1073328"/>
          </a:xfrm>
          <a:prstGeom prst="rect">
            <a:avLst/>
          </a:prstGeom>
          <a:ln w="12700">
            <a:miter lim="400000"/>
            <a:headEnd/>
            <a:tailEnd/>
          </a:ln>
        </p:spPr>
      </p:pic>
      <p:pic>
        <p:nvPicPr>
          <p:cNvPr id="1818" name="图片 27" descr="图片 27"/>
          <p:cNvPicPr>
            <a:picLocks noChangeAspect="1"/>
          </p:cNvPicPr>
          <p:nvPr/>
        </p:nvPicPr>
        <p:blipFill>
          <a:blip r:embed="rId38"/>
          <a:stretch>
            <a:fillRect/>
          </a:stretch>
        </p:blipFill>
        <p:spPr>
          <a:xfrm>
            <a:off x="7380019" y="-84581"/>
            <a:ext cx="1783033" cy="1090422"/>
          </a:xfrm>
          <a:prstGeom prst="rect">
            <a:avLst/>
          </a:prstGeom>
          <a:ln w="12700">
            <a:miter lim="400000"/>
            <a:headEnd/>
            <a:tailEnd/>
          </a:ln>
        </p:spPr>
      </p:pic>
      <p:grpSp>
        <p:nvGrpSpPr>
          <p:cNvPr id="1873" name="组合 222"/>
          <p:cNvGrpSpPr/>
          <p:nvPr/>
        </p:nvGrpSpPr>
        <p:grpSpPr>
          <a:xfrm>
            <a:off x="-99023" y="-58422"/>
            <a:ext cx="13734045" cy="7827015"/>
            <a:chOff x="-25400" y="27305"/>
            <a:chExt cx="13734044" cy="7827013"/>
          </a:xfrm>
        </p:grpSpPr>
        <p:sp>
          <p:nvSpPr>
            <p:cNvPr id="1819" name="任意多边形 164"/>
            <p:cNvSpPr/>
            <p:nvPr/>
          </p:nvSpPr>
          <p:spPr>
            <a:xfrm>
              <a:off x="8354690" y="2967452"/>
              <a:ext cx="286174" cy="209551"/>
            </a:xfrm>
            <a:custGeom>
              <a:avLst/>
              <a:gdLst/>
              <a:ahLst/>
              <a:cxnLst>
                <a:cxn ang="0">
                  <a:pos x="wd2" y="hd2"/>
                </a:cxn>
                <a:cxn ang="5400000">
                  <a:pos x="wd2" y="hd2"/>
                </a:cxn>
                <a:cxn ang="10800000">
                  <a:pos x="wd2" y="hd2"/>
                </a:cxn>
                <a:cxn ang="16200000">
                  <a:pos x="wd2" y="hd2"/>
                </a:cxn>
              </a:cxnLst>
              <a:rect l="0" t="0" r="r" b="b"/>
              <a:pathLst>
                <a:path w="20422" h="21214" extrusionOk="0">
                  <a:moveTo>
                    <a:pt x="5891" y="0"/>
                  </a:moveTo>
                  <a:cubicBezTo>
                    <a:pt x="11933" y="386"/>
                    <a:pt x="16616" y="3279"/>
                    <a:pt x="19939" y="8679"/>
                  </a:cubicBezTo>
                  <a:cubicBezTo>
                    <a:pt x="21147" y="13307"/>
                    <a:pt x="20090" y="16200"/>
                    <a:pt x="16767" y="17357"/>
                  </a:cubicBezTo>
                  <a:cubicBezTo>
                    <a:pt x="15256" y="17743"/>
                    <a:pt x="13141" y="18321"/>
                    <a:pt x="10423" y="19093"/>
                  </a:cubicBezTo>
                  <a:cubicBezTo>
                    <a:pt x="6193" y="19864"/>
                    <a:pt x="3172" y="20443"/>
                    <a:pt x="1360" y="20829"/>
                  </a:cubicBezTo>
                  <a:cubicBezTo>
                    <a:pt x="-453" y="21600"/>
                    <a:pt x="-453" y="21214"/>
                    <a:pt x="1360" y="19671"/>
                  </a:cubicBezTo>
                  <a:cubicBezTo>
                    <a:pt x="1662" y="19286"/>
                    <a:pt x="2266" y="18707"/>
                    <a:pt x="3172" y="17936"/>
                  </a:cubicBezTo>
                  <a:cubicBezTo>
                    <a:pt x="5287" y="15621"/>
                    <a:pt x="6797" y="13693"/>
                    <a:pt x="7704" y="12150"/>
                  </a:cubicBezTo>
                  <a:cubicBezTo>
                    <a:pt x="8610" y="10607"/>
                    <a:pt x="8610" y="9643"/>
                    <a:pt x="7704" y="9257"/>
                  </a:cubicBezTo>
                  <a:cubicBezTo>
                    <a:pt x="6193" y="7329"/>
                    <a:pt x="5136" y="4821"/>
                    <a:pt x="4532" y="1736"/>
                  </a:cubicBezTo>
                  <a:cubicBezTo>
                    <a:pt x="4230" y="1350"/>
                    <a:pt x="4078" y="964"/>
                    <a:pt x="4078" y="579"/>
                  </a:cubicBezTo>
                  <a:cubicBezTo>
                    <a:pt x="4381" y="193"/>
                    <a:pt x="4985" y="0"/>
                    <a:pt x="5891" y="0"/>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sp>
          <p:nvSpPr>
            <p:cNvPr id="1820" name="任意多边形 156"/>
            <p:cNvSpPr/>
            <p:nvPr/>
          </p:nvSpPr>
          <p:spPr>
            <a:xfrm>
              <a:off x="4563739" y="3047461"/>
              <a:ext cx="69146" cy="74295"/>
            </a:xfrm>
            <a:custGeom>
              <a:avLst/>
              <a:gdLst/>
              <a:ahLst/>
              <a:cxnLst>
                <a:cxn ang="0">
                  <a:pos x="wd2" y="hd2"/>
                </a:cxn>
                <a:cxn ang="5400000">
                  <a:pos x="wd2" y="hd2"/>
                </a:cxn>
                <a:cxn ang="10800000">
                  <a:pos x="wd2" y="hd2"/>
                </a:cxn>
                <a:cxn ang="16200000">
                  <a:pos x="wd2" y="hd2"/>
                </a:cxn>
              </a:cxnLst>
              <a:rect l="0" t="0" r="r" b="b"/>
              <a:pathLst>
                <a:path w="18568" h="21600" extrusionOk="0">
                  <a:moveTo>
                    <a:pt x="3410" y="0"/>
                  </a:moveTo>
                  <a:cubicBezTo>
                    <a:pt x="5684" y="2215"/>
                    <a:pt x="8526" y="4431"/>
                    <a:pt x="11937" y="6646"/>
                  </a:cubicBezTo>
                  <a:cubicBezTo>
                    <a:pt x="14210" y="6646"/>
                    <a:pt x="15916" y="6646"/>
                    <a:pt x="17052" y="6646"/>
                  </a:cubicBezTo>
                  <a:cubicBezTo>
                    <a:pt x="21600" y="11077"/>
                    <a:pt x="15916" y="16061"/>
                    <a:pt x="0" y="21600"/>
                  </a:cubicBezTo>
                  <a:cubicBezTo>
                    <a:pt x="0" y="16061"/>
                    <a:pt x="1137" y="8862"/>
                    <a:pt x="3410" y="0"/>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sp>
          <p:nvSpPr>
            <p:cNvPr id="1821" name="任意多边形 154"/>
            <p:cNvSpPr/>
            <p:nvPr/>
          </p:nvSpPr>
          <p:spPr>
            <a:xfrm>
              <a:off x="9262740" y="3074132"/>
              <a:ext cx="152401" cy="274321"/>
            </a:xfrm>
            <a:custGeom>
              <a:avLst/>
              <a:gdLst/>
              <a:ahLst/>
              <a:cxnLst>
                <a:cxn ang="0">
                  <a:pos x="wd2" y="hd2"/>
                </a:cxn>
                <a:cxn ang="5400000">
                  <a:pos x="wd2" y="hd2"/>
                </a:cxn>
                <a:cxn ang="10800000">
                  <a:pos x="wd2" y="hd2"/>
                </a:cxn>
                <a:cxn ang="16200000">
                  <a:pos x="wd2" y="hd2"/>
                </a:cxn>
              </a:cxnLst>
              <a:rect l="0" t="0" r="r" b="b"/>
              <a:pathLst>
                <a:path w="21600" h="21259" extrusionOk="0">
                  <a:moveTo>
                    <a:pt x="17550" y="9"/>
                  </a:moveTo>
                  <a:cubicBezTo>
                    <a:pt x="18000" y="28"/>
                    <a:pt x="18450" y="74"/>
                    <a:pt x="18900" y="148"/>
                  </a:cubicBezTo>
                  <a:cubicBezTo>
                    <a:pt x="20700" y="1033"/>
                    <a:pt x="21600" y="2067"/>
                    <a:pt x="21600" y="3248"/>
                  </a:cubicBezTo>
                  <a:cubicBezTo>
                    <a:pt x="21600" y="8858"/>
                    <a:pt x="19800" y="14468"/>
                    <a:pt x="16200" y="20078"/>
                  </a:cubicBezTo>
                  <a:cubicBezTo>
                    <a:pt x="14400" y="21259"/>
                    <a:pt x="12000" y="21554"/>
                    <a:pt x="9000" y="20963"/>
                  </a:cubicBezTo>
                  <a:cubicBezTo>
                    <a:pt x="5400" y="20373"/>
                    <a:pt x="2400" y="18749"/>
                    <a:pt x="0" y="16092"/>
                  </a:cubicBezTo>
                  <a:cubicBezTo>
                    <a:pt x="600" y="10482"/>
                    <a:pt x="1500" y="7234"/>
                    <a:pt x="2700" y="6348"/>
                  </a:cubicBezTo>
                  <a:cubicBezTo>
                    <a:pt x="6300" y="4577"/>
                    <a:pt x="9900" y="2657"/>
                    <a:pt x="13500" y="591"/>
                  </a:cubicBezTo>
                  <a:cubicBezTo>
                    <a:pt x="14850" y="148"/>
                    <a:pt x="16200" y="-46"/>
                    <a:pt x="17550" y="9"/>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sp>
          <p:nvSpPr>
            <p:cNvPr id="1822" name="任意多边形 162"/>
            <p:cNvSpPr/>
            <p:nvPr/>
          </p:nvSpPr>
          <p:spPr>
            <a:xfrm>
              <a:off x="10329540" y="3253201"/>
              <a:ext cx="192617" cy="302895"/>
            </a:xfrm>
            <a:custGeom>
              <a:avLst/>
              <a:gdLst/>
              <a:ahLst/>
              <a:cxnLst>
                <a:cxn ang="0">
                  <a:pos x="wd2" y="hd2"/>
                </a:cxn>
                <a:cxn ang="5400000">
                  <a:pos x="wd2" y="hd2"/>
                </a:cxn>
                <a:cxn ang="10800000">
                  <a:pos x="wd2" y="hd2"/>
                </a:cxn>
                <a:cxn ang="16200000">
                  <a:pos x="wd2" y="hd2"/>
                </a:cxn>
              </a:cxnLst>
              <a:rect l="0" t="0" r="r" b="b"/>
              <a:pathLst>
                <a:path w="20691" h="21600" extrusionOk="0">
                  <a:moveTo>
                    <a:pt x="4775" y="0"/>
                  </a:moveTo>
                  <a:cubicBezTo>
                    <a:pt x="8413" y="272"/>
                    <a:pt x="11141" y="1494"/>
                    <a:pt x="12960" y="3668"/>
                  </a:cubicBezTo>
                  <a:cubicBezTo>
                    <a:pt x="12960" y="5026"/>
                    <a:pt x="14552" y="4891"/>
                    <a:pt x="17735" y="3260"/>
                  </a:cubicBezTo>
                  <a:cubicBezTo>
                    <a:pt x="19099" y="2989"/>
                    <a:pt x="20009" y="2853"/>
                    <a:pt x="20463" y="2853"/>
                  </a:cubicBezTo>
                  <a:cubicBezTo>
                    <a:pt x="20918" y="3124"/>
                    <a:pt x="20691" y="3532"/>
                    <a:pt x="19781" y="4075"/>
                  </a:cubicBezTo>
                  <a:cubicBezTo>
                    <a:pt x="17507" y="5434"/>
                    <a:pt x="16143" y="6657"/>
                    <a:pt x="15689" y="7743"/>
                  </a:cubicBezTo>
                  <a:cubicBezTo>
                    <a:pt x="15234" y="10189"/>
                    <a:pt x="12278" y="14264"/>
                    <a:pt x="6821" y="19970"/>
                  </a:cubicBezTo>
                  <a:cubicBezTo>
                    <a:pt x="5457" y="21057"/>
                    <a:pt x="4547" y="21600"/>
                    <a:pt x="4093" y="21600"/>
                  </a:cubicBezTo>
                  <a:cubicBezTo>
                    <a:pt x="3638" y="21600"/>
                    <a:pt x="3183" y="21057"/>
                    <a:pt x="2728" y="19970"/>
                  </a:cubicBezTo>
                  <a:cubicBezTo>
                    <a:pt x="0" y="14536"/>
                    <a:pt x="-682" y="10732"/>
                    <a:pt x="682" y="8558"/>
                  </a:cubicBezTo>
                  <a:cubicBezTo>
                    <a:pt x="3865" y="4755"/>
                    <a:pt x="4775" y="2445"/>
                    <a:pt x="3411" y="1630"/>
                  </a:cubicBezTo>
                  <a:cubicBezTo>
                    <a:pt x="2501" y="1087"/>
                    <a:pt x="2274" y="679"/>
                    <a:pt x="2728" y="408"/>
                  </a:cubicBezTo>
                  <a:cubicBezTo>
                    <a:pt x="2728" y="136"/>
                    <a:pt x="3411" y="0"/>
                    <a:pt x="4775" y="0"/>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sp>
          <p:nvSpPr>
            <p:cNvPr id="1823" name="任意多边形 159"/>
            <p:cNvSpPr/>
            <p:nvPr/>
          </p:nvSpPr>
          <p:spPr>
            <a:xfrm>
              <a:off x="5987410" y="2681701"/>
              <a:ext cx="176530" cy="320041"/>
            </a:xfrm>
            <a:custGeom>
              <a:avLst/>
              <a:gdLst/>
              <a:ahLst/>
              <a:cxnLst>
                <a:cxn ang="0">
                  <a:pos x="wd2" y="hd2"/>
                </a:cxn>
                <a:cxn ang="5400000">
                  <a:pos x="wd2" y="hd2"/>
                </a:cxn>
                <a:cxn ang="10800000">
                  <a:pos x="wd2" y="hd2"/>
                </a:cxn>
                <a:cxn ang="16200000">
                  <a:pos x="wd2" y="hd2"/>
                </a:cxn>
              </a:cxnLst>
              <a:rect l="0" t="0" r="r" b="b"/>
              <a:pathLst>
                <a:path w="21193" h="21600" extrusionOk="0">
                  <a:moveTo>
                    <a:pt x="12045" y="0"/>
                  </a:moveTo>
                  <a:cubicBezTo>
                    <a:pt x="16619" y="0"/>
                    <a:pt x="19668" y="1543"/>
                    <a:pt x="21193" y="4629"/>
                  </a:cubicBezTo>
                  <a:cubicBezTo>
                    <a:pt x="20685" y="8229"/>
                    <a:pt x="14078" y="13886"/>
                    <a:pt x="1372" y="21600"/>
                  </a:cubicBezTo>
                  <a:cubicBezTo>
                    <a:pt x="3405" y="18257"/>
                    <a:pt x="3405" y="15043"/>
                    <a:pt x="1372" y="11957"/>
                  </a:cubicBezTo>
                  <a:cubicBezTo>
                    <a:pt x="-153" y="10157"/>
                    <a:pt x="-407" y="8357"/>
                    <a:pt x="609" y="6557"/>
                  </a:cubicBezTo>
                  <a:cubicBezTo>
                    <a:pt x="2134" y="3214"/>
                    <a:pt x="5946" y="1029"/>
                    <a:pt x="12045" y="0"/>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sp>
          <p:nvSpPr>
            <p:cNvPr id="1824" name="任意多边形 158"/>
            <p:cNvSpPr/>
            <p:nvPr/>
          </p:nvSpPr>
          <p:spPr>
            <a:xfrm>
              <a:off x="2741290" y="2776952"/>
              <a:ext cx="406401" cy="716281"/>
            </a:xfrm>
            <a:custGeom>
              <a:avLst/>
              <a:gdLst/>
              <a:ahLst/>
              <a:cxnLst>
                <a:cxn ang="0">
                  <a:pos x="wd2" y="hd2"/>
                </a:cxn>
                <a:cxn ang="5400000">
                  <a:pos x="wd2" y="hd2"/>
                </a:cxn>
                <a:cxn ang="10800000">
                  <a:pos x="wd2" y="hd2"/>
                </a:cxn>
                <a:cxn ang="16200000">
                  <a:pos x="wd2" y="hd2"/>
                </a:cxn>
              </a:cxnLst>
              <a:rect l="0" t="0" r="r" b="b"/>
              <a:pathLst>
                <a:path w="21600" h="21582" extrusionOk="0">
                  <a:moveTo>
                    <a:pt x="19912" y="4"/>
                  </a:moveTo>
                  <a:cubicBezTo>
                    <a:pt x="20025" y="11"/>
                    <a:pt x="20137" y="29"/>
                    <a:pt x="20250" y="57"/>
                  </a:cubicBezTo>
                  <a:cubicBezTo>
                    <a:pt x="20700" y="287"/>
                    <a:pt x="20925" y="517"/>
                    <a:pt x="20925" y="746"/>
                  </a:cubicBezTo>
                  <a:cubicBezTo>
                    <a:pt x="19350" y="3501"/>
                    <a:pt x="16875" y="5338"/>
                    <a:pt x="13500" y="6256"/>
                  </a:cubicBezTo>
                  <a:cubicBezTo>
                    <a:pt x="12150" y="6371"/>
                    <a:pt x="11475" y="6773"/>
                    <a:pt x="11475" y="7462"/>
                  </a:cubicBezTo>
                  <a:cubicBezTo>
                    <a:pt x="11475" y="7921"/>
                    <a:pt x="11587" y="8552"/>
                    <a:pt x="11812" y="9356"/>
                  </a:cubicBezTo>
                  <a:cubicBezTo>
                    <a:pt x="12037" y="9586"/>
                    <a:pt x="12150" y="9700"/>
                    <a:pt x="12150" y="9700"/>
                  </a:cubicBezTo>
                  <a:cubicBezTo>
                    <a:pt x="12375" y="10389"/>
                    <a:pt x="13387" y="10619"/>
                    <a:pt x="15187" y="10389"/>
                  </a:cubicBezTo>
                  <a:cubicBezTo>
                    <a:pt x="15637" y="10274"/>
                    <a:pt x="16312" y="10102"/>
                    <a:pt x="17212" y="9873"/>
                  </a:cubicBezTo>
                  <a:cubicBezTo>
                    <a:pt x="17887" y="9643"/>
                    <a:pt x="18450" y="9471"/>
                    <a:pt x="18900" y="9356"/>
                  </a:cubicBezTo>
                  <a:cubicBezTo>
                    <a:pt x="20025" y="9012"/>
                    <a:pt x="20925" y="8782"/>
                    <a:pt x="21600" y="8667"/>
                  </a:cubicBezTo>
                  <a:cubicBezTo>
                    <a:pt x="19800" y="9700"/>
                    <a:pt x="18112" y="11365"/>
                    <a:pt x="16537" y="13661"/>
                  </a:cubicBezTo>
                  <a:cubicBezTo>
                    <a:pt x="16087" y="14465"/>
                    <a:pt x="15637" y="15096"/>
                    <a:pt x="15187" y="15555"/>
                  </a:cubicBezTo>
                  <a:cubicBezTo>
                    <a:pt x="14962" y="15785"/>
                    <a:pt x="14850" y="15957"/>
                    <a:pt x="14850" y="16072"/>
                  </a:cubicBezTo>
                  <a:cubicBezTo>
                    <a:pt x="13950" y="16875"/>
                    <a:pt x="12712" y="18253"/>
                    <a:pt x="11137" y="20204"/>
                  </a:cubicBezTo>
                  <a:cubicBezTo>
                    <a:pt x="11137" y="20090"/>
                    <a:pt x="11025" y="20204"/>
                    <a:pt x="10800" y="20549"/>
                  </a:cubicBezTo>
                  <a:cubicBezTo>
                    <a:pt x="9675" y="20664"/>
                    <a:pt x="8100" y="20836"/>
                    <a:pt x="6075" y="21065"/>
                  </a:cubicBezTo>
                  <a:cubicBezTo>
                    <a:pt x="2925" y="21295"/>
                    <a:pt x="900" y="21467"/>
                    <a:pt x="0" y="21582"/>
                  </a:cubicBezTo>
                  <a:cubicBezTo>
                    <a:pt x="8550" y="9184"/>
                    <a:pt x="14850" y="2066"/>
                    <a:pt x="18900" y="230"/>
                  </a:cubicBezTo>
                  <a:cubicBezTo>
                    <a:pt x="19237" y="57"/>
                    <a:pt x="19575" y="-18"/>
                    <a:pt x="19912" y="4"/>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sp>
          <p:nvSpPr>
            <p:cNvPr id="1825" name="任意多边形 157"/>
            <p:cNvSpPr/>
            <p:nvPr/>
          </p:nvSpPr>
          <p:spPr>
            <a:xfrm>
              <a:off x="10666091" y="3041745"/>
              <a:ext cx="160867" cy="108587"/>
            </a:xfrm>
            <a:custGeom>
              <a:avLst/>
              <a:gdLst/>
              <a:ahLst/>
              <a:cxnLst>
                <a:cxn ang="0">
                  <a:pos x="wd2" y="hd2"/>
                </a:cxn>
                <a:cxn ang="5400000">
                  <a:pos x="wd2" y="hd2"/>
                </a:cxn>
                <a:cxn ang="10800000">
                  <a:pos x="wd2" y="hd2"/>
                </a:cxn>
                <a:cxn ang="16200000">
                  <a:pos x="wd2" y="hd2"/>
                </a:cxn>
              </a:cxnLst>
              <a:rect l="0" t="0" r="r" b="b"/>
              <a:pathLst>
                <a:path w="21320" h="21600" extrusionOk="0">
                  <a:moveTo>
                    <a:pt x="18514" y="0"/>
                  </a:moveTo>
                  <a:cubicBezTo>
                    <a:pt x="20197" y="0"/>
                    <a:pt x="21039" y="379"/>
                    <a:pt x="21039" y="1137"/>
                  </a:cubicBezTo>
                  <a:cubicBezTo>
                    <a:pt x="21600" y="1137"/>
                    <a:pt x="21320" y="1895"/>
                    <a:pt x="20197" y="3411"/>
                  </a:cubicBezTo>
                  <a:cubicBezTo>
                    <a:pt x="16270" y="13263"/>
                    <a:pt x="10379" y="19326"/>
                    <a:pt x="2525" y="21600"/>
                  </a:cubicBezTo>
                  <a:cubicBezTo>
                    <a:pt x="1403" y="18568"/>
                    <a:pt x="561" y="15916"/>
                    <a:pt x="0" y="13642"/>
                  </a:cubicBezTo>
                  <a:cubicBezTo>
                    <a:pt x="7855" y="6063"/>
                    <a:pt x="14026" y="1516"/>
                    <a:pt x="18514" y="0"/>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sp>
          <p:nvSpPr>
            <p:cNvPr id="1826" name="任意多边形 155"/>
            <p:cNvSpPr/>
            <p:nvPr/>
          </p:nvSpPr>
          <p:spPr>
            <a:xfrm>
              <a:off x="2538090" y="3051272"/>
              <a:ext cx="349250" cy="677704"/>
            </a:xfrm>
            <a:custGeom>
              <a:avLst/>
              <a:gdLst/>
              <a:ahLst/>
              <a:cxnLst>
                <a:cxn ang="0">
                  <a:pos x="wd2" y="hd2"/>
                </a:cxn>
                <a:cxn ang="5400000">
                  <a:pos x="wd2" y="hd2"/>
                </a:cxn>
                <a:cxn ang="10800000">
                  <a:pos x="wd2" y="hd2"/>
                </a:cxn>
                <a:cxn ang="16200000">
                  <a:pos x="wd2" y="hd2"/>
                </a:cxn>
              </a:cxnLst>
              <a:rect l="0" t="0" r="r" b="b"/>
              <a:pathLst>
                <a:path w="21214" h="21506" extrusionOk="0">
                  <a:moveTo>
                    <a:pt x="20202" y="4"/>
                  </a:moveTo>
                  <a:cubicBezTo>
                    <a:pt x="20619" y="11"/>
                    <a:pt x="20957" y="30"/>
                    <a:pt x="21214" y="60"/>
                  </a:cubicBezTo>
                  <a:cubicBezTo>
                    <a:pt x="16071" y="4776"/>
                    <a:pt x="11700" y="9491"/>
                    <a:pt x="8100" y="14206"/>
                  </a:cubicBezTo>
                  <a:cubicBezTo>
                    <a:pt x="6043" y="14448"/>
                    <a:pt x="4885" y="14690"/>
                    <a:pt x="4628" y="14931"/>
                  </a:cubicBezTo>
                  <a:cubicBezTo>
                    <a:pt x="4628" y="15294"/>
                    <a:pt x="5400" y="15657"/>
                    <a:pt x="6943" y="16019"/>
                  </a:cubicBezTo>
                  <a:cubicBezTo>
                    <a:pt x="5143" y="18075"/>
                    <a:pt x="3600" y="19767"/>
                    <a:pt x="2314" y="21097"/>
                  </a:cubicBezTo>
                  <a:cubicBezTo>
                    <a:pt x="2057" y="21460"/>
                    <a:pt x="1800" y="21581"/>
                    <a:pt x="1543" y="21460"/>
                  </a:cubicBezTo>
                  <a:cubicBezTo>
                    <a:pt x="1285" y="21460"/>
                    <a:pt x="1157" y="21279"/>
                    <a:pt x="1157" y="20916"/>
                  </a:cubicBezTo>
                  <a:cubicBezTo>
                    <a:pt x="1157" y="16805"/>
                    <a:pt x="2314" y="13722"/>
                    <a:pt x="4628" y="11667"/>
                  </a:cubicBezTo>
                  <a:cubicBezTo>
                    <a:pt x="6685" y="10216"/>
                    <a:pt x="6814" y="8584"/>
                    <a:pt x="5014" y="6770"/>
                  </a:cubicBezTo>
                  <a:cubicBezTo>
                    <a:pt x="4243" y="5924"/>
                    <a:pt x="2700" y="4534"/>
                    <a:pt x="385" y="2599"/>
                  </a:cubicBezTo>
                  <a:cubicBezTo>
                    <a:pt x="-386" y="1874"/>
                    <a:pt x="0" y="1390"/>
                    <a:pt x="1543" y="1148"/>
                  </a:cubicBezTo>
                  <a:cubicBezTo>
                    <a:pt x="6428" y="907"/>
                    <a:pt x="10671" y="604"/>
                    <a:pt x="14271" y="242"/>
                  </a:cubicBezTo>
                  <a:cubicBezTo>
                    <a:pt x="16971" y="60"/>
                    <a:pt x="18948" y="-19"/>
                    <a:pt x="20202" y="4"/>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sp>
          <p:nvSpPr>
            <p:cNvPr id="1827" name="任意多边形 153"/>
            <p:cNvSpPr/>
            <p:nvPr/>
          </p:nvSpPr>
          <p:spPr>
            <a:xfrm>
              <a:off x="5549577" y="3173191"/>
              <a:ext cx="182563" cy="137161"/>
            </a:xfrm>
            <a:custGeom>
              <a:avLst/>
              <a:gdLst/>
              <a:ahLst/>
              <a:cxnLst>
                <a:cxn ang="0">
                  <a:pos x="wd2" y="hd2"/>
                </a:cxn>
                <a:cxn ang="5400000">
                  <a:pos x="wd2" y="hd2"/>
                </a:cxn>
                <a:cxn ang="10800000">
                  <a:pos x="wd2" y="hd2"/>
                </a:cxn>
                <a:cxn ang="16200000">
                  <a:pos x="wd2" y="hd2"/>
                </a:cxn>
              </a:cxnLst>
              <a:rect l="0" t="0" r="r" b="b"/>
              <a:pathLst>
                <a:path w="20700" h="21600" extrusionOk="0">
                  <a:moveTo>
                    <a:pt x="17100" y="0"/>
                  </a:moveTo>
                  <a:cubicBezTo>
                    <a:pt x="17100" y="1200"/>
                    <a:pt x="17580" y="2400"/>
                    <a:pt x="18540" y="3600"/>
                  </a:cubicBezTo>
                  <a:cubicBezTo>
                    <a:pt x="19500" y="4200"/>
                    <a:pt x="20220" y="4500"/>
                    <a:pt x="20700" y="4500"/>
                  </a:cubicBezTo>
                  <a:cubicBezTo>
                    <a:pt x="12540" y="10500"/>
                    <a:pt x="5820" y="16200"/>
                    <a:pt x="540" y="21600"/>
                  </a:cubicBezTo>
                  <a:cubicBezTo>
                    <a:pt x="-900" y="14400"/>
                    <a:pt x="540" y="8700"/>
                    <a:pt x="4860" y="4500"/>
                  </a:cubicBezTo>
                  <a:cubicBezTo>
                    <a:pt x="7260" y="1500"/>
                    <a:pt x="11340" y="0"/>
                    <a:pt x="17100" y="0"/>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sp>
          <p:nvSpPr>
            <p:cNvPr id="1828" name="任意多边形 152"/>
            <p:cNvSpPr/>
            <p:nvPr/>
          </p:nvSpPr>
          <p:spPr>
            <a:xfrm>
              <a:off x="3255641" y="3240629"/>
              <a:ext cx="88901" cy="181166"/>
            </a:xfrm>
            <a:custGeom>
              <a:avLst/>
              <a:gdLst/>
              <a:ahLst/>
              <a:cxnLst>
                <a:cxn ang="0">
                  <a:pos x="wd2" y="hd2"/>
                </a:cxn>
                <a:cxn ang="5400000">
                  <a:pos x="wd2" y="hd2"/>
                </a:cxn>
                <a:cxn ang="10800000">
                  <a:pos x="wd2" y="hd2"/>
                </a:cxn>
                <a:cxn ang="16200000">
                  <a:pos x="wd2" y="hd2"/>
                </a:cxn>
              </a:cxnLst>
              <a:rect l="0" t="0" r="r" b="b"/>
              <a:pathLst>
                <a:path w="21600" h="21467" extrusionOk="0">
                  <a:moveTo>
                    <a:pt x="15139" y="8"/>
                  </a:moveTo>
                  <a:cubicBezTo>
                    <a:pt x="17646" y="93"/>
                    <a:pt x="19286" y="812"/>
                    <a:pt x="20057" y="2167"/>
                  </a:cubicBezTo>
                  <a:cubicBezTo>
                    <a:pt x="21086" y="4876"/>
                    <a:pt x="21600" y="10971"/>
                    <a:pt x="21600" y="20451"/>
                  </a:cubicBezTo>
                  <a:cubicBezTo>
                    <a:pt x="18514" y="20451"/>
                    <a:pt x="14914" y="20677"/>
                    <a:pt x="10800" y="21129"/>
                  </a:cubicBezTo>
                  <a:cubicBezTo>
                    <a:pt x="6686" y="21580"/>
                    <a:pt x="3600" y="21580"/>
                    <a:pt x="1543" y="21129"/>
                  </a:cubicBezTo>
                  <a:cubicBezTo>
                    <a:pt x="1543" y="21129"/>
                    <a:pt x="1543" y="20451"/>
                    <a:pt x="1543" y="19097"/>
                  </a:cubicBezTo>
                  <a:cubicBezTo>
                    <a:pt x="2572" y="18646"/>
                    <a:pt x="3600" y="17968"/>
                    <a:pt x="4629" y="17065"/>
                  </a:cubicBezTo>
                  <a:cubicBezTo>
                    <a:pt x="9772" y="14356"/>
                    <a:pt x="8229" y="9842"/>
                    <a:pt x="0" y="3521"/>
                  </a:cubicBezTo>
                  <a:cubicBezTo>
                    <a:pt x="1029" y="3070"/>
                    <a:pt x="3086" y="2618"/>
                    <a:pt x="6171" y="2167"/>
                  </a:cubicBezTo>
                  <a:cubicBezTo>
                    <a:pt x="8229" y="1715"/>
                    <a:pt x="10286" y="1038"/>
                    <a:pt x="12343" y="135"/>
                  </a:cubicBezTo>
                  <a:cubicBezTo>
                    <a:pt x="13371" y="22"/>
                    <a:pt x="14304" y="-20"/>
                    <a:pt x="15139" y="8"/>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sp>
          <p:nvSpPr>
            <p:cNvPr id="1829" name="任意多边形 151"/>
            <p:cNvSpPr/>
            <p:nvPr/>
          </p:nvSpPr>
          <p:spPr>
            <a:xfrm>
              <a:off x="10697839" y="3270346"/>
              <a:ext cx="65618" cy="86441"/>
            </a:xfrm>
            <a:custGeom>
              <a:avLst/>
              <a:gdLst/>
              <a:ahLst/>
              <a:cxnLst>
                <a:cxn ang="0">
                  <a:pos x="wd2" y="hd2"/>
                </a:cxn>
                <a:cxn ang="5400000">
                  <a:pos x="wd2" y="hd2"/>
                </a:cxn>
                <a:cxn ang="10800000">
                  <a:pos x="wd2" y="hd2"/>
                </a:cxn>
                <a:cxn ang="16200000">
                  <a:pos x="wd2" y="hd2"/>
                </a:cxn>
              </a:cxnLst>
              <a:rect l="0" t="0" r="r" b="b"/>
              <a:pathLst>
                <a:path w="20925" h="20853" extrusionOk="0">
                  <a:moveTo>
                    <a:pt x="0" y="0"/>
                  </a:moveTo>
                  <a:cubicBezTo>
                    <a:pt x="2700" y="1838"/>
                    <a:pt x="5400" y="2757"/>
                    <a:pt x="8100" y="2757"/>
                  </a:cubicBezTo>
                  <a:cubicBezTo>
                    <a:pt x="10800" y="3677"/>
                    <a:pt x="14175" y="4596"/>
                    <a:pt x="18225" y="5515"/>
                  </a:cubicBezTo>
                  <a:cubicBezTo>
                    <a:pt x="20925" y="7353"/>
                    <a:pt x="21600" y="9651"/>
                    <a:pt x="20250" y="12409"/>
                  </a:cubicBezTo>
                  <a:cubicBezTo>
                    <a:pt x="13500" y="18843"/>
                    <a:pt x="6750" y="21600"/>
                    <a:pt x="0" y="20681"/>
                  </a:cubicBezTo>
                  <a:cubicBezTo>
                    <a:pt x="0" y="13328"/>
                    <a:pt x="0" y="6434"/>
                    <a:pt x="0" y="0"/>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sp>
          <p:nvSpPr>
            <p:cNvPr id="1830" name="任意多边形 150"/>
            <p:cNvSpPr/>
            <p:nvPr/>
          </p:nvSpPr>
          <p:spPr>
            <a:xfrm>
              <a:off x="3058791" y="3321781"/>
              <a:ext cx="95251" cy="12001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6171"/>
                    <a:pt x="20640" y="12686"/>
                    <a:pt x="18720" y="19543"/>
                  </a:cubicBezTo>
                  <a:cubicBezTo>
                    <a:pt x="12000" y="20914"/>
                    <a:pt x="5760" y="21600"/>
                    <a:pt x="0" y="21600"/>
                  </a:cubicBezTo>
                  <a:cubicBezTo>
                    <a:pt x="2880" y="16800"/>
                    <a:pt x="6720" y="10629"/>
                    <a:pt x="11520" y="3086"/>
                  </a:cubicBezTo>
                  <a:cubicBezTo>
                    <a:pt x="13440" y="2400"/>
                    <a:pt x="16800" y="1371"/>
                    <a:pt x="21600" y="0"/>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sp>
          <p:nvSpPr>
            <p:cNvPr id="1831" name="任意多边形 149"/>
            <p:cNvSpPr/>
            <p:nvPr/>
          </p:nvSpPr>
          <p:spPr>
            <a:xfrm>
              <a:off x="3179441" y="3481802"/>
              <a:ext cx="158751" cy="12573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9872" y="9818"/>
                    <a:pt x="18432" y="17018"/>
                    <a:pt x="17280" y="21600"/>
                  </a:cubicBezTo>
                  <a:cubicBezTo>
                    <a:pt x="15552" y="21600"/>
                    <a:pt x="13248" y="21600"/>
                    <a:pt x="10368" y="21600"/>
                  </a:cubicBezTo>
                  <a:cubicBezTo>
                    <a:pt x="8064" y="20945"/>
                    <a:pt x="4608" y="20618"/>
                    <a:pt x="0" y="20618"/>
                  </a:cubicBezTo>
                  <a:cubicBezTo>
                    <a:pt x="2304" y="14727"/>
                    <a:pt x="4608" y="8509"/>
                    <a:pt x="6912" y="1964"/>
                  </a:cubicBezTo>
                  <a:cubicBezTo>
                    <a:pt x="6912" y="1964"/>
                    <a:pt x="7488" y="1964"/>
                    <a:pt x="8640" y="1964"/>
                  </a:cubicBezTo>
                  <a:cubicBezTo>
                    <a:pt x="13824" y="655"/>
                    <a:pt x="18144" y="0"/>
                    <a:pt x="21600" y="0"/>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sp>
          <p:nvSpPr>
            <p:cNvPr id="1832" name="任意多边形 148"/>
            <p:cNvSpPr/>
            <p:nvPr/>
          </p:nvSpPr>
          <p:spPr>
            <a:xfrm>
              <a:off x="2963541" y="3504662"/>
              <a:ext cx="158751" cy="100013"/>
            </a:xfrm>
            <a:custGeom>
              <a:avLst/>
              <a:gdLst/>
              <a:ahLst/>
              <a:cxnLst>
                <a:cxn ang="0">
                  <a:pos x="wd2" y="hd2"/>
                </a:cxn>
                <a:cxn ang="5400000">
                  <a:pos x="wd2" y="hd2"/>
                </a:cxn>
                <a:cxn ang="10800000">
                  <a:pos x="wd2" y="hd2"/>
                </a:cxn>
                <a:cxn ang="16200000">
                  <a:pos x="wd2" y="hd2"/>
                </a:cxn>
              </a:cxnLst>
              <a:rect l="0" t="0" r="r" b="b"/>
              <a:pathLst>
                <a:path w="21600" h="21396" extrusionOk="0">
                  <a:moveTo>
                    <a:pt x="21600" y="0"/>
                  </a:moveTo>
                  <a:cubicBezTo>
                    <a:pt x="18720" y="8151"/>
                    <a:pt x="15840" y="13857"/>
                    <a:pt x="12960" y="17117"/>
                  </a:cubicBezTo>
                  <a:cubicBezTo>
                    <a:pt x="12384" y="17932"/>
                    <a:pt x="9216" y="19155"/>
                    <a:pt x="3456" y="20785"/>
                  </a:cubicBezTo>
                  <a:cubicBezTo>
                    <a:pt x="1728" y="21600"/>
                    <a:pt x="576" y="21600"/>
                    <a:pt x="0" y="20785"/>
                  </a:cubicBezTo>
                  <a:cubicBezTo>
                    <a:pt x="0" y="19970"/>
                    <a:pt x="576" y="18747"/>
                    <a:pt x="1728" y="17117"/>
                  </a:cubicBezTo>
                  <a:cubicBezTo>
                    <a:pt x="3456" y="12226"/>
                    <a:pt x="5184" y="7743"/>
                    <a:pt x="6912" y="3668"/>
                  </a:cubicBezTo>
                  <a:cubicBezTo>
                    <a:pt x="12672" y="2038"/>
                    <a:pt x="17568" y="815"/>
                    <a:pt x="21600" y="0"/>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sp>
          <p:nvSpPr>
            <p:cNvPr id="1833" name="任意多边形 147"/>
            <p:cNvSpPr/>
            <p:nvPr/>
          </p:nvSpPr>
          <p:spPr>
            <a:xfrm>
              <a:off x="5721980" y="3630392"/>
              <a:ext cx="372112" cy="253683"/>
            </a:xfrm>
            <a:custGeom>
              <a:avLst/>
              <a:gdLst/>
              <a:ahLst/>
              <a:cxnLst>
                <a:cxn ang="0">
                  <a:pos x="wd2" y="hd2"/>
                </a:cxn>
                <a:cxn ang="5400000">
                  <a:pos x="wd2" y="hd2"/>
                </a:cxn>
                <a:cxn ang="10800000">
                  <a:pos x="wd2" y="hd2"/>
                </a:cxn>
                <a:cxn ang="16200000">
                  <a:pos x="wd2" y="hd2"/>
                </a:cxn>
              </a:cxnLst>
              <a:rect l="0" t="0" r="r" b="b"/>
              <a:pathLst>
                <a:path w="20750" h="20694" extrusionOk="0">
                  <a:moveTo>
                    <a:pt x="20042" y="0"/>
                  </a:moveTo>
                  <a:cubicBezTo>
                    <a:pt x="21222" y="2176"/>
                    <a:pt x="20278" y="3885"/>
                    <a:pt x="17209" y="5128"/>
                  </a:cubicBezTo>
                  <a:cubicBezTo>
                    <a:pt x="16029" y="5750"/>
                    <a:pt x="15438" y="6216"/>
                    <a:pt x="15438" y="6527"/>
                  </a:cubicBezTo>
                  <a:cubicBezTo>
                    <a:pt x="15674" y="7148"/>
                    <a:pt x="16383" y="7148"/>
                    <a:pt x="17563" y="6527"/>
                  </a:cubicBezTo>
                  <a:cubicBezTo>
                    <a:pt x="17799" y="6837"/>
                    <a:pt x="18271" y="6837"/>
                    <a:pt x="18979" y="6527"/>
                  </a:cubicBezTo>
                  <a:cubicBezTo>
                    <a:pt x="19688" y="6216"/>
                    <a:pt x="20278" y="6060"/>
                    <a:pt x="20750" y="6060"/>
                  </a:cubicBezTo>
                  <a:cubicBezTo>
                    <a:pt x="20514" y="15073"/>
                    <a:pt x="19097" y="19735"/>
                    <a:pt x="16501" y="20046"/>
                  </a:cubicBezTo>
                  <a:cubicBezTo>
                    <a:pt x="11543" y="21600"/>
                    <a:pt x="6468" y="20357"/>
                    <a:pt x="1274" y="16317"/>
                  </a:cubicBezTo>
                  <a:cubicBezTo>
                    <a:pt x="-142" y="14763"/>
                    <a:pt x="-378" y="12587"/>
                    <a:pt x="566" y="9790"/>
                  </a:cubicBezTo>
                  <a:cubicBezTo>
                    <a:pt x="1747" y="6682"/>
                    <a:pt x="3753" y="4973"/>
                    <a:pt x="6586" y="4662"/>
                  </a:cubicBezTo>
                  <a:cubicBezTo>
                    <a:pt x="9419" y="4662"/>
                    <a:pt x="11661" y="4196"/>
                    <a:pt x="13314" y="3263"/>
                  </a:cubicBezTo>
                  <a:cubicBezTo>
                    <a:pt x="15910" y="1709"/>
                    <a:pt x="18153" y="622"/>
                    <a:pt x="20042" y="0"/>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sp>
          <p:nvSpPr>
            <p:cNvPr id="1834" name="任意多边形 146"/>
            <p:cNvSpPr/>
            <p:nvPr/>
          </p:nvSpPr>
          <p:spPr>
            <a:xfrm>
              <a:off x="2988941" y="3678492"/>
              <a:ext cx="266701" cy="153830"/>
            </a:xfrm>
            <a:custGeom>
              <a:avLst/>
              <a:gdLst/>
              <a:ahLst/>
              <a:cxnLst>
                <a:cxn ang="0">
                  <a:pos x="wd2" y="hd2"/>
                </a:cxn>
                <a:cxn ang="5400000">
                  <a:pos x="wd2" y="hd2"/>
                </a:cxn>
                <a:cxn ang="10800000">
                  <a:pos x="wd2" y="hd2"/>
                </a:cxn>
                <a:cxn ang="16200000">
                  <a:pos x="wd2" y="hd2"/>
                </a:cxn>
              </a:cxnLst>
              <a:rect l="0" t="0" r="r" b="b"/>
              <a:pathLst>
                <a:path w="21600" h="20341" extrusionOk="0">
                  <a:moveTo>
                    <a:pt x="5786" y="0"/>
                  </a:moveTo>
                  <a:cubicBezTo>
                    <a:pt x="11443" y="0"/>
                    <a:pt x="16714" y="567"/>
                    <a:pt x="21600" y="1700"/>
                  </a:cubicBezTo>
                  <a:cubicBezTo>
                    <a:pt x="21600" y="2204"/>
                    <a:pt x="21257" y="3967"/>
                    <a:pt x="20571" y="6990"/>
                  </a:cubicBezTo>
                  <a:cubicBezTo>
                    <a:pt x="19543" y="11524"/>
                    <a:pt x="19029" y="14295"/>
                    <a:pt x="19029" y="15303"/>
                  </a:cubicBezTo>
                  <a:cubicBezTo>
                    <a:pt x="17657" y="20341"/>
                    <a:pt x="14914" y="21600"/>
                    <a:pt x="10800" y="19081"/>
                  </a:cubicBezTo>
                  <a:cubicBezTo>
                    <a:pt x="4629" y="15555"/>
                    <a:pt x="1029" y="9257"/>
                    <a:pt x="0" y="189"/>
                  </a:cubicBezTo>
                  <a:cubicBezTo>
                    <a:pt x="1971" y="63"/>
                    <a:pt x="3900" y="0"/>
                    <a:pt x="5786" y="0"/>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grpSp>
          <p:nvGrpSpPr>
            <p:cNvPr id="1872" name="组合 221"/>
            <p:cNvGrpSpPr/>
            <p:nvPr/>
          </p:nvGrpSpPr>
          <p:grpSpPr>
            <a:xfrm>
              <a:off x="-25400" y="27305"/>
              <a:ext cx="13734044" cy="7827013"/>
              <a:chOff x="-25400" y="27305"/>
              <a:chExt cx="13734043" cy="7827012"/>
            </a:xfrm>
          </p:grpSpPr>
          <p:sp>
            <p:nvSpPr>
              <p:cNvPr id="1835" name="任意多边形 220"/>
              <p:cNvSpPr/>
              <p:nvPr/>
            </p:nvSpPr>
            <p:spPr>
              <a:xfrm>
                <a:off x="-25400" y="27305"/>
                <a:ext cx="12297648" cy="697469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0" y="21600"/>
                    </a:lnTo>
                    <a:lnTo>
                      <a:pt x="0" y="0"/>
                    </a:lnTo>
                    <a:close/>
                    <a:moveTo>
                      <a:pt x="10685" y="8198"/>
                    </a:moveTo>
                    <a:cubicBezTo>
                      <a:pt x="10574" y="8210"/>
                      <a:pt x="10477" y="8328"/>
                      <a:pt x="10395" y="8552"/>
                    </a:cubicBezTo>
                    <a:cubicBezTo>
                      <a:pt x="10373" y="8611"/>
                      <a:pt x="10351" y="8623"/>
                      <a:pt x="10328" y="8587"/>
                    </a:cubicBezTo>
                    <a:cubicBezTo>
                      <a:pt x="10254" y="8493"/>
                      <a:pt x="10198" y="8475"/>
                      <a:pt x="10161" y="8534"/>
                    </a:cubicBezTo>
                    <a:cubicBezTo>
                      <a:pt x="10124" y="8581"/>
                      <a:pt x="10124" y="8593"/>
                      <a:pt x="10161" y="8570"/>
                    </a:cubicBezTo>
                    <a:cubicBezTo>
                      <a:pt x="10183" y="8581"/>
                      <a:pt x="10194" y="8611"/>
                      <a:pt x="10194" y="8658"/>
                    </a:cubicBezTo>
                    <a:cubicBezTo>
                      <a:pt x="10202" y="9012"/>
                      <a:pt x="10276" y="9236"/>
                      <a:pt x="10417" y="9331"/>
                    </a:cubicBezTo>
                    <a:cubicBezTo>
                      <a:pt x="10343" y="9449"/>
                      <a:pt x="10258" y="9549"/>
                      <a:pt x="10161" y="9631"/>
                    </a:cubicBezTo>
                    <a:cubicBezTo>
                      <a:pt x="10161" y="9572"/>
                      <a:pt x="10150" y="9490"/>
                      <a:pt x="10127" y="9384"/>
                    </a:cubicBezTo>
                    <a:cubicBezTo>
                      <a:pt x="10083" y="9277"/>
                      <a:pt x="10064" y="9100"/>
                      <a:pt x="10072" y="8853"/>
                    </a:cubicBezTo>
                    <a:cubicBezTo>
                      <a:pt x="10072" y="8806"/>
                      <a:pt x="10068" y="8782"/>
                      <a:pt x="10061" y="8782"/>
                    </a:cubicBezTo>
                    <a:cubicBezTo>
                      <a:pt x="10053" y="8782"/>
                      <a:pt x="10042" y="8800"/>
                      <a:pt x="10027" y="8835"/>
                    </a:cubicBezTo>
                    <a:cubicBezTo>
                      <a:pt x="9960" y="9012"/>
                      <a:pt x="9916" y="9047"/>
                      <a:pt x="9893" y="8941"/>
                    </a:cubicBezTo>
                    <a:cubicBezTo>
                      <a:pt x="9878" y="8918"/>
                      <a:pt x="9867" y="8912"/>
                      <a:pt x="9860" y="8923"/>
                    </a:cubicBezTo>
                    <a:cubicBezTo>
                      <a:pt x="9852" y="8923"/>
                      <a:pt x="9849" y="8935"/>
                      <a:pt x="9849" y="8959"/>
                    </a:cubicBezTo>
                    <a:cubicBezTo>
                      <a:pt x="9797" y="9230"/>
                      <a:pt x="9823" y="9484"/>
                      <a:pt x="9927" y="9720"/>
                    </a:cubicBezTo>
                    <a:cubicBezTo>
                      <a:pt x="9733" y="9708"/>
                      <a:pt x="9618" y="9832"/>
                      <a:pt x="9581" y="10092"/>
                    </a:cubicBezTo>
                    <a:cubicBezTo>
                      <a:pt x="9574" y="10115"/>
                      <a:pt x="9566" y="10139"/>
                      <a:pt x="9559" y="10162"/>
                    </a:cubicBezTo>
                    <a:cubicBezTo>
                      <a:pt x="9514" y="10363"/>
                      <a:pt x="9481" y="10475"/>
                      <a:pt x="9458" y="10499"/>
                    </a:cubicBezTo>
                    <a:cubicBezTo>
                      <a:pt x="9421" y="10534"/>
                      <a:pt x="9414" y="10605"/>
                      <a:pt x="9436" y="10711"/>
                    </a:cubicBezTo>
                    <a:cubicBezTo>
                      <a:pt x="9436" y="10900"/>
                      <a:pt x="9473" y="11047"/>
                      <a:pt x="9548" y="11154"/>
                    </a:cubicBezTo>
                    <a:cubicBezTo>
                      <a:pt x="9562" y="11189"/>
                      <a:pt x="9577" y="11207"/>
                      <a:pt x="9592" y="11207"/>
                    </a:cubicBezTo>
                    <a:cubicBezTo>
                      <a:pt x="9607" y="11207"/>
                      <a:pt x="9618" y="11183"/>
                      <a:pt x="9626" y="11136"/>
                    </a:cubicBezTo>
                    <a:cubicBezTo>
                      <a:pt x="9626" y="11089"/>
                      <a:pt x="9633" y="11024"/>
                      <a:pt x="9648" y="10941"/>
                    </a:cubicBezTo>
                    <a:cubicBezTo>
                      <a:pt x="9678" y="10729"/>
                      <a:pt x="9704" y="10581"/>
                      <a:pt x="9726" y="10499"/>
                    </a:cubicBezTo>
                    <a:cubicBezTo>
                      <a:pt x="9726" y="10451"/>
                      <a:pt x="9763" y="10363"/>
                      <a:pt x="9838" y="10233"/>
                    </a:cubicBezTo>
                    <a:cubicBezTo>
                      <a:pt x="9875" y="10162"/>
                      <a:pt x="9983" y="10086"/>
                      <a:pt x="10161" y="10003"/>
                    </a:cubicBezTo>
                    <a:cubicBezTo>
                      <a:pt x="10339" y="9909"/>
                      <a:pt x="10462" y="9832"/>
                      <a:pt x="10529" y="9773"/>
                    </a:cubicBezTo>
                    <a:cubicBezTo>
                      <a:pt x="10655" y="9643"/>
                      <a:pt x="10800" y="9567"/>
                      <a:pt x="10964" y="9543"/>
                    </a:cubicBezTo>
                    <a:cubicBezTo>
                      <a:pt x="10979" y="9543"/>
                      <a:pt x="10986" y="9549"/>
                      <a:pt x="10986" y="9561"/>
                    </a:cubicBezTo>
                    <a:cubicBezTo>
                      <a:pt x="10994" y="9572"/>
                      <a:pt x="10990" y="9590"/>
                      <a:pt x="10975" y="9614"/>
                    </a:cubicBezTo>
                    <a:cubicBezTo>
                      <a:pt x="10908" y="9779"/>
                      <a:pt x="10834" y="9891"/>
                      <a:pt x="10752" y="9950"/>
                    </a:cubicBezTo>
                    <a:cubicBezTo>
                      <a:pt x="10663" y="10009"/>
                      <a:pt x="10607" y="10044"/>
                      <a:pt x="10585" y="10056"/>
                    </a:cubicBezTo>
                    <a:cubicBezTo>
                      <a:pt x="10458" y="10151"/>
                      <a:pt x="10332" y="10210"/>
                      <a:pt x="10206" y="10233"/>
                    </a:cubicBezTo>
                    <a:cubicBezTo>
                      <a:pt x="10131" y="10245"/>
                      <a:pt x="10098" y="10363"/>
                      <a:pt x="10105" y="10587"/>
                    </a:cubicBezTo>
                    <a:cubicBezTo>
                      <a:pt x="10120" y="10693"/>
                      <a:pt x="10172" y="10717"/>
                      <a:pt x="10261" y="10658"/>
                    </a:cubicBezTo>
                    <a:cubicBezTo>
                      <a:pt x="10380" y="10516"/>
                      <a:pt x="10477" y="10428"/>
                      <a:pt x="10551" y="10392"/>
                    </a:cubicBezTo>
                    <a:cubicBezTo>
                      <a:pt x="10559" y="10475"/>
                      <a:pt x="10522" y="10540"/>
                      <a:pt x="10440" y="10587"/>
                    </a:cubicBezTo>
                    <a:cubicBezTo>
                      <a:pt x="10380" y="10717"/>
                      <a:pt x="10365" y="10841"/>
                      <a:pt x="10395" y="10959"/>
                    </a:cubicBezTo>
                    <a:cubicBezTo>
                      <a:pt x="10187" y="11065"/>
                      <a:pt x="10042" y="11189"/>
                      <a:pt x="9960" y="11331"/>
                    </a:cubicBezTo>
                    <a:cubicBezTo>
                      <a:pt x="9864" y="11472"/>
                      <a:pt x="9849" y="11602"/>
                      <a:pt x="9916" y="11720"/>
                    </a:cubicBezTo>
                    <a:cubicBezTo>
                      <a:pt x="10027" y="11956"/>
                      <a:pt x="10157" y="12145"/>
                      <a:pt x="10306" y="12286"/>
                    </a:cubicBezTo>
                    <a:cubicBezTo>
                      <a:pt x="10440" y="12416"/>
                      <a:pt x="10551" y="12422"/>
                      <a:pt x="10641" y="12304"/>
                    </a:cubicBezTo>
                    <a:cubicBezTo>
                      <a:pt x="10745" y="12186"/>
                      <a:pt x="10812" y="11873"/>
                      <a:pt x="10841" y="11366"/>
                    </a:cubicBezTo>
                    <a:cubicBezTo>
                      <a:pt x="10849" y="11366"/>
                      <a:pt x="10860" y="11366"/>
                      <a:pt x="10875" y="11366"/>
                    </a:cubicBezTo>
                    <a:cubicBezTo>
                      <a:pt x="10919" y="11342"/>
                      <a:pt x="10953" y="11331"/>
                      <a:pt x="10975" y="11331"/>
                    </a:cubicBezTo>
                    <a:cubicBezTo>
                      <a:pt x="11050" y="11272"/>
                      <a:pt x="11072" y="11177"/>
                      <a:pt x="11042" y="11047"/>
                    </a:cubicBezTo>
                    <a:cubicBezTo>
                      <a:pt x="10960" y="10859"/>
                      <a:pt x="10834" y="10770"/>
                      <a:pt x="10663" y="10782"/>
                    </a:cubicBezTo>
                    <a:cubicBezTo>
                      <a:pt x="10700" y="10687"/>
                      <a:pt x="10748" y="10593"/>
                      <a:pt x="10808" y="10499"/>
                    </a:cubicBezTo>
                    <a:cubicBezTo>
                      <a:pt x="10867" y="10404"/>
                      <a:pt x="10886" y="10292"/>
                      <a:pt x="10864" y="10162"/>
                    </a:cubicBezTo>
                    <a:cubicBezTo>
                      <a:pt x="10916" y="10186"/>
                      <a:pt x="10986" y="10157"/>
                      <a:pt x="11076" y="10074"/>
                    </a:cubicBezTo>
                    <a:cubicBezTo>
                      <a:pt x="11128" y="10027"/>
                      <a:pt x="11195" y="9997"/>
                      <a:pt x="11276" y="9985"/>
                    </a:cubicBezTo>
                    <a:cubicBezTo>
                      <a:pt x="11343" y="9950"/>
                      <a:pt x="11351" y="9838"/>
                      <a:pt x="11299" y="9649"/>
                    </a:cubicBezTo>
                    <a:cubicBezTo>
                      <a:pt x="11150" y="9378"/>
                      <a:pt x="10945" y="9295"/>
                      <a:pt x="10685" y="9401"/>
                    </a:cubicBezTo>
                    <a:cubicBezTo>
                      <a:pt x="10804" y="9165"/>
                      <a:pt x="10897" y="8965"/>
                      <a:pt x="10964" y="8800"/>
                    </a:cubicBezTo>
                    <a:cubicBezTo>
                      <a:pt x="11009" y="8693"/>
                      <a:pt x="10994" y="8552"/>
                      <a:pt x="10919" y="8375"/>
                    </a:cubicBezTo>
                    <a:cubicBezTo>
                      <a:pt x="10852" y="8257"/>
                      <a:pt x="10774" y="8198"/>
                      <a:pt x="10685" y="8198"/>
                    </a:cubicBezTo>
                    <a:close/>
                    <a:moveTo>
                      <a:pt x="18456" y="8247"/>
                    </a:moveTo>
                    <a:cubicBezTo>
                      <a:pt x="18414" y="8244"/>
                      <a:pt x="18374" y="8263"/>
                      <a:pt x="18336" y="8304"/>
                    </a:cubicBezTo>
                    <a:cubicBezTo>
                      <a:pt x="18307" y="8351"/>
                      <a:pt x="18292" y="8381"/>
                      <a:pt x="18292" y="8393"/>
                    </a:cubicBezTo>
                    <a:cubicBezTo>
                      <a:pt x="18299" y="8404"/>
                      <a:pt x="18318" y="8398"/>
                      <a:pt x="18348" y="8375"/>
                    </a:cubicBezTo>
                    <a:cubicBezTo>
                      <a:pt x="18414" y="8375"/>
                      <a:pt x="18459" y="8440"/>
                      <a:pt x="18481" y="8570"/>
                    </a:cubicBezTo>
                    <a:cubicBezTo>
                      <a:pt x="18422" y="8994"/>
                      <a:pt x="18329" y="9307"/>
                      <a:pt x="18203" y="9508"/>
                    </a:cubicBezTo>
                    <a:cubicBezTo>
                      <a:pt x="18158" y="9531"/>
                      <a:pt x="18143" y="9584"/>
                      <a:pt x="18158" y="9667"/>
                    </a:cubicBezTo>
                    <a:cubicBezTo>
                      <a:pt x="18165" y="9714"/>
                      <a:pt x="18173" y="9767"/>
                      <a:pt x="18180" y="9826"/>
                    </a:cubicBezTo>
                    <a:cubicBezTo>
                      <a:pt x="18188" y="9885"/>
                      <a:pt x="18199" y="9932"/>
                      <a:pt x="18214" y="9968"/>
                    </a:cubicBezTo>
                    <a:cubicBezTo>
                      <a:pt x="18221" y="10015"/>
                      <a:pt x="18232" y="10039"/>
                      <a:pt x="18247" y="10039"/>
                    </a:cubicBezTo>
                    <a:cubicBezTo>
                      <a:pt x="18255" y="10050"/>
                      <a:pt x="18273" y="10033"/>
                      <a:pt x="18303" y="9985"/>
                    </a:cubicBezTo>
                    <a:cubicBezTo>
                      <a:pt x="18318" y="9974"/>
                      <a:pt x="18336" y="9956"/>
                      <a:pt x="18359" y="9932"/>
                    </a:cubicBezTo>
                    <a:cubicBezTo>
                      <a:pt x="18433" y="9850"/>
                      <a:pt x="18489" y="9791"/>
                      <a:pt x="18526" y="9755"/>
                    </a:cubicBezTo>
                    <a:cubicBezTo>
                      <a:pt x="18533" y="9814"/>
                      <a:pt x="18537" y="9897"/>
                      <a:pt x="18537" y="10003"/>
                    </a:cubicBezTo>
                    <a:cubicBezTo>
                      <a:pt x="18537" y="10121"/>
                      <a:pt x="18537" y="10275"/>
                      <a:pt x="18537" y="10463"/>
                    </a:cubicBezTo>
                    <a:cubicBezTo>
                      <a:pt x="18537" y="10546"/>
                      <a:pt x="18496" y="10575"/>
                      <a:pt x="18414" y="10552"/>
                    </a:cubicBezTo>
                    <a:cubicBezTo>
                      <a:pt x="18377" y="10540"/>
                      <a:pt x="18370" y="10552"/>
                      <a:pt x="18392" y="10587"/>
                    </a:cubicBezTo>
                    <a:cubicBezTo>
                      <a:pt x="18422" y="10670"/>
                      <a:pt x="18470" y="10770"/>
                      <a:pt x="18537" y="10888"/>
                    </a:cubicBezTo>
                    <a:cubicBezTo>
                      <a:pt x="18559" y="10935"/>
                      <a:pt x="18578" y="10965"/>
                      <a:pt x="18593" y="10977"/>
                    </a:cubicBezTo>
                    <a:cubicBezTo>
                      <a:pt x="18608" y="11012"/>
                      <a:pt x="18623" y="11030"/>
                      <a:pt x="18638" y="11030"/>
                    </a:cubicBezTo>
                    <a:cubicBezTo>
                      <a:pt x="18652" y="11030"/>
                      <a:pt x="18664" y="11006"/>
                      <a:pt x="18671" y="10959"/>
                    </a:cubicBezTo>
                    <a:cubicBezTo>
                      <a:pt x="18701" y="10829"/>
                      <a:pt x="18719" y="10634"/>
                      <a:pt x="18727" y="10375"/>
                    </a:cubicBezTo>
                    <a:cubicBezTo>
                      <a:pt x="18846" y="10422"/>
                      <a:pt x="18965" y="10428"/>
                      <a:pt x="19084" y="10392"/>
                    </a:cubicBezTo>
                    <a:cubicBezTo>
                      <a:pt x="19121" y="10392"/>
                      <a:pt x="19139" y="10351"/>
                      <a:pt x="19139" y="10269"/>
                    </a:cubicBezTo>
                    <a:cubicBezTo>
                      <a:pt x="19110" y="10092"/>
                      <a:pt x="19013" y="9980"/>
                      <a:pt x="18849" y="9932"/>
                    </a:cubicBezTo>
                    <a:cubicBezTo>
                      <a:pt x="18805" y="9921"/>
                      <a:pt x="18764" y="9926"/>
                      <a:pt x="18727" y="9950"/>
                    </a:cubicBezTo>
                    <a:cubicBezTo>
                      <a:pt x="18719" y="9891"/>
                      <a:pt x="18712" y="9832"/>
                      <a:pt x="18704" y="9773"/>
                    </a:cubicBezTo>
                    <a:cubicBezTo>
                      <a:pt x="18756" y="9820"/>
                      <a:pt x="18809" y="9826"/>
                      <a:pt x="18861" y="9791"/>
                    </a:cubicBezTo>
                    <a:cubicBezTo>
                      <a:pt x="19009" y="9708"/>
                      <a:pt x="19106" y="9631"/>
                      <a:pt x="19151" y="9561"/>
                    </a:cubicBezTo>
                    <a:cubicBezTo>
                      <a:pt x="19173" y="9454"/>
                      <a:pt x="19173" y="9354"/>
                      <a:pt x="19151" y="9260"/>
                    </a:cubicBezTo>
                    <a:cubicBezTo>
                      <a:pt x="19076" y="9118"/>
                      <a:pt x="18983" y="9065"/>
                      <a:pt x="18872" y="9100"/>
                    </a:cubicBezTo>
                    <a:cubicBezTo>
                      <a:pt x="18730" y="9171"/>
                      <a:pt x="18634" y="9230"/>
                      <a:pt x="18582" y="9277"/>
                    </a:cubicBezTo>
                    <a:cubicBezTo>
                      <a:pt x="18559" y="9289"/>
                      <a:pt x="18548" y="9295"/>
                      <a:pt x="18548" y="9295"/>
                    </a:cubicBezTo>
                    <a:cubicBezTo>
                      <a:pt x="18541" y="9283"/>
                      <a:pt x="18541" y="9266"/>
                      <a:pt x="18548" y="9242"/>
                    </a:cubicBezTo>
                    <a:cubicBezTo>
                      <a:pt x="18630" y="9053"/>
                      <a:pt x="18690" y="8864"/>
                      <a:pt x="18727" y="8676"/>
                    </a:cubicBezTo>
                    <a:cubicBezTo>
                      <a:pt x="18727" y="8570"/>
                      <a:pt x="18682" y="8452"/>
                      <a:pt x="18593" y="8322"/>
                    </a:cubicBezTo>
                    <a:cubicBezTo>
                      <a:pt x="18545" y="8275"/>
                      <a:pt x="18499" y="8249"/>
                      <a:pt x="18456" y="8247"/>
                    </a:cubicBezTo>
                    <a:close/>
                    <a:moveTo>
                      <a:pt x="13421" y="8595"/>
                    </a:moveTo>
                    <a:cubicBezTo>
                      <a:pt x="13395" y="8596"/>
                      <a:pt x="13368" y="8605"/>
                      <a:pt x="13340" y="8623"/>
                    </a:cubicBezTo>
                    <a:cubicBezTo>
                      <a:pt x="13198" y="8705"/>
                      <a:pt x="13105" y="8918"/>
                      <a:pt x="13061" y="9260"/>
                    </a:cubicBezTo>
                    <a:cubicBezTo>
                      <a:pt x="13046" y="9342"/>
                      <a:pt x="13042" y="9384"/>
                      <a:pt x="13050" y="9384"/>
                    </a:cubicBezTo>
                    <a:cubicBezTo>
                      <a:pt x="13057" y="9384"/>
                      <a:pt x="13072" y="9348"/>
                      <a:pt x="13094" y="9277"/>
                    </a:cubicBezTo>
                    <a:cubicBezTo>
                      <a:pt x="13169" y="9006"/>
                      <a:pt x="13258" y="8859"/>
                      <a:pt x="13362" y="8835"/>
                    </a:cubicBezTo>
                    <a:cubicBezTo>
                      <a:pt x="13407" y="8859"/>
                      <a:pt x="13421" y="8923"/>
                      <a:pt x="13407" y="9030"/>
                    </a:cubicBezTo>
                    <a:cubicBezTo>
                      <a:pt x="13317" y="9513"/>
                      <a:pt x="13217" y="9856"/>
                      <a:pt x="13105" y="10056"/>
                    </a:cubicBezTo>
                    <a:cubicBezTo>
                      <a:pt x="13031" y="10103"/>
                      <a:pt x="13012" y="10251"/>
                      <a:pt x="13050" y="10499"/>
                    </a:cubicBezTo>
                    <a:cubicBezTo>
                      <a:pt x="13057" y="10617"/>
                      <a:pt x="13072" y="10682"/>
                      <a:pt x="13094" y="10693"/>
                    </a:cubicBezTo>
                    <a:cubicBezTo>
                      <a:pt x="13117" y="10705"/>
                      <a:pt x="13154" y="10670"/>
                      <a:pt x="13206" y="10587"/>
                    </a:cubicBezTo>
                    <a:cubicBezTo>
                      <a:pt x="13169" y="11106"/>
                      <a:pt x="12998" y="11460"/>
                      <a:pt x="12693" y="11649"/>
                    </a:cubicBezTo>
                    <a:cubicBezTo>
                      <a:pt x="12656" y="11673"/>
                      <a:pt x="12637" y="11696"/>
                      <a:pt x="12637" y="11720"/>
                    </a:cubicBezTo>
                    <a:cubicBezTo>
                      <a:pt x="12630" y="11755"/>
                      <a:pt x="12644" y="11773"/>
                      <a:pt x="12682" y="11773"/>
                    </a:cubicBezTo>
                    <a:cubicBezTo>
                      <a:pt x="12830" y="11844"/>
                      <a:pt x="12972" y="11803"/>
                      <a:pt x="13105" y="11649"/>
                    </a:cubicBezTo>
                    <a:cubicBezTo>
                      <a:pt x="13217" y="11555"/>
                      <a:pt x="13302" y="11360"/>
                      <a:pt x="13362" y="11065"/>
                    </a:cubicBezTo>
                    <a:cubicBezTo>
                      <a:pt x="13652" y="11525"/>
                      <a:pt x="13923" y="11850"/>
                      <a:pt x="14176" y="12038"/>
                    </a:cubicBezTo>
                    <a:cubicBezTo>
                      <a:pt x="14198" y="12074"/>
                      <a:pt x="14217" y="12080"/>
                      <a:pt x="14232" y="12056"/>
                    </a:cubicBezTo>
                    <a:cubicBezTo>
                      <a:pt x="14239" y="12044"/>
                      <a:pt x="14243" y="12009"/>
                      <a:pt x="14243" y="11950"/>
                    </a:cubicBezTo>
                    <a:cubicBezTo>
                      <a:pt x="14206" y="11679"/>
                      <a:pt x="14146" y="11502"/>
                      <a:pt x="14065" y="11419"/>
                    </a:cubicBezTo>
                    <a:cubicBezTo>
                      <a:pt x="13864" y="11218"/>
                      <a:pt x="13633" y="11083"/>
                      <a:pt x="13373" y="11012"/>
                    </a:cubicBezTo>
                    <a:cubicBezTo>
                      <a:pt x="13381" y="10859"/>
                      <a:pt x="13388" y="10752"/>
                      <a:pt x="13395" y="10693"/>
                    </a:cubicBezTo>
                    <a:cubicBezTo>
                      <a:pt x="13395" y="10611"/>
                      <a:pt x="13395" y="10516"/>
                      <a:pt x="13395" y="10410"/>
                    </a:cubicBezTo>
                    <a:cubicBezTo>
                      <a:pt x="13440" y="10351"/>
                      <a:pt x="13511" y="10275"/>
                      <a:pt x="13607" y="10180"/>
                    </a:cubicBezTo>
                    <a:cubicBezTo>
                      <a:pt x="13674" y="10098"/>
                      <a:pt x="13726" y="10033"/>
                      <a:pt x="13763" y="9985"/>
                    </a:cubicBezTo>
                    <a:cubicBezTo>
                      <a:pt x="13778" y="9962"/>
                      <a:pt x="13790" y="9956"/>
                      <a:pt x="13797" y="9968"/>
                    </a:cubicBezTo>
                    <a:cubicBezTo>
                      <a:pt x="13804" y="9980"/>
                      <a:pt x="13804" y="10003"/>
                      <a:pt x="13797" y="10039"/>
                    </a:cubicBezTo>
                    <a:cubicBezTo>
                      <a:pt x="13723" y="10298"/>
                      <a:pt x="13622" y="10434"/>
                      <a:pt x="13496" y="10446"/>
                    </a:cubicBezTo>
                    <a:cubicBezTo>
                      <a:pt x="13459" y="10457"/>
                      <a:pt x="13440" y="10469"/>
                      <a:pt x="13440" y="10481"/>
                    </a:cubicBezTo>
                    <a:cubicBezTo>
                      <a:pt x="13433" y="10505"/>
                      <a:pt x="13440" y="10522"/>
                      <a:pt x="13462" y="10534"/>
                    </a:cubicBezTo>
                    <a:cubicBezTo>
                      <a:pt x="13596" y="10676"/>
                      <a:pt x="13745" y="10623"/>
                      <a:pt x="13908" y="10375"/>
                    </a:cubicBezTo>
                    <a:cubicBezTo>
                      <a:pt x="13983" y="10245"/>
                      <a:pt x="14039" y="10168"/>
                      <a:pt x="14076" y="10145"/>
                    </a:cubicBezTo>
                    <a:cubicBezTo>
                      <a:pt x="14120" y="10098"/>
                      <a:pt x="14132" y="10015"/>
                      <a:pt x="14109" y="9897"/>
                    </a:cubicBezTo>
                    <a:cubicBezTo>
                      <a:pt x="14080" y="9803"/>
                      <a:pt x="14027" y="9708"/>
                      <a:pt x="13953" y="9614"/>
                    </a:cubicBezTo>
                    <a:cubicBezTo>
                      <a:pt x="13894" y="9543"/>
                      <a:pt x="13834" y="9543"/>
                      <a:pt x="13775" y="9614"/>
                    </a:cubicBezTo>
                    <a:cubicBezTo>
                      <a:pt x="13737" y="9649"/>
                      <a:pt x="13689" y="9696"/>
                      <a:pt x="13630" y="9755"/>
                    </a:cubicBezTo>
                    <a:cubicBezTo>
                      <a:pt x="13570" y="9803"/>
                      <a:pt x="13526" y="9838"/>
                      <a:pt x="13496" y="9862"/>
                    </a:cubicBezTo>
                    <a:cubicBezTo>
                      <a:pt x="13474" y="9885"/>
                      <a:pt x="13459" y="9891"/>
                      <a:pt x="13451" y="9879"/>
                    </a:cubicBezTo>
                    <a:cubicBezTo>
                      <a:pt x="13444" y="9867"/>
                      <a:pt x="13447" y="9844"/>
                      <a:pt x="13462" y="9808"/>
                    </a:cubicBezTo>
                    <a:cubicBezTo>
                      <a:pt x="13500" y="9667"/>
                      <a:pt x="13548" y="9513"/>
                      <a:pt x="13607" y="9348"/>
                    </a:cubicBezTo>
                    <a:cubicBezTo>
                      <a:pt x="13622" y="9289"/>
                      <a:pt x="13641" y="9230"/>
                      <a:pt x="13663" y="9171"/>
                    </a:cubicBezTo>
                    <a:cubicBezTo>
                      <a:pt x="13700" y="9077"/>
                      <a:pt x="13693" y="8959"/>
                      <a:pt x="13641" y="8817"/>
                    </a:cubicBezTo>
                    <a:cubicBezTo>
                      <a:pt x="13574" y="8667"/>
                      <a:pt x="13501" y="8593"/>
                      <a:pt x="13421" y="8595"/>
                    </a:cubicBezTo>
                    <a:close/>
                    <a:moveTo>
                      <a:pt x="17837" y="8609"/>
                    </a:moveTo>
                    <a:cubicBezTo>
                      <a:pt x="17824" y="8612"/>
                      <a:pt x="17812" y="8623"/>
                      <a:pt x="17801" y="8640"/>
                    </a:cubicBezTo>
                    <a:cubicBezTo>
                      <a:pt x="17786" y="8664"/>
                      <a:pt x="17790" y="8699"/>
                      <a:pt x="17812" y="8747"/>
                    </a:cubicBezTo>
                    <a:cubicBezTo>
                      <a:pt x="17857" y="8853"/>
                      <a:pt x="17849" y="8977"/>
                      <a:pt x="17790" y="9118"/>
                    </a:cubicBezTo>
                    <a:cubicBezTo>
                      <a:pt x="17641" y="9508"/>
                      <a:pt x="17544" y="9702"/>
                      <a:pt x="17500" y="9702"/>
                    </a:cubicBezTo>
                    <a:cubicBezTo>
                      <a:pt x="17448" y="9738"/>
                      <a:pt x="17429" y="9785"/>
                      <a:pt x="17444" y="9844"/>
                    </a:cubicBezTo>
                    <a:cubicBezTo>
                      <a:pt x="17444" y="9879"/>
                      <a:pt x="17444" y="9938"/>
                      <a:pt x="17444" y="10021"/>
                    </a:cubicBezTo>
                    <a:cubicBezTo>
                      <a:pt x="17452" y="10092"/>
                      <a:pt x="17459" y="10145"/>
                      <a:pt x="17466" y="10180"/>
                    </a:cubicBezTo>
                    <a:cubicBezTo>
                      <a:pt x="17466" y="10227"/>
                      <a:pt x="17470" y="10251"/>
                      <a:pt x="17478" y="10251"/>
                    </a:cubicBezTo>
                    <a:cubicBezTo>
                      <a:pt x="17492" y="10263"/>
                      <a:pt x="17511" y="10251"/>
                      <a:pt x="17533" y="10216"/>
                    </a:cubicBezTo>
                    <a:cubicBezTo>
                      <a:pt x="17585" y="10145"/>
                      <a:pt x="17637" y="10074"/>
                      <a:pt x="17689" y="10003"/>
                    </a:cubicBezTo>
                    <a:cubicBezTo>
                      <a:pt x="17719" y="10168"/>
                      <a:pt x="17723" y="10316"/>
                      <a:pt x="17701" y="10446"/>
                    </a:cubicBezTo>
                    <a:cubicBezTo>
                      <a:pt x="17678" y="10623"/>
                      <a:pt x="17719" y="10817"/>
                      <a:pt x="17823" y="11030"/>
                    </a:cubicBezTo>
                    <a:cubicBezTo>
                      <a:pt x="17734" y="11018"/>
                      <a:pt x="17660" y="11095"/>
                      <a:pt x="17600" y="11260"/>
                    </a:cubicBezTo>
                    <a:cubicBezTo>
                      <a:pt x="17563" y="11201"/>
                      <a:pt x="17530" y="11159"/>
                      <a:pt x="17500" y="11136"/>
                    </a:cubicBezTo>
                    <a:cubicBezTo>
                      <a:pt x="17478" y="11148"/>
                      <a:pt x="17466" y="11159"/>
                      <a:pt x="17466" y="11171"/>
                    </a:cubicBezTo>
                    <a:cubicBezTo>
                      <a:pt x="17459" y="11195"/>
                      <a:pt x="17463" y="11207"/>
                      <a:pt x="17478" y="11207"/>
                    </a:cubicBezTo>
                    <a:cubicBezTo>
                      <a:pt x="17515" y="11218"/>
                      <a:pt x="17492" y="11348"/>
                      <a:pt x="17411" y="11596"/>
                    </a:cubicBezTo>
                    <a:cubicBezTo>
                      <a:pt x="17359" y="11679"/>
                      <a:pt x="17385" y="11856"/>
                      <a:pt x="17489" y="12127"/>
                    </a:cubicBezTo>
                    <a:cubicBezTo>
                      <a:pt x="17518" y="12186"/>
                      <a:pt x="17548" y="12162"/>
                      <a:pt x="17578" y="12056"/>
                    </a:cubicBezTo>
                    <a:cubicBezTo>
                      <a:pt x="17630" y="11773"/>
                      <a:pt x="17656" y="11596"/>
                      <a:pt x="17656" y="11525"/>
                    </a:cubicBezTo>
                    <a:cubicBezTo>
                      <a:pt x="17663" y="11384"/>
                      <a:pt x="17693" y="11260"/>
                      <a:pt x="17745" y="11154"/>
                    </a:cubicBezTo>
                    <a:cubicBezTo>
                      <a:pt x="17768" y="11118"/>
                      <a:pt x="17782" y="11106"/>
                      <a:pt x="17790" y="11118"/>
                    </a:cubicBezTo>
                    <a:cubicBezTo>
                      <a:pt x="17805" y="11118"/>
                      <a:pt x="17820" y="11154"/>
                      <a:pt x="17834" y="11224"/>
                    </a:cubicBezTo>
                    <a:cubicBezTo>
                      <a:pt x="17887" y="11649"/>
                      <a:pt x="18024" y="11944"/>
                      <a:pt x="18247" y="12109"/>
                    </a:cubicBezTo>
                    <a:cubicBezTo>
                      <a:pt x="18552" y="12298"/>
                      <a:pt x="18890" y="12310"/>
                      <a:pt x="19262" y="12145"/>
                    </a:cubicBezTo>
                    <a:cubicBezTo>
                      <a:pt x="19299" y="12109"/>
                      <a:pt x="19318" y="12074"/>
                      <a:pt x="19318" y="12038"/>
                    </a:cubicBezTo>
                    <a:cubicBezTo>
                      <a:pt x="19318" y="12003"/>
                      <a:pt x="19303" y="11974"/>
                      <a:pt x="19273" y="11950"/>
                    </a:cubicBezTo>
                    <a:cubicBezTo>
                      <a:pt x="19162" y="11844"/>
                      <a:pt x="19006" y="11673"/>
                      <a:pt x="18805" y="11437"/>
                    </a:cubicBezTo>
                    <a:cubicBezTo>
                      <a:pt x="18775" y="11413"/>
                      <a:pt x="18756" y="11390"/>
                      <a:pt x="18749" y="11366"/>
                    </a:cubicBezTo>
                    <a:cubicBezTo>
                      <a:pt x="18838" y="11248"/>
                      <a:pt x="18916" y="11148"/>
                      <a:pt x="18983" y="11065"/>
                    </a:cubicBezTo>
                    <a:cubicBezTo>
                      <a:pt x="19006" y="11041"/>
                      <a:pt x="19028" y="11047"/>
                      <a:pt x="19050" y="11083"/>
                    </a:cubicBezTo>
                    <a:cubicBezTo>
                      <a:pt x="19184" y="11319"/>
                      <a:pt x="19322" y="11431"/>
                      <a:pt x="19463" y="11419"/>
                    </a:cubicBezTo>
                    <a:cubicBezTo>
                      <a:pt x="19515" y="11431"/>
                      <a:pt x="19533" y="11366"/>
                      <a:pt x="19519" y="11224"/>
                    </a:cubicBezTo>
                    <a:cubicBezTo>
                      <a:pt x="19481" y="10977"/>
                      <a:pt x="19325" y="10870"/>
                      <a:pt x="19050" y="10906"/>
                    </a:cubicBezTo>
                    <a:cubicBezTo>
                      <a:pt x="19020" y="10918"/>
                      <a:pt x="19002" y="10929"/>
                      <a:pt x="18994" y="10941"/>
                    </a:cubicBezTo>
                    <a:cubicBezTo>
                      <a:pt x="18987" y="10977"/>
                      <a:pt x="18957" y="11006"/>
                      <a:pt x="18905" y="11030"/>
                    </a:cubicBezTo>
                    <a:cubicBezTo>
                      <a:pt x="18756" y="11100"/>
                      <a:pt x="18645" y="11183"/>
                      <a:pt x="18571" y="11277"/>
                    </a:cubicBezTo>
                    <a:cubicBezTo>
                      <a:pt x="18548" y="11301"/>
                      <a:pt x="18533" y="11307"/>
                      <a:pt x="18526" y="11295"/>
                    </a:cubicBezTo>
                    <a:cubicBezTo>
                      <a:pt x="18519" y="11295"/>
                      <a:pt x="18519" y="11277"/>
                      <a:pt x="18526" y="11242"/>
                    </a:cubicBezTo>
                    <a:cubicBezTo>
                      <a:pt x="18519" y="11041"/>
                      <a:pt x="18452" y="10947"/>
                      <a:pt x="18325" y="10959"/>
                    </a:cubicBezTo>
                    <a:cubicBezTo>
                      <a:pt x="18303" y="10959"/>
                      <a:pt x="18288" y="10965"/>
                      <a:pt x="18281" y="10977"/>
                    </a:cubicBezTo>
                    <a:cubicBezTo>
                      <a:pt x="18273" y="10988"/>
                      <a:pt x="18273" y="11006"/>
                      <a:pt x="18281" y="11030"/>
                    </a:cubicBezTo>
                    <a:cubicBezTo>
                      <a:pt x="18288" y="11148"/>
                      <a:pt x="18281" y="11248"/>
                      <a:pt x="18258" y="11331"/>
                    </a:cubicBezTo>
                    <a:cubicBezTo>
                      <a:pt x="18229" y="11413"/>
                      <a:pt x="18288" y="11543"/>
                      <a:pt x="18437" y="11720"/>
                    </a:cubicBezTo>
                    <a:cubicBezTo>
                      <a:pt x="18489" y="11803"/>
                      <a:pt x="18530" y="11791"/>
                      <a:pt x="18559" y="11685"/>
                    </a:cubicBezTo>
                    <a:cubicBezTo>
                      <a:pt x="18567" y="11637"/>
                      <a:pt x="18611" y="11555"/>
                      <a:pt x="18693" y="11437"/>
                    </a:cubicBezTo>
                    <a:cubicBezTo>
                      <a:pt x="18887" y="11755"/>
                      <a:pt x="18924" y="11909"/>
                      <a:pt x="18805" y="11897"/>
                    </a:cubicBezTo>
                    <a:cubicBezTo>
                      <a:pt x="18619" y="11932"/>
                      <a:pt x="18444" y="11909"/>
                      <a:pt x="18281" y="11826"/>
                    </a:cubicBezTo>
                    <a:cubicBezTo>
                      <a:pt x="18147" y="11767"/>
                      <a:pt x="18061" y="11620"/>
                      <a:pt x="18024" y="11384"/>
                    </a:cubicBezTo>
                    <a:cubicBezTo>
                      <a:pt x="18002" y="11230"/>
                      <a:pt x="17950" y="11118"/>
                      <a:pt x="17868" y="11047"/>
                    </a:cubicBezTo>
                    <a:cubicBezTo>
                      <a:pt x="17875" y="10870"/>
                      <a:pt x="17890" y="10699"/>
                      <a:pt x="17913" y="10534"/>
                    </a:cubicBezTo>
                    <a:cubicBezTo>
                      <a:pt x="17950" y="10333"/>
                      <a:pt x="17957" y="10145"/>
                      <a:pt x="17935" y="9968"/>
                    </a:cubicBezTo>
                    <a:cubicBezTo>
                      <a:pt x="17927" y="9956"/>
                      <a:pt x="17924" y="9932"/>
                      <a:pt x="17924" y="9897"/>
                    </a:cubicBezTo>
                    <a:cubicBezTo>
                      <a:pt x="17931" y="9873"/>
                      <a:pt x="17935" y="9850"/>
                      <a:pt x="17935" y="9826"/>
                    </a:cubicBezTo>
                    <a:cubicBezTo>
                      <a:pt x="17942" y="9732"/>
                      <a:pt x="17931" y="9755"/>
                      <a:pt x="17901" y="9897"/>
                    </a:cubicBezTo>
                    <a:cubicBezTo>
                      <a:pt x="17879" y="9826"/>
                      <a:pt x="17846" y="9785"/>
                      <a:pt x="17801" y="9773"/>
                    </a:cubicBezTo>
                    <a:cubicBezTo>
                      <a:pt x="17957" y="9431"/>
                      <a:pt x="18076" y="9230"/>
                      <a:pt x="18158" y="9171"/>
                    </a:cubicBezTo>
                    <a:cubicBezTo>
                      <a:pt x="18203" y="9100"/>
                      <a:pt x="18210" y="9024"/>
                      <a:pt x="18180" y="8941"/>
                    </a:cubicBezTo>
                    <a:cubicBezTo>
                      <a:pt x="18091" y="8811"/>
                      <a:pt x="17991" y="8705"/>
                      <a:pt x="17879" y="8623"/>
                    </a:cubicBezTo>
                    <a:cubicBezTo>
                      <a:pt x="17864" y="8611"/>
                      <a:pt x="17850" y="8606"/>
                      <a:pt x="17837" y="8609"/>
                    </a:cubicBezTo>
                    <a:close/>
                    <a:moveTo>
                      <a:pt x="18158" y="10021"/>
                    </a:moveTo>
                    <a:cubicBezTo>
                      <a:pt x="18136" y="10021"/>
                      <a:pt x="18124" y="10027"/>
                      <a:pt x="18124" y="10039"/>
                    </a:cubicBezTo>
                    <a:cubicBezTo>
                      <a:pt x="18117" y="10050"/>
                      <a:pt x="18121" y="10068"/>
                      <a:pt x="18136" y="10092"/>
                    </a:cubicBezTo>
                    <a:cubicBezTo>
                      <a:pt x="18158" y="10127"/>
                      <a:pt x="18143" y="10227"/>
                      <a:pt x="18091" y="10392"/>
                    </a:cubicBezTo>
                    <a:cubicBezTo>
                      <a:pt x="18069" y="10487"/>
                      <a:pt x="18080" y="10652"/>
                      <a:pt x="18124" y="10888"/>
                    </a:cubicBezTo>
                    <a:cubicBezTo>
                      <a:pt x="18132" y="10935"/>
                      <a:pt x="18139" y="10959"/>
                      <a:pt x="18147" y="10959"/>
                    </a:cubicBezTo>
                    <a:cubicBezTo>
                      <a:pt x="18154" y="10959"/>
                      <a:pt x="18169" y="10935"/>
                      <a:pt x="18191" y="10888"/>
                    </a:cubicBezTo>
                    <a:cubicBezTo>
                      <a:pt x="18281" y="10640"/>
                      <a:pt x="18329" y="10463"/>
                      <a:pt x="18336" y="10357"/>
                    </a:cubicBezTo>
                    <a:cubicBezTo>
                      <a:pt x="18344" y="10310"/>
                      <a:pt x="18366" y="10257"/>
                      <a:pt x="18403" y="10198"/>
                    </a:cubicBezTo>
                    <a:cubicBezTo>
                      <a:pt x="18418" y="10174"/>
                      <a:pt x="18422" y="10157"/>
                      <a:pt x="18414" y="10145"/>
                    </a:cubicBezTo>
                    <a:cubicBezTo>
                      <a:pt x="18407" y="10145"/>
                      <a:pt x="18392" y="10151"/>
                      <a:pt x="18370" y="10162"/>
                    </a:cubicBezTo>
                    <a:cubicBezTo>
                      <a:pt x="18318" y="10233"/>
                      <a:pt x="18292" y="10239"/>
                      <a:pt x="18292" y="10180"/>
                    </a:cubicBezTo>
                    <a:cubicBezTo>
                      <a:pt x="18262" y="10086"/>
                      <a:pt x="18217" y="10033"/>
                      <a:pt x="18158" y="10021"/>
                    </a:cubicBezTo>
                    <a:close/>
                    <a:moveTo>
                      <a:pt x="15713" y="8649"/>
                    </a:moveTo>
                    <a:cubicBezTo>
                      <a:pt x="15700" y="8649"/>
                      <a:pt x="15689" y="8652"/>
                      <a:pt x="15682" y="8658"/>
                    </a:cubicBezTo>
                    <a:cubicBezTo>
                      <a:pt x="15667" y="8682"/>
                      <a:pt x="15667" y="8711"/>
                      <a:pt x="15682" y="8747"/>
                    </a:cubicBezTo>
                    <a:cubicBezTo>
                      <a:pt x="15704" y="8794"/>
                      <a:pt x="15700" y="8835"/>
                      <a:pt x="15671" y="8870"/>
                    </a:cubicBezTo>
                    <a:cubicBezTo>
                      <a:pt x="15660" y="8888"/>
                      <a:pt x="15652" y="8900"/>
                      <a:pt x="15648" y="8906"/>
                    </a:cubicBezTo>
                    <a:lnTo>
                      <a:pt x="15648" y="8906"/>
                    </a:lnTo>
                    <a:lnTo>
                      <a:pt x="15606" y="8985"/>
                    </a:lnTo>
                    <a:cubicBezTo>
                      <a:pt x="15514" y="9158"/>
                      <a:pt x="15461" y="9249"/>
                      <a:pt x="15448" y="9260"/>
                    </a:cubicBezTo>
                    <a:cubicBezTo>
                      <a:pt x="15366" y="9319"/>
                      <a:pt x="15295" y="9342"/>
                      <a:pt x="15236" y="9331"/>
                    </a:cubicBezTo>
                    <a:cubicBezTo>
                      <a:pt x="15206" y="9331"/>
                      <a:pt x="15184" y="9342"/>
                      <a:pt x="15169" y="9366"/>
                    </a:cubicBezTo>
                    <a:cubicBezTo>
                      <a:pt x="15161" y="9378"/>
                      <a:pt x="15165" y="9401"/>
                      <a:pt x="15180" y="9437"/>
                    </a:cubicBezTo>
                    <a:cubicBezTo>
                      <a:pt x="15239" y="9614"/>
                      <a:pt x="15303" y="9714"/>
                      <a:pt x="15370" y="9738"/>
                    </a:cubicBezTo>
                    <a:cubicBezTo>
                      <a:pt x="15414" y="9749"/>
                      <a:pt x="15436" y="9803"/>
                      <a:pt x="15436" y="9897"/>
                    </a:cubicBezTo>
                    <a:cubicBezTo>
                      <a:pt x="15429" y="9932"/>
                      <a:pt x="15425" y="9962"/>
                      <a:pt x="15425" y="9985"/>
                    </a:cubicBezTo>
                    <a:cubicBezTo>
                      <a:pt x="15418" y="10162"/>
                      <a:pt x="15407" y="10269"/>
                      <a:pt x="15392" y="10304"/>
                    </a:cubicBezTo>
                    <a:cubicBezTo>
                      <a:pt x="15384" y="10316"/>
                      <a:pt x="15381" y="10322"/>
                      <a:pt x="15381" y="10322"/>
                    </a:cubicBezTo>
                    <a:cubicBezTo>
                      <a:pt x="15366" y="10369"/>
                      <a:pt x="15366" y="10416"/>
                      <a:pt x="15381" y="10463"/>
                    </a:cubicBezTo>
                    <a:cubicBezTo>
                      <a:pt x="15396" y="10687"/>
                      <a:pt x="15459" y="10817"/>
                      <a:pt x="15570" y="10853"/>
                    </a:cubicBezTo>
                    <a:cubicBezTo>
                      <a:pt x="15622" y="10900"/>
                      <a:pt x="15660" y="10859"/>
                      <a:pt x="15682" y="10729"/>
                    </a:cubicBezTo>
                    <a:cubicBezTo>
                      <a:pt x="15704" y="10564"/>
                      <a:pt x="15756" y="10387"/>
                      <a:pt x="15838" y="10198"/>
                    </a:cubicBezTo>
                    <a:cubicBezTo>
                      <a:pt x="15920" y="10033"/>
                      <a:pt x="15979" y="9897"/>
                      <a:pt x="16016" y="9791"/>
                    </a:cubicBezTo>
                    <a:cubicBezTo>
                      <a:pt x="16016" y="10133"/>
                      <a:pt x="16013" y="10381"/>
                      <a:pt x="16005" y="10534"/>
                    </a:cubicBezTo>
                    <a:cubicBezTo>
                      <a:pt x="16005" y="10723"/>
                      <a:pt x="16002" y="10894"/>
                      <a:pt x="15994" y="11047"/>
                    </a:cubicBezTo>
                    <a:cubicBezTo>
                      <a:pt x="15979" y="11154"/>
                      <a:pt x="15983" y="11289"/>
                      <a:pt x="16005" y="11454"/>
                    </a:cubicBezTo>
                    <a:cubicBezTo>
                      <a:pt x="15760" y="11419"/>
                      <a:pt x="15507" y="11354"/>
                      <a:pt x="15247" y="11260"/>
                    </a:cubicBezTo>
                    <a:cubicBezTo>
                      <a:pt x="15217" y="11059"/>
                      <a:pt x="15154" y="10876"/>
                      <a:pt x="15057" y="10711"/>
                    </a:cubicBezTo>
                    <a:cubicBezTo>
                      <a:pt x="15028" y="10676"/>
                      <a:pt x="15020" y="10640"/>
                      <a:pt x="15035" y="10605"/>
                    </a:cubicBezTo>
                    <a:cubicBezTo>
                      <a:pt x="15065" y="10534"/>
                      <a:pt x="15098" y="10457"/>
                      <a:pt x="15135" y="10375"/>
                    </a:cubicBezTo>
                    <a:cubicBezTo>
                      <a:pt x="15173" y="10304"/>
                      <a:pt x="15173" y="10239"/>
                      <a:pt x="15135" y="10180"/>
                    </a:cubicBezTo>
                    <a:cubicBezTo>
                      <a:pt x="15068" y="10109"/>
                      <a:pt x="15013" y="10050"/>
                      <a:pt x="14968" y="10003"/>
                    </a:cubicBezTo>
                    <a:cubicBezTo>
                      <a:pt x="14946" y="9980"/>
                      <a:pt x="14912" y="9974"/>
                      <a:pt x="14868" y="9985"/>
                    </a:cubicBezTo>
                    <a:cubicBezTo>
                      <a:pt x="14853" y="9997"/>
                      <a:pt x="14838" y="10003"/>
                      <a:pt x="14823" y="10003"/>
                    </a:cubicBezTo>
                    <a:cubicBezTo>
                      <a:pt x="14764" y="10015"/>
                      <a:pt x="14719" y="10021"/>
                      <a:pt x="14689" y="10021"/>
                    </a:cubicBezTo>
                    <a:cubicBezTo>
                      <a:pt x="14645" y="10044"/>
                      <a:pt x="14611" y="10027"/>
                      <a:pt x="14589" y="9968"/>
                    </a:cubicBezTo>
                    <a:cubicBezTo>
                      <a:pt x="14581" y="9956"/>
                      <a:pt x="14574" y="9950"/>
                      <a:pt x="14567" y="9950"/>
                    </a:cubicBezTo>
                    <a:cubicBezTo>
                      <a:pt x="14559" y="9950"/>
                      <a:pt x="14555" y="9956"/>
                      <a:pt x="14555" y="9968"/>
                    </a:cubicBezTo>
                    <a:cubicBezTo>
                      <a:pt x="14563" y="10251"/>
                      <a:pt x="14652" y="10392"/>
                      <a:pt x="14823" y="10392"/>
                    </a:cubicBezTo>
                    <a:cubicBezTo>
                      <a:pt x="14853" y="10392"/>
                      <a:pt x="14864" y="10416"/>
                      <a:pt x="14857" y="10463"/>
                    </a:cubicBezTo>
                    <a:cubicBezTo>
                      <a:pt x="14834" y="10723"/>
                      <a:pt x="14890" y="10900"/>
                      <a:pt x="15024" y="10994"/>
                    </a:cubicBezTo>
                    <a:cubicBezTo>
                      <a:pt x="15068" y="11006"/>
                      <a:pt x="15080" y="11047"/>
                      <a:pt x="15057" y="11118"/>
                    </a:cubicBezTo>
                    <a:cubicBezTo>
                      <a:pt x="15028" y="11213"/>
                      <a:pt x="14998" y="11260"/>
                      <a:pt x="14968" y="11260"/>
                    </a:cubicBezTo>
                    <a:cubicBezTo>
                      <a:pt x="14857" y="11295"/>
                      <a:pt x="14778" y="11319"/>
                      <a:pt x="14734" y="11331"/>
                    </a:cubicBezTo>
                    <a:cubicBezTo>
                      <a:pt x="14712" y="11342"/>
                      <a:pt x="14700" y="11354"/>
                      <a:pt x="14700" y="11366"/>
                    </a:cubicBezTo>
                    <a:cubicBezTo>
                      <a:pt x="14693" y="11378"/>
                      <a:pt x="14697" y="11395"/>
                      <a:pt x="14712" y="11419"/>
                    </a:cubicBezTo>
                    <a:cubicBezTo>
                      <a:pt x="14734" y="11490"/>
                      <a:pt x="14756" y="11561"/>
                      <a:pt x="14778" y="11631"/>
                    </a:cubicBezTo>
                    <a:cubicBezTo>
                      <a:pt x="14801" y="11690"/>
                      <a:pt x="14857" y="11696"/>
                      <a:pt x="14946" y="11649"/>
                    </a:cubicBezTo>
                    <a:cubicBezTo>
                      <a:pt x="14968" y="11649"/>
                      <a:pt x="14990" y="11643"/>
                      <a:pt x="15013" y="11631"/>
                    </a:cubicBezTo>
                    <a:cubicBezTo>
                      <a:pt x="15124" y="11572"/>
                      <a:pt x="15199" y="11543"/>
                      <a:pt x="15236" y="11543"/>
                    </a:cubicBezTo>
                    <a:cubicBezTo>
                      <a:pt x="15236" y="11496"/>
                      <a:pt x="15544" y="11631"/>
                      <a:pt x="16161" y="11950"/>
                    </a:cubicBezTo>
                    <a:cubicBezTo>
                      <a:pt x="16266" y="11985"/>
                      <a:pt x="16370" y="11985"/>
                      <a:pt x="16474" y="11950"/>
                    </a:cubicBezTo>
                    <a:cubicBezTo>
                      <a:pt x="16719" y="11891"/>
                      <a:pt x="16905" y="11791"/>
                      <a:pt x="17031" y="11649"/>
                    </a:cubicBezTo>
                    <a:cubicBezTo>
                      <a:pt x="17054" y="11626"/>
                      <a:pt x="17065" y="11602"/>
                      <a:pt x="17065" y="11578"/>
                    </a:cubicBezTo>
                    <a:cubicBezTo>
                      <a:pt x="17065" y="11543"/>
                      <a:pt x="17054" y="11519"/>
                      <a:pt x="17031" y="11508"/>
                    </a:cubicBezTo>
                    <a:cubicBezTo>
                      <a:pt x="16972" y="11496"/>
                      <a:pt x="16924" y="11490"/>
                      <a:pt x="16886" y="11490"/>
                    </a:cubicBezTo>
                    <a:cubicBezTo>
                      <a:pt x="16849" y="11490"/>
                      <a:pt x="16801" y="11490"/>
                      <a:pt x="16741" y="11490"/>
                    </a:cubicBezTo>
                    <a:cubicBezTo>
                      <a:pt x="16652" y="11513"/>
                      <a:pt x="16563" y="11525"/>
                      <a:pt x="16474" y="11525"/>
                    </a:cubicBezTo>
                    <a:cubicBezTo>
                      <a:pt x="16385" y="11525"/>
                      <a:pt x="16277" y="11508"/>
                      <a:pt x="16150" y="11472"/>
                    </a:cubicBezTo>
                    <a:cubicBezTo>
                      <a:pt x="16158" y="11177"/>
                      <a:pt x="16169" y="10841"/>
                      <a:pt x="16184" y="10463"/>
                    </a:cubicBezTo>
                    <a:cubicBezTo>
                      <a:pt x="16221" y="10569"/>
                      <a:pt x="16269" y="10664"/>
                      <a:pt x="16329" y="10746"/>
                    </a:cubicBezTo>
                    <a:cubicBezTo>
                      <a:pt x="16381" y="10841"/>
                      <a:pt x="16433" y="10835"/>
                      <a:pt x="16485" y="10729"/>
                    </a:cubicBezTo>
                    <a:cubicBezTo>
                      <a:pt x="16544" y="10611"/>
                      <a:pt x="16596" y="10392"/>
                      <a:pt x="16641" y="10074"/>
                    </a:cubicBezTo>
                    <a:cubicBezTo>
                      <a:pt x="16648" y="9932"/>
                      <a:pt x="16671" y="9808"/>
                      <a:pt x="16708" y="9702"/>
                    </a:cubicBezTo>
                    <a:cubicBezTo>
                      <a:pt x="16730" y="9620"/>
                      <a:pt x="16719" y="9537"/>
                      <a:pt x="16675" y="9454"/>
                    </a:cubicBezTo>
                    <a:cubicBezTo>
                      <a:pt x="16556" y="9230"/>
                      <a:pt x="16470" y="9124"/>
                      <a:pt x="16418" y="9136"/>
                    </a:cubicBezTo>
                    <a:cubicBezTo>
                      <a:pt x="16351" y="9148"/>
                      <a:pt x="16277" y="9195"/>
                      <a:pt x="16195" y="9277"/>
                    </a:cubicBezTo>
                    <a:cubicBezTo>
                      <a:pt x="16128" y="9242"/>
                      <a:pt x="16076" y="9218"/>
                      <a:pt x="16039" y="9207"/>
                    </a:cubicBezTo>
                    <a:cubicBezTo>
                      <a:pt x="15972" y="9230"/>
                      <a:pt x="15946" y="9289"/>
                      <a:pt x="15961" y="9384"/>
                    </a:cubicBezTo>
                    <a:cubicBezTo>
                      <a:pt x="15990" y="9431"/>
                      <a:pt x="16005" y="9478"/>
                      <a:pt x="16005" y="9525"/>
                    </a:cubicBezTo>
                    <a:cubicBezTo>
                      <a:pt x="15916" y="9726"/>
                      <a:pt x="15801" y="9921"/>
                      <a:pt x="15660" y="10109"/>
                    </a:cubicBezTo>
                    <a:cubicBezTo>
                      <a:pt x="15637" y="10133"/>
                      <a:pt x="15626" y="10139"/>
                      <a:pt x="15626" y="10127"/>
                    </a:cubicBezTo>
                    <a:cubicBezTo>
                      <a:pt x="15619" y="10115"/>
                      <a:pt x="15619" y="10092"/>
                      <a:pt x="15626" y="10056"/>
                    </a:cubicBezTo>
                    <a:cubicBezTo>
                      <a:pt x="15634" y="9867"/>
                      <a:pt x="15626" y="9720"/>
                      <a:pt x="15604" y="9614"/>
                    </a:cubicBezTo>
                    <a:cubicBezTo>
                      <a:pt x="15589" y="9555"/>
                      <a:pt x="15604" y="9508"/>
                      <a:pt x="15648" y="9472"/>
                    </a:cubicBezTo>
                    <a:cubicBezTo>
                      <a:pt x="15715" y="9401"/>
                      <a:pt x="15767" y="9348"/>
                      <a:pt x="15805" y="9313"/>
                    </a:cubicBezTo>
                    <a:cubicBezTo>
                      <a:pt x="15864" y="9254"/>
                      <a:pt x="15916" y="9201"/>
                      <a:pt x="15961" y="9154"/>
                    </a:cubicBezTo>
                    <a:cubicBezTo>
                      <a:pt x="16005" y="9130"/>
                      <a:pt x="16013" y="9077"/>
                      <a:pt x="15983" y="8994"/>
                    </a:cubicBezTo>
                    <a:cubicBezTo>
                      <a:pt x="15924" y="8853"/>
                      <a:pt x="15849" y="8741"/>
                      <a:pt x="15760" y="8658"/>
                    </a:cubicBezTo>
                    <a:cubicBezTo>
                      <a:pt x="15741" y="8652"/>
                      <a:pt x="15726" y="8649"/>
                      <a:pt x="15713" y="8649"/>
                    </a:cubicBezTo>
                    <a:close/>
                    <a:moveTo>
                      <a:pt x="14756" y="9136"/>
                    </a:moveTo>
                    <a:cubicBezTo>
                      <a:pt x="14734" y="9136"/>
                      <a:pt x="14719" y="9142"/>
                      <a:pt x="14712" y="9154"/>
                    </a:cubicBezTo>
                    <a:cubicBezTo>
                      <a:pt x="14712" y="9165"/>
                      <a:pt x="14715" y="9177"/>
                      <a:pt x="14723" y="9189"/>
                    </a:cubicBezTo>
                    <a:cubicBezTo>
                      <a:pt x="14738" y="9283"/>
                      <a:pt x="14764" y="9360"/>
                      <a:pt x="14801" y="9419"/>
                    </a:cubicBezTo>
                    <a:cubicBezTo>
                      <a:pt x="14823" y="9431"/>
                      <a:pt x="14823" y="9460"/>
                      <a:pt x="14801" y="9508"/>
                    </a:cubicBezTo>
                    <a:cubicBezTo>
                      <a:pt x="14778" y="9555"/>
                      <a:pt x="14741" y="9614"/>
                      <a:pt x="14689" y="9685"/>
                    </a:cubicBezTo>
                    <a:cubicBezTo>
                      <a:pt x="14667" y="9708"/>
                      <a:pt x="14652" y="9726"/>
                      <a:pt x="14645" y="9738"/>
                    </a:cubicBezTo>
                    <a:cubicBezTo>
                      <a:pt x="14600" y="9785"/>
                      <a:pt x="14600" y="9797"/>
                      <a:pt x="14645" y="9773"/>
                    </a:cubicBezTo>
                    <a:cubicBezTo>
                      <a:pt x="14689" y="9761"/>
                      <a:pt x="14764" y="9744"/>
                      <a:pt x="14868" y="9720"/>
                    </a:cubicBezTo>
                    <a:cubicBezTo>
                      <a:pt x="14935" y="9696"/>
                      <a:pt x="14987" y="9679"/>
                      <a:pt x="15024" y="9667"/>
                    </a:cubicBezTo>
                    <a:cubicBezTo>
                      <a:pt x="15106" y="9631"/>
                      <a:pt x="15132" y="9543"/>
                      <a:pt x="15102" y="9401"/>
                    </a:cubicBezTo>
                    <a:cubicBezTo>
                      <a:pt x="15020" y="9236"/>
                      <a:pt x="14905" y="9148"/>
                      <a:pt x="14756" y="9136"/>
                    </a:cubicBezTo>
                    <a:close/>
                    <a:moveTo>
                      <a:pt x="12715" y="9273"/>
                    </a:moveTo>
                    <a:cubicBezTo>
                      <a:pt x="12668" y="9273"/>
                      <a:pt x="12623" y="9310"/>
                      <a:pt x="12581" y="9384"/>
                    </a:cubicBezTo>
                    <a:cubicBezTo>
                      <a:pt x="12418" y="9596"/>
                      <a:pt x="12302" y="9667"/>
                      <a:pt x="12235" y="9596"/>
                    </a:cubicBezTo>
                    <a:cubicBezTo>
                      <a:pt x="12213" y="9584"/>
                      <a:pt x="12198" y="9578"/>
                      <a:pt x="12191" y="9578"/>
                    </a:cubicBezTo>
                    <a:cubicBezTo>
                      <a:pt x="12183" y="9590"/>
                      <a:pt x="12187" y="9608"/>
                      <a:pt x="12202" y="9631"/>
                    </a:cubicBezTo>
                    <a:cubicBezTo>
                      <a:pt x="12284" y="9879"/>
                      <a:pt x="12373" y="10009"/>
                      <a:pt x="12470" y="10021"/>
                    </a:cubicBezTo>
                    <a:cubicBezTo>
                      <a:pt x="12559" y="10009"/>
                      <a:pt x="12641" y="9879"/>
                      <a:pt x="12715" y="9631"/>
                    </a:cubicBezTo>
                    <a:cubicBezTo>
                      <a:pt x="12723" y="9608"/>
                      <a:pt x="12734" y="9602"/>
                      <a:pt x="12749" y="9614"/>
                    </a:cubicBezTo>
                    <a:cubicBezTo>
                      <a:pt x="12763" y="9637"/>
                      <a:pt x="12767" y="9661"/>
                      <a:pt x="12760" y="9685"/>
                    </a:cubicBezTo>
                    <a:cubicBezTo>
                      <a:pt x="12723" y="9862"/>
                      <a:pt x="12678" y="10050"/>
                      <a:pt x="12626" y="10251"/>
                    </a:cubicBezTo>
                    <a:cubicBezTo>
                      <a:pt x="12440" y="10133"/>
                      <a:pt x="12243" y="10157"/>
                      <a:pt x="12035" y="10322"/>
                    </a:cubicBezTo>
                    <a:cubicBezTo>
                      <a:pt x="12012" y="10345"/>
                      <a:pt x="12001" y="10363"/>
                      <a:pt x="12001" y="10375"/>
                    </a:cubicBezTo>
                    <a:cubicBezTo>
                      <a:pt x="12001" y="10398"/>
                      <a:pt x="12012" y="10410"/>
                      <a:pt x="12035" y="10410"/>
                    </a:cubicBezTo>
                    <a:cubicBezTo>
                      <a:pt x="12213" y="10446"/>
                      <a:pt x="12362" y="10516"/>
                      <a:pt x="12481" y="10623"/>
                    </a:cubicBezTo>
                    <a:cubicBezTo>
                      <a:pt x="12302" y="11059"/>
                      <a:pt x="12131" y="11165"/>
                      <a:pt x="11968" y="10941"/>
                    </a:cubicBezTo>
                    <a:cubicBezTo>
                      <a:pt x="11945" y="10929"/>
                      <a:pt x="11931" y="10923"/>
                      <a:pt x="11923" y="10923"/>
                    </a:cubicBezTo>
                    <a:cubicBezTo>
                      <a:pt x="11923" y="10935"/>
                      <a:pt x="11927" y="10947"/>
                      <a:pt x="11934" y="10959"/>
                    </a:cubicBezTo>
                    <a:cubicBezTo>
                      <a:pt x="12105" y="11478"/>
                      <a:pt x="12332" y="11454"/>
                      <a:pt x="12615" y="10888"/>
                    </a:cubicBezTo>
                    <a:cubicBezTo>
                      <a:pt x="12644" y="10935"/>
                      <a:pt x="12670" y="11000"/>
                      <a:pt x="12693" y="11083"/>
                    </a:cubicBezTo>
                    <a:cubicBezTo>
                      <a:pt x="12723" y="11165"/>
                      <a:pt x="12771" y="11224"/>
                      <a:pt x="12838" y="11260"/>
                    </a:cubicBezTo>
                    <a:cubicBezTo>
                      <a:pt x="12868" y="11283"/>
                      <a:pt x="12886" y="11289"/>
                      <a:pt x="12894" y="11277"/>
                    </a:cubicBezTo>
                    <a:cubicBezTo>
                      <a:pt x="12901" y="11266"/>
                      <a:pt x="12905" y="11224"/>
                      <a:pt x="12905" y="11154"/>
                    </a:cubicBezTo>
                    <a:cubicBezTo>
                      <a:pt x="12882" y="10918"/>
                      <a:pt x="12849" y="10699"/>
                      <a:pt x="12804" y="10499"/>
                    </a:cubicBezTo>
                    <a:cubicBezTo>
                      <a:pt x="12856" y="10333"/>
                      <a:pt x="12897" y="10180"/>
                      <a:pt x="12927" y="10039"/>
                    </a:cubicBezTo>
                    <a:cubicBezTo>
                      <a:pt x="12949" y="9956"/>
                      <a:pt x="12979" y="9885"/>
                      <a:pt x="13016" y="9826"/>
                    </a:cubicBezTo>
                    <a:cubicBezTo>
                      <a:pt x="13031" y="9732"/>
                      <a:pt x="13024" y="9631"/>
                      <a:pt x="12994" y="9525"/>
                    </a:cubicBezTo>
                    <a:cubicBezTo>
                      <a:pt x="12927" y="9431"/>
                      <a:pt x="12864" y="9360"/>
                      <a:pt x="12804" y="9313"/>
                    </a:cubicBezTo>
                    <a:cubicBezTo>
                      <a:pt x="12774" y="9286"/>
                      <a:pt x="12744" y="9273"/>
                      <a:pt x="12715" y="9273"/>
                    </a:cubicBezTo>
                    <a:close/>
                    <a:moveTo>
                      <a:pt x="5449" y="8331"/>
                    </a:moveTo>
                    <a:cubicBezTo>
                      <a:pt x="5426" y="8336"/>
                      <a:pt x="5410" y="8357"/>
                      <a:pt x="5398" y="8393"/>
                    </a:cubicBezTo>
                    <a:cubicBezTo>
                      <a:pt x="5280" y="8593"/>
                      <a:pt x="5161" y="8888"/>
                      <a:pt x="5042" y="9277"/>
                    </a:cubicBezTo>
                    <a:cubicBezTo>
                      <a:pt x="5064" y="9065"/>
                      <a:pt x="4934" y="8841"/>
                      <a:pt x="4651" y="8605"/>
                    </a:cubicBezTo>
                    <a:cubicBezTo>
                      <a:pt x="4629" y="8593"/>
                      <a:pt x="4618" y="8593"/>
                      <a:pt x="4618" y="8605"/>
                    </a:cubicBezTo>
                    <a:cubicBezTo>
                      <a:pt x="4610" y="8605"/>
                      <a:pt x="4610" y="8617"/>
                      <a:pt x="4618" y="8640"/>
                    </a:cubicBezTo>
                    <a:cubicBezTo>
                      <a:pt x="4640" y="8888"/>
                      <a:pt x="4670" y="9030"/>
                      <a:pt x="4707" y="9065"/>
                    </a:cubicBezTo>
                    <a:cubicBezTo>
                      <a:pt x="4729" y="9124"/>
                      <a:pt x="4733" y="9171"/>
                      <a:pt x="4718" y="9207"/>
                    </a:cubicBezTo>
                    <a:cubicBezTo>
                      <a:pt x="4644" y="9348"/>
                      <a:pt x="4536" y="9449"/>
                      <a:pt x="4395" y="9508"/>
                    </a:cubicBezTo>
                    <a:cubicBezTo>
                      <a:pt x="4305" y="9649"/>
                      <a:pt x="4283" y="9844"/>
                      <a:pt x="4328" y="10092"/>
                    </a:cubicBezTo>
                    <a:cubicBezTo>
                      <a:pt x="4343" y="10151"/>
                      <a:pt x="4350" y="10257"/>
                      <a:pt x="4350" y="10410"/>
                    </a:cubicBezTo>
                    <a:cubicBezTo>
                      <a:pt x="4328" y="10776"/>
                      <a:pt x="4324" y="11130"/>
                      <a:pt x="4339" y="11472"/>
                    </a:cubicBezTo>
                    <a:cubicBezTo>
                      <a:pt x="4346" y="11732"/>
                      <a:pt x="4413" y="11891"/>
                      <a:pt x="4540" y="11950"/>
                    </a:cubicBezTo>
                    <a:cubicBezTo>
                      <a:pt x="4599" y="11974"/>
                      <a:pt x="4629" y="11956"/>
                      <a:pt x="4629" y="11897"/>
                    </a:cubicBezTo>
                    <a:cubicBezTo>
                      <a:pt x="4644" y="11567"/>
                      <a:pt x="4670" y="11301"/>
                      <a:pt x="4707" y="11100"/>
                    </a:cubicBezTo>
                    <a:cubicBezTo>
                      <a:pt x="4781" y="11077"/>
                      <a:pt x="4826" y="11059"/>
                      <a:pt x="4841" y="11047"/>
                    </a:cubicBezTo>
                    <a:cubicBezTo>
                      <a:pt x="4885" y="11012"/>
                      <a:pt x="4926" y="10994"/>
                      <a:pt x="4963" y="10994"/>
                    </a:cubicBezTo>
                    <a:cubicBezTo>
                      <a:pt x="4934" y="11065"/>
                      <a:pt x="4900" y="11124"/>
                      <a:pt x="4863" y="11171"/>
                    </a:cubicBezTo>
                    <a:cubicBezTo>
                      <a:pt x="4826" y="11218"/>
                      <a:pt x="4815" y="11319"/>
                      <a:pt x="4830" y="11472"/>
                    </a:cubicBezTo>
                    <a:cubicBezTo>
                      <a:pt x="4845" y="11578"/>
                      <a:pt x="4885" y="11596"/>
                      <a:pt x="4952" y="11525"/>
                    </a:cubicBezTo>
                    <a:cubicBezTo>
                      <a:pt x="5019" y="11443"/>
                      <a:pt x="5108" y="11384"/>
                      <a:pt x="5220" y="11348"/>
                    </a:cubicBezTo>
                    <a:cubicBezTo>
                      <a:pt x="5265" y="11738"/>
                      <a:pt x="5365" y="12038"/>
                      <a:pt x="5521" y="12251"/>
                    </a:cubicBezTo>
                    <a:cubicBezTo>
                      <a:pt x="5558" y="12322"/>
                      <a:pt x="5599" y="12322"/>
                      <a:pt x="5644" y="12251"/>
                    </a:cubicBezTo>
                    <a:cubicBezTo>
                      <a:pt x="5785" y="12015"/>
                      <a:pt x="5882" y="11732"/>
                      <a:pt x="5934" y="11401"/>
                    </a:cubicBezTo>
                    <a:cubicBezTo>
                      <a:pt x="6023" y="11460"/>
                      <a:pt x="6109" y="11496"/>
                      <a:pt x="6190" y="11508"/>
                    </a:cubicBezTo>
                    <a:cubicBezTo>
                      <a:pt x="6220" y="11519"/>
                      <a:pt x="6239" y="11513"/>
                      <a:pt x="6246" y="11490"/>
                    </a:cubicBezTo>
                    <a:cubicBezTo>
                      <a:pt x="6261" y="11466"/>
                      <a:pt x="6261" y="11431"/>
                      <a:pt x="6246" y="11384"/>
                    </a:cubicBezTo>
                    <a:cubicBezTo>
                      <a:pt x="6194" y="11266"/>
                      <a:pt x="6101" y="11183"/>
                      <a:pt x="5967" y="11136"/>
                    </a:cubicBezTo>
                    <a:cubicBezTo>
                      <a:pt x="5967" y="11100"/>
                      <a:pt x="5975" y="11036"/>
                      <a:pt x="5990" y="10941"/>
                    </a:cubicBezTo>
                    <a:cubicBezTo>
                      <a:pt x="5997" y="10859"/>
                      <a:pt x="6004" y="10794"/>
                      <a:pt x="6012" y="10746"/>
                    </a:cubicBezTo>
                    <a:cubicBezTo>
                      <a:pt x="6064" y="10758"/>
                      <a:pt x="6116" y="10770"/>
                      <a:pt x="6168" y="10782"/>
                    </a:cubicBezTo>
                    <a:cubicBezTo>
                      <a:pt x="6228" y="10817"/>
                      <a:pt x="6287" y="10835"/>
                      <a:pt x="6347" y="10835"/>
                    </a:cubicBezTo>
                    <a:cubicBezTo>
                      <a:pt x="6391" y="10823"/>
                      <a:pt x="6399" y="10770"/>
                      <a:pt x="6369" y="10676"/>
                    </a:cubicBezTo>
                    <a:cubicBezTo>
                      <a:pt x="6294" y="10546"/>
                      <a:pt x="6224" y="10475"/>
                      <a:pt x="6157" y="10463"/>
                    </a:cubicBezTo>
                    <a:cubicBezTo>
                      <a:pt x="6112" y="10463"/>
                      <a:pt x="6071" y="10463"/>
                      <a:pt x="6034" y="10463"/>
                    </a:cubicBezTo>
                    <a:cubicBezTo>
                      <a:pt x="6027" y="10404"/>
                      <a:pt x="6031" y="10357"/>
                      <a:pt x="6045" y="10322"/>
                    </a:cubicBezTo>
                    <a:cubicBezTo>
                      <a:pt x="6075" y="10168"/>
                      <a:pt x="6064" y="10050"/>
                      <a:pt x="6012" y="9968"/>
                    </a:cubicBezTo>
                    <a:cubicBezTo>
                      <a:pt x="5938" y="9873"/>
                      <a:pt x="5874" y="9808"/>
                      <a:pt x="5822" y="9773"/>
                    </a:cubicBezTo>
                    <a:cubicBezTo>
                      <a:pt x="5748" y="9714"/>
                      <a:pt x="5677" y="9732"/>
                      <a:pt x="5610" y="9826"/>
                    </a:cubicBezTo>
                    <a:cubicBezTo>
                      <a:pt x="5566" y="9862"/>
                      <a:pt x="5521" y="9897"/>
                      <a:pt x="5477" y="9932"/>
                    </a:cubicBezTo>
                    <a:cubicBezTo>
                      <a:pt x="5536" y="9602"/>
                      <a:pt x="5622" y="9395"/>
                      <a:pt x="5733" y="9313"/>
                    </a:cubicBezTo>
                    <a:cubicBezTo>
                      <a:pt x="5807" y="9266"/>
                      <a:pt x="5874" y="9207"/>
                      <a:pt x="5934" y="9136"/>
                    </a:cubicBezTo>
                    <a:cubicBezTo>
                      <a:pt x="5971" y="9089"/>
                      <a:pt x="5975" y="9041"/>
                      <a:pt x="5945" y="8994"/>
                    </a:cubicBezTo>
                    <a:cubicBezTo>
                      <a:pt x="5878" y="8841"/>
                      <a:pt x="5811" y="8800"/>
                      <a:pt x="5744" y="8870"/>
                    </a:cubicBezTo>
                    <a:cubicBezTo>
                      <a:pt x="5729" y="8882"/>
                      <a:pt x="5703" y="8894"/>
                      <a:pt x="5666" y="8906"/>
                    </a:cubicBezTo>
                    <a:cubicBezTo>
                      <a:pt x="5629" y="8929"/>
                      <a:pt x="5622" y="8918"/>
                      <a:pt x="5644" y="8870"/>
                    </a:cubicBezTo>
                    <a:cubicBezTo>
                      <a:pt x="5644" y="8835"/>
                      <a:pt x="5651" y="8806"/>
                      <a:pt x="5666" y="8782"/>
                    </a:cubicBezTo>
                    <a:cubicBezTo>
                      <a:pt x="5674" y="8640"/>
                      <a:pt x="5629" y="8499"/>
                      <a:pt x="5532" y="8357"/>
                    </a:cubicBezTo>
                    <a:cubicBezTo>
                      <a:pt x="5499" y="8334"/>
                      <a:pt x="5471" y="8325"/>
                      <a:pt x="5449" y="8331"/>
                    </a:cubicBezTo>
                    <a:close/>
                    <a:moveTo>
                      <a:pt x="7712" y="8410"/>
                    </a:moveTo>
                    <a:cubicBezTo>
                      <a:pt x="7696" y="8409"/>
                      <a:pt x="7679" y="8409"/>
                      <a:pt x="7663" y="8410"/>
                    </a:cubicBezTo>
                    <a:cubicBezTo>
                      <a:pt x="7588" y="8457"/>
                      <a:pt x="7566" y="8540"/>
                      <a:pt x="7596" y="8658"/>
                    </a:cubicBezTo>
                    <a:cubicBezTo>
                      <a:pt x="7596" y="8670"/>
                      <a:pt x="7599" y="8682"/>
                      <a:pt x="7607" y="8693"/>
                    </a:cubicBezTo>
                    <a:cubicBezTo>
                      <a:pt x="7607" y="8717"/>
                      <a:pt x="7611" y="8729"/>
                      <a:pt x="7618" y="8729"/>
                    </a:cubicBezTo>
                    <a:cubicBezTo>
                      <a:pt x="7625" y="8788"/>
                      <a:pt x="7633" y="8817"/>
                      <a:pt x="7640" y="8817"/>
                    </a:cubicBezTo>
                    <a:cubicBezTo>
                      <a:pt x="7655" y="8817"/>
                      <a:pt x="7666" y="8794"/>
                      <a:pt x="7674" y="8747"/>
                    </a:cubicBezTo>
                    <a:cubicBezTo>
                      <a:pt x="7681" y="8688"/>
                      <a:pt x="7692" y="8676"/>
                      <a:pt x="7707" y="8711"/>
                    </a:cubicBezTo>
                    <a:cubicBezTo>
                      <a:pt x="7722" y="8747"/>
                      <a:pt x="7730" y="8806"/>
                      <a:pt x="7730" y="8888"/>
                    </a:cubicBezTo>
                    <a:cubicBezTo>
                      <a:pt x="7722" y="8900"/>
                      <a:pt x="7718" y="8929"/>
                      <a:pt x="7718" y="8977"/>
                    </a:cubicBezTo>
                    <a:cubicBezTo>
                      <a:pt x="7696" y="9224"/>
                      <a:pt x="7659" y="9531"/>
                      <a:pt x="7607" y="9897"/>
                    </a:cubicBezTo>
                    <a:cubicBezTo>
                      <a:pt x="7443" y="10098"/>
                      <a:pt x="7261" y="10204"/>
                      <a:pt x="7060" y="10216"/>
                    </a:cubicBezTo>
                    <a:cubicBezTo>
                      <a:pt x="7016" y="10227"/>
                      <a:pt x="6990" y="10251"/>
                      <a:pt x="6982" y="10286"/>
                    </a:cubicBezTo>
                    <a:cubicBezTo>
                      <a:pt x="6967" y="10310"/>
                      <a:pt x="6975" y="10345"/>
                      <a:pt x="7005" y="10392"/>
                    </a:cubicBezTo>
                    <a:cubicBezTo>
                      <a:pt x="7071" y="10628"/>
                      <a:pt x="7224" y="10735"/>
                      <a:pt x="7462" y="10711"/>
                    </a:cubicBezTo>
                    <a:cubicBezTo>
                      <a:pt x="7387" y="11277"/>
                      <a:pt x="7235" y="11602"/>
                      <a:pt x="7005" y="11685"/>
                    </a:cubicBezTo>
                    <a:cubicBezTo>
                      <a:pt x="6967" y="11696"/>
                      <a:pt x="6949" y="11690"/>
                      <a:pt x="6949" y="11667"/>
                    </a:cubicBezTo>
                    <a:cubicBezTo>
                      <a:pt x="6949" y="11643"/>
                      <a:pt x="6967" y="11596"/>
                      <a:pt x="7005" y="11525"/>
                    </a:cubicBezTo>
                    <a:cubicBezTo>
                      <a:pt x="7019" y="11502"/>
                      <a:pt x="7023" y="11496"/>
                      <a:pt x="7016" y="11508"/>
                    </a:cubicBezTo>
                    <a:cubicBezTo>
                      <a:pt x="7008" y="11508"/>
                      <a:pt x="6990" y="11513"/>
                      <a:pt x="6960" y="11525"/>
                    </a:cubicBezTo>
                    <a:cubicBezTo>
                      <a:pt x="6878" y="11561"/>
                      <a:pt x="6822" y="11649"/>
                      <a:pt x="6793" y="11791"/>
                    </a:cubicBezTo>
                    <a:cubicBezTo>
                      <a:pt x="6763" y="11897"/>
                      <a:pt x="6822" y="11950"/>
                      <a:pt x="6971" y="11950"/>
                    </a:cubicBezTo>
                    <a:cubicBezTo>
                      <a:pt x="7358" y="11962"/>
                      <a:pt x="7577" y="11761"/>
                      <a:pt x="7629" y="11348"/>
                    </a:cubicBezTo>
                    <a:cubicBezTo>
                      <a:pt x="7696" y="10935"/>
                      <a:pt x="7778" y="10652"/>
                      <a:pt x="7875" y="10499"/>
                    </a:cubicBezTo>
                    <a:cubicBezTo>
                      <a:pt x="8053" y="10180"/>
                      <a:pt x="8261" y="9950"/>
                      <a:pt x="8499" y="9808"/>
                    </a:cubicBezTo>
                    <a:cubicBezTo>
                      <a:pt x="8611" y="9761"/>
                      <a:pt x="8633" y="9655"/>
                      <a:pt x="8566" y="9490"/>
                    </a:cubicBezTo>
                    <a:cubicBezTo>
                      <a:pt x="8521" y="9348"/>
                      <a:pt x="8402" y="9301"/>
                      <a:pt x="8209" y="9348"/>
                    </a:cubicBezTo>
                    <a:cubicBezTo>
                      <a:pt x="8127" y="9360"/>
                      <a:pt x="8057" y="9331"/>
                      <a:pt x="7997" y="9260"/>
                    </a:cubicBezTo>
                    <a:cubicBezTo>
                      <a:pt x="8005" y="9213"/>
                      <a:pt x="8023" y="9083"/>
                      <a:pt x="8053" y="8870"/>
                    </a:cubicBezTo>
                    <a:cubicBezTo>
                      <a:pt x="8060" y="8788"/>
                      <a:pt x="8049" y="8711"/>
                      <a:pt x="8020" y="8640"/>
                    </a:cubicBezTo>
                    <a:cubicBezTo>
                      <a:pt x="7928" y="8496"/>
                      <a:pt x="7826" y="8419"/>
                      <a:pt x="7712" y="8410"/>
                    </a:cubicBezTo>
                    <a:close/>
                    <a:moveTo>
                      <a:pt x="8092" y="11008"/>
                    </a:moveTo>
                    <a:cubicBezTo>
                      <a:pt x="8047" y="11005"/>
                      <a:pt x="8008" y="11012"/>
                      <a:pt x="7975" y="11030"/>
                    </a:cubicBezTo>
                    <a:cubicBezTo>
                      <a:pt x="7967" y="11030"/>
                      <a:pt x="7953" y="11036"/>
                      <a:pt x="7930" y="11047"/>
                    </a:cubicBezTo>
                    <a:cubicBezTo>
                      <a:pt x="7901" y="11047"/>
                      <a:pt x="7882" y="11047"/>
                      <a:pt x="7875" y="11047"/>
                    </a:cubicBezTo>
                    <a:cubicBezTo>
                      <a:pt x="7860" y="11047"/>
                      <a:pt x="7841" y="11053"/>
                      <a:pt x="7819" y="11065"/>
                    </a:cubicBezTo>
                    <a:cubicBezTo>
                      <a:pt x="7796" y="11065"/>
                      <a:pt x="7778" y="11065"/>
                      <a:pt x="7763" y="11065"/>
                    </a:cubicBezTo>
                    <a:cubicBezTo>
                      <a:pt x="7726" y="11077"/>
                      <a:pt x="7704" y="11089"/>
                      <a:pt x="7696" y="11100"/>
                    </a:cubicBezTo>
                    <a:cubicBezTo>
                      <a:pt x="7689" y="11112"/>
                      <a:pt x="7704" y="11118"/>
                      <a:pt x="7741" y="11118"/>
                    </a:cubicBezTo>
                    <a:cubicBezTo>
                      <a:pt x="7882" y="11130"/>
                      <a:pt x="8001" y="11207"/>
                      <a:pt x="8098" y="11348"/>
                    </a:cubicBezTo>
                    <a:cubicBezTo>
                      <a:pt x="8172" y="11466"/>
                      <a:pt x="8239" y="11549"/>
                      <a:pt x="8298" y="11596"/>
                    </a:cubicBezTo>
                    <a:cubicBezTo>
                      <a:pt x="8425" y="11773"/>
                      <a:pt x="8529" y="11891"/>
                      <a:pt x="8611" y="11950"/>
                    </a:cubicBezTo>
                    <a:cubicBezTo>
                      <a:pt x="8618" y="11950"/>
                      <a:pt x="8629" y="11962"/>
                      <a:pt x="8644" y="11985"/>
                    </a:cubicBezTo>
                    <a:cubicBezTo>
                      <a:pt x="8726" y="12068"/>
                      <a:pt x="8785" y="12103"/>
                      <a:pt x="8823" y="12092"/>
                    </a:cubicBezTo>
                    <a:cubicBezTo>
                      <a:pt x="8867" y="12080"/>
                      <a:pt x="8889" y="12021"/>
                      <a:pt x="8889" y="11915"/>
                    </a:cubicBezTo>
                    <a:cubicBezTo>
                      <a:pt x="8904" y="11513"/>
                      <a:pt x="8689" y="11224"/>
                      <a:pt x="8243" y="11047"/>
                    </a:cubicBezTo>
                    <a:cubicBezTo>
                      <a:pt x="8187" y="11024"/>
                      <a:pt x="8137" y="11010"/>
                      <a:pt x="8092" y="11008"/>
                    </a:cubicBezTo>
                    <a:close/>
                    <a:moveTo>
                      <a:pt x="2342" y="8587"/>
                    </a:moveTo>
                    <a:cubicBezTo>
                      <a:pt x="2335" y="8587"/>
                      <a:pt x="2331" y="8599"/>
                      <a:pt x="2331" y="8623"/>
                    </a:cubicBezTo>
                    <a:cubicBezTo>
                      <a:pt x="2316" y="8788"/>
                      <a:pt x="2331" y="8953"/>
                      <a:pt x="2376" y="9118"/>
                    </a:cubicBezTo>
                    <a:cubicBezTo>
                      <a:pt x="2458" y="9390"/>
                      <a:pt x="2480" y="9808"/>
                      <a:pt x="2443" y="10375"/>
                    </a:cubicBezTo>
                    <a:cubicBezTo>
                      <a:pt x="2421" y="10410"/>
                      <a:pt x="2391" y="10457"/>
                      <a:pt x="2354" y="10516"/>
                    </a:cubicBezTo>
                    <a:cubicBezTo>
                      <a:pt x="2316" y="10564"/>
                      <a:pt x="2294" y="10593"/>
                      <a:pt x="2287" y="10605"/>
                    </a:cubicBezTo>
                    <a:cubicBezTo>
                      <a:pt x="2257" y="10640"/>
                      <a:pt x="2246" y="10670"/>
                      <a:pt x="2253" y="10693"/>
                    </a:cubicBezTo>
                    <a:cubicBezTo>
                      <a:pt x="2253" y="10705"/>
                      <a:pt x="2268" y="10693"/>
                      <a:pt x="2298" y="10658"/>
                    </a:cubicBezTo>
                    <a:cubicBezTo>
                      <a:pt x="2313" y="10646"/>
                      <a:pt x="2342" y="10617"/>
                      <a:pt x="2387" y="10569"/>
                    </a:cubicBezTo>
                    <a:cubicBezTo>
                      <a:pt x="2409" y="10546"/>
                      <a:pt x="2424" y="10528"/>
                      <a:pt x="2432" y="10516"/>
                    </a:cubicBezTo>
                    <a:cubicBezTo>
                      <a:pt x="2424" y="10611"/>
                      <a:pt x="2413" y="10741"/>
                      <a:pt x="2398" y="10906"/>
                    </a:cubicBezTo>
                    <a:cubicBezTo>
                      <a:pt x="2391" y="10977"/>
                      <a:pt x="2387" y="11047"/>
                      <a:pt x="2387" y="11118"/>
                    </a:cubicBezTo>
                    <a:cubicBezTo>
                      <a:pt x="2350" y="11142"/>
                      <a:pt x="2302" y="11159"/>
                      <a:pt x="2242" y="11171"/>
                    </a:cubicBezTo>
                    <a:cubicBezTo>
                      <a:pt x="2108" y="11230"/>
                      <a:pt x="1971" y="11289"/>
                      <a:pt x="1829" y="11348"/>
                    </a:cubicBezTo>
                    <a:cubicBezTo>
                      <a:pt x="1755" y="11384"/>
                      <a:pt x="1722" y="11372"/>
                      <a:pt x="1729" y="11313"/>
                    </a:cubicBezTo>
                    <a:cubicBezTo>
                      <a:pt x="1729" y="11277"/>
                      <a:pt x="1710" y="11260"/>
                      <a:pt x="1673" y="11260"/>
                    </a:cubicBezTo>
                    <a:cubicBezTo>
                      <a:pt x="1629" y="11354"/>
                      <a:pt x="1614" y="11431"/>
                      <a:pt x="1629" y="11490"/>
                    </a:cubicBezTo>
                    <a:cubicBezTo>
                      <a:pt x="1651" y="11620"/>
                      <a:pt x="1684" y="11720"/>
                      <a:pt x="1729" y="11791"/>
                    </a:cubicBezTo>
                    <a:cubicBezTo>
                      <a:pt x="1759" y="11838"/>
                      <a:pt x="1815" y="11832"/>
                      <a:pt x="1896" y="11773"/>
                    </a:cubicBezTo>
                    <a:cubicBezTo>
                      <a:pt x="2030" y="11714"/>
                      <a:pt x="2209" y="11631"/>
                      <a:pt x="2432" y="11525"/>
                    </a:cubicBezTo>
                    <a:cubicBezTo>
                      <a:pt x="2461" y="11525"/>
                      <a:pt x="2487" y="11543"/>
                      <a:pt x="2510" y="11578"/>
                    </a:cubicBezTo>
                    <a:cubicBezTo>
                      <a:pt x="2532" y="11614"/>
                      <a:pt x="2554" y="11614"/>
                      <a:pt x="2577" y="11578"/>
                    </a:cubicBezTo>
                    <a:cubicBezTo>
                      <a:pt x="2592" y="11519"/>
                      <a:pt x="2618" y="11484"/>
                      <a:pt x="2655" y="11472"/>
                    </a:cubicBezTo>
                    <a:cubicBezTo>
                      <a:pt x="2841" y="11472"/>
                      <a:pt x="2993" y="11472"/>
                      <a:pt x="3112" y="11472"/>
                    </a:cubicBezTo>
                    <a:cubicBezTo>
                      <a:pt x="3238" y="11484"/>
                      <a:pt x="3324" y="11496"/>
                      <a:pt x="3369" y="11508"/>
                    </a:cubicBezTo>
                    <a:cubicBezTo>
                      <a:pt x="3450" y="11578"/>
                      <a:pt x="3532" y="11608"/>
                      <a:pt x="3614" y="11596"/>
                    </a:cubicBezTo>
                    <a:cubicBezTo>
                      <a:pt x="3681" y="11561"/>
                      <a:pt x="3707" y="11472"/>
                      <a:pt x="3692" y="11331"/>
                    </a:cubicBezTo>
                    <a:cubicBezTo>
                      <a:pt x="3625" y="11095"/>
                      <a:pt x="3536" y="10977"/>
                      <a:pt x="3424" y="10977"/>
                    </a:cubicBezTo>
                    <a:cubicBezTo>
                      <a:pt x="3320" y="11000"/>
                      <a:pt x="3209" y="11018"/>
                      <a:pt x="3090" y="11030"/>
                    </a:cubicBezTo>
                    <a:cubicBezTo>
                      <a:pt x="2963" y="11041"/>
                      <a:pt x="2829" y="11041"/>
                      <a:pt x="2688" y="11030"/>
                    </a:cubicBezTo>
                    <a:cubicBezTo>
                      <a:pt x="2696" y="10888"/>
                      <a:pt x="2696" y="10746"/>
                      <a:pt x="2688" y="10605"/>
                    </a:cubicBezTo>
                    <a:cubicBezTo>
                      <a:pt x="2681" y="10475"/>
                      <a:pt x="2684" y="10339"/>
                      <a:pt x="2699" y="10198"/>
                    </a:cubicBezTo>
                    <a:cubicBezTo>
                      <a:pt x="2796" y="10044"/>
                      <a:pt x="2908" y="9897"/>
                      <a:pt x="3034" y="9755"/>
                    </a:cubicBezTo>
                    <a:cubicBezTo>
                      <a:pt x="3093" y="9685"/>
                      <a:pt x="3157" y="9643"/>
                      <a:pt x="3224" y="9631"/>
                    </a:cubicBezTo>
                    <a:cubicBezTo>
                      <a:pt x="3268" y="9596"/>
                      <a:pt x="3290" y="9525"/>
                      <a:pt x="3290" y="9419"/>
                    </a:cubicBezTo>
                    <a:cubicBezTo>
                      <a:pt x="3283" y="9313"/>
                      <a:pt x="3231" y="9236"/>
                      <a:pt x="3134" y="9189"/>
                    </a:cubicBezTo>
                    <a:cubicBezTo>
                      <a:pt x="3030" y="9142"/>
                      <a:pt x="2963" y="9148"/>
                      <a:pt x="2934" y="9207"/>
                    </a:cubicBezTo>
                    <a:cubicBezTo>
                      <a:pt x="2904" y="9242"/>
                      <a:pt x="2863" y="9266"/>
                      <a:pt x="2811" y="9277"/>
                    </a:cubicBezTo>
                    <a:cubicBezTo>
                      <a:pt x="2766" y="9289"/>
                      <a:pt x="2748" y="9266"/>
                      <a:pt x="2755" y="9207"/>
                    </a:cubicBezTo>
                    <a:cubicBezTo>
                      <a:pt x="2748" y="9053"/>
                      <a:pt x="2722" y="8941"/>
                      <a:pt x="2677" y="8870"/>
                    </a:cubicBezTo>
                    <a:cubicBezTo>
                      <a:pt x="2640" y="8811"/>
                      <a:pt x="2543" y="8723"/>
                      <a:pt x="2387" y="8605"/>
                    </a:cubicBezTo>
                    <a:cubicBezTo>
                      <a:pt x="2357" y="8593"/>
                      <a:pt x="2342" y="8587"/>
                      <a:pt x="2342" y="8587"/>
                    </a:cubicBezTo>
                    <a:close/>
                  </a:path>
                </a:pathLst>
              </a:custGeom>
              <a:solidFill>
                <a:srgbClr val="FFFFFF">
                  <a:alpha val="94000"/>
                </a:srgbClr>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sp>
            <p:nvSpPr>
              <p:cNvPr id="1836" name="任意多边形 72"/>
              <p:cNvSpPr/>
              <p:nvPr/>
            </p:nvSpPr>
            <p:spPr>
              <a:xfrm rot="2374127">
                <a:off x="9476227" y="5103274"/>
                <a:ext cx="4232416" cy="2751043"/>
              </a:xfrm>
              <a:custGeom>
                <a:avLst/>
                <a:gdLst/>
                <a:ahLst/>
                <a:cxnLst>
                  <a:cxn ang="0">
                    <a:pos x="wd2" y="hd2"/>
                  </a:cxn>
                  <a:cxn ang="5400000">
                    <a:pos x="wd2" y="hd2"/>
                  </a:cxn>
                  <a:cxn ang="10800000">
                    <a:pos x="wd2" y="hd2"/>
                  </a:cxn>
                  <a:cxn ang="16200000">
                    <a:pos x="wd2" y="hd2"/>
                  </a:cxn>
                </a:cxnLst>
                <a:rect l="0" t="0" r="r" b="b"/>
                <a:pathLst>
                  <a:path w="21600" h="21600" extrusionOk="0">
                    <a:moveTo>
                      <a:pt x="15502" y="21600"/>
                    </a:moveTo>
                    <a:lnTo>
                      <a:pt x="19624" y="16883"/>
                    </a:lnTo>
                    <a:lnTo>
                      <a:pt x="21600" y="21600"/>
                    </a:lnTo>
                    <a:close/>
                    <a:moveTo>
                      <a:pt x="9048" y="0"/>
                    </a:moveTo>
                    <a:lnTo>
                      <a:pt x="15364" y="10582"/>
                    </a:lnTo>
                    <a:lnTo>
                      <a:pt x="5734" y="21600"/>
                    </a:lnTo>
                    <a:lnTo>
                      <a:pt x="0" y="21600"/>
                    </a:lnTo>
                    <a:close/>
                  </a:path>
                </a:pathLst>
              </a:custGeom>
              <a:solidFill>
                <a:srgbClr val="F2F2F2"/>
              </a:solidFill>
              <a:ln w="12700" cap="flat">
                <a:noFill/>
                <a:miter lim="400000"/>
              </a:ln>
              <a:effectLst/>
            </p:spPr>
            <p:txBody>
              <a:bodyPr wrap="square" lIns="45719" tIns="45719" rIns="45719" bIns="45719" numCol="1" anchor="ctr">
                <a:noAutofit/>
              </a:bodyPr>
              <a:lstStyle/>
              <a:p>
                <a:pPr algn="ctr" defTabSz="914400">
                  <a:defRPr>
                    <a:solidFill>
                      <a:srgbClr val="FFFFFF"/>
                    </a:solidFill>
                    <a:latin typeface="+mj-lt"/>
                    <a:ea typeface="+mj-ea"/>
                    <a:cs typeface="+mj-cs"/>
                    <a:sym typeface="Calibri" panose="020F0502020204030204"/>
                  </a:defRPr>
                </a:pPr>
                <a:endParaRPr/>
              </a:p>
            </p:txBody>
          </p:sp>
          <p:grpSp>
            <p:nvGrpSpPr>
              <p:cNvPr id="1870" name="组合 74"/>
              <p:cNvGrpSpPr/>
              <p:nvPr/>
            </p:nvGrpSpPr>
            <p:grpSpPr>
              <a:xfrm>
                <a:off x="5484329" y="571709"/>
                <a:ext cx="1533686" cy="1694487"/>
                <a:chOff x="-1" y="-1"/>
                <a:chExt cx="1533684" cy="1694485"/>
              </a:xfrm>
            </p:grpSpPr>
            <p:sp>
              <p:nvSpPr>
                <p:cNvPr id="1838" name="Freeform 10"/>
                <p:cNvSpPr/>
                <p:nvPr/>
              </p:nvSpPr>
              <p:spPr>
                <a:xfrm>
                  <a:off x="-1" y="-1"/>
                  <a:ext cx="1533684" cy="1694485"/>
                </a:xfrm>
                <a:custGeom>
                  <a:avLst/>
                  <a:gdLst/>
                  <a:ahLst/>
                  <a:cxnLst>
                    <a:cxn ang="0">
                      <a:pos x="wd2" y="hd2"/>
                    </a:cxn>
                    <a:cxn ang="5400000">
                      <a:pos x="wd2" y="hd2"/>
                    </a:cxn>
                    <a:cxn ang="10800000">
                      <a:pos x="wd2" y="hd2"/>
                    </a:cxn>
                    <a:cxn ang="16200000">
                      <a:pos x="wd2" y="hd2"/>
                    </a:cxn>
                  </a:cxnLst>
                  <a:rect l="0" t="0" r="r" b="b"/>
                  <a:pathLst>
                    <a:path w="21600" h="21600" extrusionOk="0">
                      <a:moveTo>
                        <a:pt x="11793" y="21600"/>
                      </a:moveTo>
                      <a:cubicBezTo>
                        <a:pt x="9807" y="21600"/>
                        <a:pt x="9807" y="21600"/>
                        <a:pt x="9807" y="21600"/>
                      </a:cubicBezTo>
                      <a:cubicBezTo>
                        <a:pt x="7200" y="21600"/>
                        <a:pt x="4717" y="20687"/>
                        <a:pt x="2855" y="19065"/>
                      </a:cubicBezTo>
                      <a:cubicBezTo>
                        <a:pt x="993" y="17442"/>
                        <a:pt x="0" y="15414"/>
                        <a:pt x="0" y="13285"/>
                      </a:cubicBezTo>
                      <a:cubicBezTo>
                        <a:pt x="0" y="8315"/>
                        <a:pt x="0" y="8315"/>
                        <a:pt x="0" y="8315"/>
                      </a:cubicBezTo>
                      <a:cubicBezTo>
                        <a:pt x="0" y="3651"/>
                        <a:pt x="4345" y="0"/>
                        <a:pt x="9807" y="0"/>
                      </a:cubicBezTo>
                      <a:cubicBezTo>
                        <a:pt x="11793" y="0"/>
                        <a:pt x="11793" y="0"/>
                        <a:pt x="11793" y="0"/>
                      </a:cubicBezTo>
                      <a:cubicBezTo>
                        <a:pt x="17255" y="0"/>
                        <a:pt x="21600" y="3651"/>
                        <a:pt x="21600" y="8315"/>
                      </a:cubicBezTo>
                      <a:cubicBezTo>
                        <a:pt x="21600" y="13183"/>
                        <a:pt x="21600" y="13183"/>
                        <a:pt x="21600" y="13183"/>
                      </a:cubicBezTo>
                      <a:cubicBezTo>
                        <a:pt x="21600" y="15414"/>
                        <a:pt x="20607" y="17544"/>
                        <a:pt x="18745" y="19166"/>
                      </a:cubicBezTo>
                      <a:cubicBezTo>
                        <a:pt x="16883" y="20789"/>
                        <a:pt x="14400" y="21600"/>
                        <a:pt x="11793" y="21600"/>
                      </a:cubicBezTo>
                      <a:close/>
                      <a:moveTo>
                        <a:pt x="9807" y="203"/>
                      </a:moveTo>
                      <a:cubicBezTo>
                        <a:pt x="4593" y="203"/>
                        <a:pt x="248" y="3854"/>
                        <a:pt x="248" y="8315"/>
                      </a:cubicBezTo>
                      <a:cubicBezTo>
                        <a:pt x="248" y="13285"/>
                        <a:pt x="248" y="13285"/>
                        <a:pt x="248" y="13285"/>
                      </a:cubicBezTo>
                      <a:cubicBezTo>
                        <a:pt x="248" y="17544"/>
                        <a:pt x="4841" y="21397"/>
                        <a:pt x="9807" y="21397"/>
                      </a:cubicBezTo>
                      <a:cubicBezTo>
                        <a:pt x="11793" y="21397"/>
                        <a:pt x="11793" y="21397"/>
                        <a:pt x="11793" y="21397"/>
                      </a:cubicBezTo>
                      <a:cubicBezTo>
                        <a:pt x="17007" y="21397"/>
                        <a:pt x="21352" y="17746"/>
                        <a:pt x="21352" y="13183"/>
                      </a:cubicBezTo>
                      <a:cubicBezTo>
                        <a:pt x="21352" y="8315"/>
                        <a:pt x="21352" y="8315"/>
                        <a:pt x="21352" y="8315"/>
                      </a:cubicBezTo>
                      <a:cubicBezTo>
                        <a:pt x="21352" y="3854"/>
                        <a:pt x="17007" y="203"/>
                        <a:pt x="11793" y="203"/>
                      </a:cubicBezTo>
                      <a:cubicBezTo>
                        <a:pt x="9807" y="203"/>
                        <a:pt x="9807" y="203"/>
                        <a:pt x="9807" y="203"/>
                      </a:cubicBez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39" name="Freeform 11"/>
                <p:cNvSpPr/>
                <p:nvPr/>
              </p:nvSpPr>
              <p:spPr>
                <a:xfrm>
                  <a:off x="44562" y="865624"/>
                  <a:ext cx="122548" cy="73529"/>
                </a:xfrm>
                <a:custGeom>
                  <a:avLst/>
                  <a:gdLst/>
                  <a:ahLst/>
                  <a:cxnLst>
                    <a:cxn ang="0">
                      <a:pos x="wd2" y="hd2"/>
                    </a:cxn>
                    <a:cxn ang="5400000">
                      <a:pos x="wd2" y="hd2"/>
                    </a:cxn>
                    <a:cxn ang="10800000">
                      <a:pos x="wd2" y="hd2"/>
                    </a:cxn>
                    <a:cxn ang="16200000">
                      <a:pos x="wd2" y="hd2"/>
                    </a:cxn>
                  </a:cxnLst>
                  <a:rect l="0" t="0" r="r" b="b"/>
                  <a:pathLst>
                    <a:path w="21600" h="21600" extrusionOk="0">
                      <a:moveTo>
                        <a:pt x="6171" y="0"/>
                      </a:moveTo>
                      <a:cubicBezTo>
                        <a:pt x="7714" y="4800"/>
                        <a:pt x="7714" y="4800"/>
                        <a:pt x="7714" y="4800"/>
                      </a:cubicBezTo>
                      <a:cubicBezTo>
                        <a:pt x="6171" y="4800"/>
                        <a:pt x="4629" y="7200"/>
                        <a:pt x="4629" y="7200"/>
                      </a:cubicBezTo>
                      <a:cubicBezTo>
                        <a:pt x="3086" y="9600"/>
                        <a:pt x="3086" y="9600"/>
                        <a:pt x="3086" y="12000"/>
                      </a:cubicBezTo>
                      <a:cubicBezTo>
                        <a:pt x="3086" y="14400"/>
                        <a:pt x="3086" y="14400"/>
                        <a:pt x="4629" y="16800"/>
                      </a:cubicBezTo>
                      <a:cubicBezTo>
                        <a:pt x="4629" y="16800"/>
                        <a:pt x="4629" y="16800"/>
                        <a:pt x="6171" y="16800"/>
                      </a:cubicBezTo>
                      <a:cubicBezTo>
                        <a:pt x="6171" y="16800"/>
                        <a:pt x="6171" y="16800"/>
                        <a:pt x="7714" y="16800"/>
                      </a:cubicBezTo>
                      <a:cubicBezTo>
                        <a:pt x="7714" y="16800"/>
                        <a:pt x="7714" y="14400"/>
                        <a:pt x="7714" y="14400"/>
                      </a:cubicBezTo>
                      <a:cubicBezTo>
                        <a:pt x="7714" y="14400"/>
                        <a:pt x="9257" y="12000"/>
                        <a:pt x="9257" y="9600"/>
                      </a:cubicBezTo>
                      <a:cubicBezTo>
                        <a:pt x="9257" y="7200"/>
                        <a:pt x="10800" y="4800"/>
                        <a:pt x="10800" y="2400"/>
                      </a:cubicBezTo>
                      <a:cubicBezTo>
                        <a:pt x="12343" y="2400"/>
                        <a:pt x="13886" y="0"/>
                        <a:pt x="15429" y="0"/>
                      </a:cubicBezTo>
                      <a:cubicBezTo>
                        <a:pt x="16971" y="0"/>
                        <a:pt x="16971" y="2400"/>
                        <a:pt x="18514" y="2400"/>
                      </a:cubicBezTo>
                      <a:cubicBezTo>
                        <a:pt x="18514" y="2400"/>
                        <a:pt x="20057" y="4800"/>
                        <a:pt x="20057" y="4800"/>
                      </a:cubicBezTo>
                      <a:cubicBezTo>
                        <a:pt x="20057" y="7200"/>
                        <a:pt x="21600" y="9600"/>
                        <a:pt x="21600" y="12000"/>
                      </a:cubicBezTo>
                      <a:cubicBezTo>
                        <a:pt x="21600" y="14400"/>
                        <a:pt x="20057" y="16800"/>
                        <a:pt x="18514" y="19200"/>
                      </a:cubicBezTo>
                      <a:cubicBezTo>
                        <a:pt x="18514" y="21600"/>
                        <a:pt x="16971" y="21600"/>
                        <a:pt x="15429" y="21600"/>
                      </a:cubicBezTo>
                      <a:cubicBezTo>
                        <a:pt x="13886" y="16800"/>
                        <a:pt x="13886" y="16800"/>
                        <a:pt x="13886" y="16800"/>
                      </a:cubicBezTo>
                      <a:cubicBezTo>
                        <a:pt x="15429" y="16800"/>
                        <a:pt x="16971" y="14400"/>
                        <a:pt x="16971" y="14400"/>
                      </a:cubicBezTo>
                      <a:cubicBezTo>
                        <a:pt x="16971" y="14400"/>
                        <a:pt x="16971" y="12000"/>
                        <a:pt x="16971" y="12000"/>
                      </a:cubicBezTo>
                      <a:cubicBezTo>
                        <a:pt x="16971" y="9600"/>
                        <a:pt x="16971" y="7200"/>
                        <a:pt x="16971" y="7200"/>
                      </a:cubicBezTo>
                      <a:cubicBezTo>
                        <a:pt x="16971" y="7200"/>
                        <a:pt x="15429" y="7200"/>
                        <a:pt x="15429" y="7200"/>
                      </a:cubicBezTo>
                      <a:cubicBezTo>
                        <a:pt x="15429" y="7200"/>
                        <a:pt x="13886" y="7200"/>
                        <a:pt x="13886" y="7200"/>
                      </a:cubicBezTo>
                      <a:cubicBezTo>
                        <a:pt x="13886" y="7200"/>
                        <a:pt x="13886" y="9600"/>
                        <a:pt x="12343" y="12000"/>
                      </a:cubicBezTo>
                      <a:cubicBezTo>
                        <a:pt x="12343" y="14400"/>
                        <a:pt x="12343" y="16800"/>
                        <a:pt x="10800" y="19200"/>
                      </a:cubicBezTo>
                      <a:cubicBezTo>
                        <a:pt x="10800" y="19200"/>
                        <a:pt x="10800" y="21600"/>
                        <a:pt x="9257" y="21600"/>
                      </a:cubicBezTo>
                      <a:cubicBezTo>
                        <a:pt x="7714" y="21600"/>
                        <a:pt x="7714" y="21600"/>
                        <a:pt x="6171" y="21600"/>
                      </a:cubicBezTo>
                      <a:cubicBezTo>
                        <a:pt x="4629" y="21600"/>
                        <a:pt x="3086" y="21600"/>
                        <a:pt x="3086" y="21600"/>
                      </a:cubicBezTo>
                      <a:cubicBezTo>
                        <a:pt x="1543" y="21600"/>
                        <a:pt x="1543" y="19200"/>
                        <a:pt x="0" y="16800"/>
                      </a:cubicBezTo>
                      <a:cubicBezTo>
                        <a:pt x="0" y="16800"/>
                        <a:pt x="0" y="14400"/>
                        <a:pt x="0" y="12000"/>
                      </a:cubicBezTo>
                      <a:cubicBezTo>
                        <a:pt x="0" y="7200"/>
                        <a:pt x="0" y="4800"/>
                        <a:pt x="1543" y="2400"/>
                      </a:cubicBezTo>
                      <a:cubicBezTo>
                        <a:pt x="3086" y="2400"/>
                        <a:pt x="4629" y="0"/>
                        <a:pt x="6171" y="0"/>
                      </a:cubicBez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40" name="Freeform 12"/>
                <p:cNvSpPr/>
                <p:nvPr/>
              </p:nvSpPr>
              <p:spPr>
                <a:xfrm>
                  <a:off x="44562" y="979258"/>
                  <a:ext cx="133687" cy="80213"/>
                </a:xfrm>
                <a:custGeom>
                  <a:avLst/>
                  <a:gdLst/>
                  <a:ahLst/>
                  <a:cxnLst>
                    <a:cxn ang="0">
                      <a:pos x="wd2" y="hd2"/>
                    </a:cxn>
                    <a:cxn ang="5400000">
                      <a:pos x="wd2" y="hd2"/>
                    </a:cxn>
                    <a:cxn ang="10800000">
                      <a:pos x="wd2" y="hd2"/>
                    </a:cxn>
                    <a:cxn ang="16200000">
                      <a:pos x="wd2" y="hd2"/>
                    </a:cxn>
                  </a:cxnLst>
                  <a:rect l="0" t="0" r="r" b="b"/>
                  <a:pathLst>
                    <a:path w="21600" h="21600" extrusionOk="0">
                      <a:moveTo>
                        <a:pt x="0" y="1800"/>
                      </a:moveTo>
                      <a:lnTo>
                        <a:pt x="19800" y="0"/>
                      </a:lnTo>
                      <a:lnTo>
                        <a:pt x="19800" y="4500"/>
                      </a:lnTo>
                      <a:lnTo>
                        <a:pt x="13200" y="6300"/>
                      </a:lnTo>
                      <a:lnTo>
                        <a:pt x="13200" y="14400"/>
                      </a:lnTo>
                      <a:lnTo>
                        <a:pt x="19800" y="14400"/>
                      </a:lnTo>
                      <a:lnTo>
                        <a:pt x="21600" y="18900"/>
                      </a:lnTo>
                      <a:lnTo>
                        <a:pt x="1800" y="21600"/>
                      </a:lnTo>
                      <a:lnTo>
                        <a:pt x="1800" y="17100"/>
                      </a:lnTo>
                      <a:lnTo>
                        <a:pt x="10200" y="17100"/>
                      </a:lnTo>
                      <a:lnTo>
                        <a:pt x="9000" y="6300"/>
                      </a:lnTo>
                      <a:lnTo>
                        <a:pt x="1800" y="8100"/>
                      </a:lnTo>
                      <a:lnTo>
                        <a:pt x="0" y="1800"/>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41" name="Freeform 13"/>
                <p:cNvSpPr/>
                <p:nvPr/>
              </p:nvSpPr>
              <p:spPr>
                <a:xfrm>
                  <a:off x="63130" y="1106261"/>
                  <a:ext cx="133688" cy="86897"/>
                </a:xfrm>
                <a:custGeom>
                  <a:avLst/>
                  <a:gdLst/>
                  <a:ahLst/>
                  <a:cxnLst>
                    <a:cxn ang="0">
                      <a:pos x="wd2" y="hd2"/>
                    </a:cxn>
                    <a:cxn ang="5400000">
                      <a:pos x="wd2" y="hd2"/>
                    </a:cxn>
                    <a:cxn ang="10800000">
                      <a:pos x="wd2" y="hd2"/>
                    </a:cxn>
                    <a:cxn ang="16200000">
                      <a:pos x="wd2" y="hd2"/>
                    </a:cxn>
                  </a:cxnLst>
                  <a:rect l="0" t="0" r="r" b="b"/>
                  <a:pathLst>
                    <a:path w="21600" h="21600" extrusionOk="0">
                      <a:moveTo>
                        <a:pt x="4200" y="21600"/>
                      </a:moveTo>
                      <a:lnTo>
                        <a:pt x="3000" y="17446"/>
                      </a:lnTo>
                      <a:lnTo>
                        <a:pt x="7200" y="13292"/>
                      </a:lnTo>
                      <a:lnTo>
                        <a:pt x="6000" y="4154"/>
                      </a:lnTo>
                      <a:lnTo>
                        <a:pt x="1200" y="4154"/>
                      </a:lnTo>
                      <a:lnTo>
                        <a:pt x="0" y="0"/>
                      </a:lnTo>
                      <a:lnTo>
                        <a:pt x="19800" y="1662"/>
                      </a:lnTo>
                      <a:lnTo>
                        <a:pt x="21600" y="7477"/>
                      </a:lnTo>
                      <a:lnTo>
                        <a:pt x="4200" y="21600"/>
                      </a:lnTo>
                      <a:close/>
                      <a:moveTo>
                        <a:pt x="10200" y="11631"/>
                      </a:moveTo>
                      <a:lnTo>
                        <a:pt x="15600" y="5815"/>
                      </a:lnTo>
                      <a:lnTo>
                        <a:pt x="8400" y="5815"/>
                      </a:lnTo>
                      <a:lnTo>
                        <a:pt x="10200" y="11631"/>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42" name="Freeform 14"/>
                <p:cNvSpPr/>
                <p:nvPr/>
              </p:nvSpPr>
              <p:spPr>
                <a:xfrm>
                  <a:off x="100266" y="1193157"/>
                  <a:ext cx="137402" cy="110294"/>
                </a:xfrm>
                <a:custGeom>
                  <a:avLst/>
                  <a:gdLst/>
                  <a:ahLst/>
                  <a:cxnLst>
                    <a:cxn ang="0">
                      <a:pos x="wd2" y="hd2"/>
                    </a:cxn>
                    <a:cxn ang="5400000">
                      <a:pos x="wd2" y="hd2"/>
                    </a:cxn>
                    <a:cxn ang="10800000">
                      <a:pos x="wd2" y="hd2"/>
                    </a:cxn>
                    <a:cxn ang="16200000">
                      <a:pos x="wd2" y="hd2"/>
                    </a:cxn>
                  </a:cxnLst>
                  <a:rect l="0" t="0" r="r" b="b"/>
                  <a:pathLst>
                    <a:path w="21600" h="21600" extrusionOk="0">
                      <a:moveTo>
                        <a:pt x="0" y="7855"/>
                      </a:moveTo>
                      <a:lnTo>
                        <a:pt x="17514" y="0"/>
                      </a:lnTo>
                      <a:lnTo>
                        <a:pt x="19265" y="4582"/>
                      </a:lnTo>
                      <a:lnTo>
                        <a:pt x="9341" y="15709"/>
                      </a:lnTo>
                      <a:lnTo>
                        <a:pt x="20432" y="11127"/>
                      </a:lnTo>
                      <a:lnTo>
                        <a:pt x="21600" y="13745"/>
                      </a:lnTo>
                      <a:lnTo>
                        <a:pt x="5254" y="21600"/>
                      </a:lnTo>
                      <a:lnTo>
                        <a:pt x="4086" y="18982"/>
                      </a:lnTo>
                      <a:lnTo>
                        <a:pt x="12259" y="5891"/>
                      </a:lnTo>
                      <a:lnTo>
                        <a:pt x="1168" y="11127"/>
                      </a:lnTo>
                      <a:lnTo>
                        <a:pt x="0" y="7855"/>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43" name="Freeform 15"/>
                <p:cNvSpPr/>
                <p:nvPr/>
              </p:nvSpPr>
              <p:spPr>
                <a:xfrm>
                  <a:off x="178248" y="1313476"/>
                  <a:ext cx="115121" cy="103609"/>
                </a:xfrm>
                <a:custGeom>
                  <a:avLst/>
                  <a:gdLst/>
                  <a:ahLst/>
                  <a:cxnLst>
                    <a:cxn ang="0">
                      <a:pos x="wd2" y="hd2"/>
                    </a:cxn>
                    <a:cxn ang="5400000">
                      <a:pos x="wd2" y="hd2"/>
                    </a:cxn>
                    <a:cxn ang="10800000">
                      <a:pos x="wd2" y="hd2"/>
                    </a:cxn>
                    <a:cxn ang="16200000">
                      <a:pos x="wd2" y="hd2"/>
                    </a:cxn>
                  </a:cxnLst>
                  <a:rect l="0" t="0" r="r" b="b"/>
                  <a:pathLst>
                    <a:path w="21600" h="21600" extrusionOk="0">
                      <a:moveTo>
                        <a:pt x="8308" y="11631"/>
                      </a:moveTo>
                      <a:cubicBezTo>
                        <a:pt x="11631" y="9969"/>
                        <a:pt x="11631" y="9969"/>
                        <a:pt x="11631" y="9969"/>
                      </a:cubicBezTo>
                      <a:cubicBezTo>
                        <a:pt x="16615" y="16615"/>
                        <a:pt x="16615" y="16615"/>
                        <a:pt x="16615" y="16615"/>
                      </a:cubicBezTo>
                      <a:cubicBezTo>
                        <a:pt x="8308" y="21600"/>
                        <a:pt x="8308" y="21600"/>
                        <a:pt x="8308" y="21600"/>
                      </a:cubicBezTo>
                      <a:cubicBezTo>
                        <a:pt x="8308" y="21600"/>
                        <a:pt x="6646" y="21600"/>
                        <a:pt x="4985" y="19938"/>
                      </a:cubicBezTo>
                      <a:cubicBezTo>
                        <a:pt x="3323" y="18277"/>
                        <a:pt x="1662" y="18277"/>
                        <a:pt x="1662" y="16615"/>
                      </a:cubicBezTo>
                      <a:cubicBezTo>
                        <a:pt x="0" y="14954"/>
                        <a:pt x="0" y="13292"/>
                        <a:pt x="0" y="11631"/>
                      </a:cubicBezTo>
                      <a:cubicBezTo>
                        <a:pt x="0" y="9969"/>
                        <a:pt x="0" y="8308"/>
                        <a:pt x="1662" y="6646"/>
                      </a:cubicBezTo>
                      <a:cubicBezTo>
                        <a:pt x="1662" y="4985"/>
                        <a:pt x="3323" y="3323"/>
                        <a:pt x="4985" y="1662"/>
                      </a:cubicBezTo>
                      <a:cubicBezTo>
                        <a:pt x="8308" y="1662"/>
                        <a:pt x="9969" y="0"/>
                        <a:pt x="11631" y="0"/>
                      </a:cubicBezTo>
                      <a:cubicBezTo>
                        <a:pt x="13292" y="0"/>
                        <a:pt x="14954" y="0"/>
                        <a:pt x="16615" y="0"/>
                      </a:cubicBezTo>
                      <a:cubicBezTo>
                        <a:pt x="18277" y="1662"/>
                        <a:pt x="19938" y="3323"/>
                        <a:pt x="19938" y="3323"/>
                      </a:cubicBezTo>
                      <a:cubicBezTo>
                        <a:pt x="21600" y="6646"/>
                        <a:pt x="21600" y="8308"/>
                        <a:pt x="21600" y="9969"/>
                      </a:cubicBezTo>
                      <a:cubicBezTo>
                        <a:pt x="21600" y="11631"/>
                        <a:pt x="21600" y="13292"/>
                        <a:pt x="19938" y="14954"/>
                      </a:cubicBezTo>
                      <a:cubicBezTo>
                        <a:pt x="16615" y="11631"/>
                        <a:pt x="16615" y="11631"/>
                        <a:pt x="16615" y="11631"/>
                      </a:cubicBezTo>
                      <a:cubicBezTo>
                        <a:pt x="18277" y="11631"/>
                        <a:pt x="18277" y="9969"/>
                        <a:pt x="18277" y="8308"/>
                      </a:cubicBezTo>
                      <a:cubicBezTo>
                        <a:pt x="18277" y="8308"/>
                        <a:pt x="18277" y="6646"/>
                        <a:pt x="16615" y="6646"/>
                      </a:cubicBezTo>
                      <a:cubicBezTo>
                        <a:pt x="16615" y="4985"/>
                        <a:pt x="14954" y="3323"/>
                        <a:pt x="13292" y="3323"/>
                      </a:cubicBezTo>
                      <a:cubicBezTo>
                        <a:pt x="11631" y="3323"/>
                        <a:pt x="9969" y="3323"/>
                        <a:pt x="8308" y="4985"/>
                      </a:cubicBezTo>
                      <a:cubicBezTo>
                        <a:pt x="6646" y="6646"/>
                        <a:pt x="4985" y="8308"/>
                        <a:pt x="3323" y="9969"/>
                      </a:cubicBezTo>
                      <a:cubicBezTo>
                        <a:pt x="3323" y="11631"/>
                        <a:pt x="3323" y="13292"/>
                        <a:pt x="4985" y="14954"/>
                      </a:cubicBezTo>
                      <a:cubicBezTo>
                        <a:pt x="4985" y="14954"/>
                        <a:pt x="4985" y="14954"/>
                        <a:pt x="6646" y="16615"/>
                      </a:cubicBezTo>
                      <a:cubicBezTo>
                        <a:pt x="6646" y="16615"/>
                        <a:pt x="8308" y="16615"/>
                        <a:pt x="8308" y="16615"/>
                      </a:cubicBezTo>
                      <a:cubicBezTo>
                        <a:pt x="11631" y="14954"/>
                        <a:pt x="11631" y="14954"/>
                        <a:pt x="11631" y="14954"/>
                      </a:cubicBezTo>
                      <a:lnTo>
                        <a:pt x="8308" y="11631"/>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44" name="Freeform 16"/>
                <p:cNvSpPr/>
                <p:nvPr/>
              </p:nvSpPr>
              <p:spPr>
                <a:xfrm>
                  <a:off x="248806" y="1390344"/>
                  <a:ext cx="141115" cy="130347"/>
                </a:xfrm>
                <a:custGeom>
                  <a:avLst/>
                  <a:gdLst/>
                  <a:ahLst/>
                  <a:cxnLst>
                    <a:cxn ang="0">
                      <a:pos x="wd2" y="hd2"/>
                    </a:cxn>
                    <a:cxn ang="5400000">
                      <a:pos x="wd2" y="hd2"/>
                    </a:cxn>
                    <a:cxn ang="10800000">
                      <a:pos x="wd2" y="hd2"/>
                    </a:cxn>
                    <a:cxn ang="16200000">
                      <a:pos x="wd2" y="hd2"/>
                    </a:cxn>
                  </a:cxnLst>
                  <a:rect l="0" t="0" r="r" b="b"/>
                  <a:pathLst>
                    <a:path w="21600" h="21600" extrusionOk="0">
                      <a:moveTo>
                        <a:pt x="0" y="12185"/>
                      </a:moveTo>
                      <a:lnTo>
                        <a:pt x="13642" y="0"/>
                      </a:lnTo>
                      <a:lnTo>
                        <a:pt x="14779" y="2769"/>
                      </a:lnTo>
                      <a:lnTo>
                        <a:pt x="10800" y="6646"/>
                      </a:lnTo>
                      <a:lnTo>
                        <a:pt x="14779" y="12185"/>
                      </a:lnTo>
                      <a:lnTo>
                        <a:pt x="19895" y="6646"/>
                      </a:lnTo>
                      <a:lnTo>
                        <a:pt x="21600" y="8308"/>
                      </a:lnTo>
                      <a:lnTo>
                        <a:pt x="9095" y="21600"/>
                      </a:lnTo>
                      <a:lnTo>
                        <a:pt x="6821" y="18831"/>
                      </a:lnTo>
                      <a:lnTo>
                        <a:pt x="11937" y="13292"/>
                      </a:lnTo>
                      <a:lnTo>
                        <a:pt x="7958" y="9415"/>
                      </a:lnTo>
                      <a:lnTo>
                        <a:pt x="2842" y="14954"/>
                      </a:lnTo>
                      <a:lnTo>
                        <a:pt x="0" y="12185"/>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45" name="Freeform 17"/>
                <p:cNvSpPr/>
                <p:nvPr/>
              </p:nvSpPr>
              <p:spPr>
                <a:xfrm>
                  <a:off x="352785" y="1480584"/>
                  <a:ext cx="115121" cy="116978"/>
                </a:xfrm>
                <a:custGeom>
                  <a:avLst/>
                  <a:gdLst/>
                  <a:ahLst/>
                  <a:cxnLst>
                    <a:cxn ang="0">
                      <a:pos x="wd2" y="hd2"/>
                    </a:cxn>
                    <a:cxn ang="5400000">
                      <a:pos x="wd2" y="hd2"/>
                    </a:cxn>
                    <a:cxn ang="10800000">
                      <a:pos x="wd2" y="hd2"/>
                    </a:cxn>
                    <a:cxn ang="16200000">
                      <a:pos x="wd2" y="hd2"/>
                    </a:cxn>
                  </a:cxnLst>
                  <a:rect l="0" t="0" r="r" b="b"/>
                  <a:pathLst>
                    <a:path w="21600" h="21600" extrusionOk="0">
                      <a:moveTo>
                        <a:pt x="16723" y="21600"/>
                      </a:moveTo>
                      <a:lnTo>
                        <a:pt x="13239" y="19131"/>
                      </a:lnTo>
                      <a:lnTo>
                        <a:pt x="15329" y="14194"/>
                      </a:lnTo>
                      <a:lnTo>
                        <a:pt x="8361" y="11726"/>
                      </a:lnTo>
                      <a:lnTo>
                        <a:pt x="3484" y="14194"/>
                      </a:lnTo>
                      <a:lnTo>
                        <a:pt x="0" y="12960"/>
                      </a:lnTo>
                      <a:lnTo>
                        <a:pt x="18116" y="0"/>
                      </a:lnTo>
                      <a:lnTo>
                        <a:pt x="21600" y="1234"/>
                      </a:lnTo>
                      <a:lnTo>
                        <a:pt x="16723" y="21600"/>
                      </a:lnTo>
                      <a:close/>
                      <a:moveTo>
                        <a:pt x="15329" y="11726"/>
                      </a:moveTo>
                      <a:lnTo>
                        <a:pt x="16723" y="4320"/>
                      </a:lnTo>
                      <a:lnTo>
                        <a:pt x="9755" y="8640"/>
                      </a:lnTo>
                      <a:lnTo>
                        <a:pt x="15329" y="11726"/>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46" name="Freeform 18"/>
                <p:cNvSpPr/>
                <p:nvPr/>
              </p:nvSpPr>
              <p:spPr>
                <a:xfrm>
                  <a:off x="493898" y="1510663"/>
                  <a:ext cx="51990" cy="10360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5429" y="0"/>
                      </a:lnTo>
                      <a:lnTo>
                        <a:pt x="21600" y="2090"/>
                      </a:lnTo>
                      <a:lnTo>
                        <a:pt x="7714" y="21600"/>
                      </a:lnTo>
                      <a:lnTo>
                        <a:pt x="0" y="21600"/>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47" name="Freeform 19"/>
                <p:cNvSpPr/>
                <p:nvPr/>
              </p:nvSpPr>
              <p:spPr>
                <a:xfrm>
                  <a:off x="776125" y="1534059"/>
                  <a:ext cx="89126" cy="1136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4320" y="0"/>
                        <a:pt x="4320" y="0"/>
                        <a:pt x="4320" y="0"/>
                      </a:cubicBezTo>
                      <a:cubicBezTo>
                        <a:pt x="6480" y="12343"/>
                        <a:pt x="6480" y="12343"/>
                        <a:pt x="6480" y="12343"/>
                      </a:cubicBezTo>
                      <a:cubicBezTo>
                        <a:pt x="6480" y="13886"/>
                        <a:pt x="6480" y="13886"/>
                        <a:pt x="6480" y="15429"/>
                      </a:cubicBezTo>
                      <a:cubicBezTo>
                        <a:pt x="6480" y="15429"/>
                        <a:pt x="6480" y="16971"/>
                        <a:pt x="6480" y="16971"/>
                      </a:cubicBezTo>
                      <a:cubicBezTo>
                        <a:pt x="8640" y="16971"/>
                        <a:pt x="8640" y="18514"/>
                        <a:pt x="10800" y="18514"/>
                      </a:cubicBezTo>
                      <a:cubicBezTo>
                        <a:pt x="12960" y="18514"/>
                        <a:pt x="12960" y="16971"/>
                        <a:pt x="12960" y="16971"/>
                      </a:cubicBezTo>
                      <a:cubicBezTo>
                        <a:pt x="15120" y="16971"/>
                        <a:pt x="15120" y="15429"/>
                        <a:pt x="15120" y="15429"/>
                      </a:cubicBezTo>
                      <a:cubicBezTo>
                        <a:pt x="15120" y="13886"/>
                        <a:pt x="15120" y="13886"/>
                        <a:pt x="15120" y="12343"/>
                      </a:cubicBezTo>
                      <a:cubicBezTo>
                        <a:pt x="15120" y="0"/>
                        <a:pt x="15120" y="0"/>
                        <a:pt x="15120" y="0"/>
                      </a:cubicBezTo>
                      <a:cubicBezTo>
                        <a:pt x="19440" y="0"/>
                        <a:pt x="19440" y="0"/>
                        <a:pt x="19440" y="0"/>
                      </a:cubicBezTo>
                      <a:cubicBezTo>
                        <a:pt x="21600" y="10800"/>
                        <a:pt x="21600" y="10800"/>
                        <a:pt x="21600" y="10800"/>
                      </a:cubicBezTo>
                      <a:cubicBezTo>
                        <a:pt x="21600" y="13886"/>
                        <a:pt x="19440" y="15429"/>
                        <a:pt x="19440" y="16971"/>
                      </a:cubicBezTo>
                      <a:cubicBezTo>
                        <a:pt x="19440" y="16971"/>
                        <a:pt x="19440" y="18514"/>
                        <a:pt x="19440" y="18514"/>
                      </a:cubicBezTo>
                      <a:cubicBezTo>
                        <a:pt x="17280" y="20057"/>
                        <a:pt x="17280" y="20057"/>
                        <a:pt x="15120" y="20057"/>
                      </a:cubicBezTo>
                      <a:cubicBezTo>
                        <a:pt x="15120" y="21600"/>
                        <a:pt x="12960" y="21600"/>
                        <a:pt x="10800" y="21600"/>
                      </a:cubicBezTo>
                      <a:cubicBezTo>
                        <a:pt x="8640" y="21600"/>
                        <a:pt x="6480" y="21600"/>
                        <a:pt x="4320" y="20057"/>
                      </a:cubicBezTo>
                      <a:cubicBezTo>
                        <a:pt x="4320" y="20057"/>
                        <a:pt x="2160" y="20057"/>
                        <a:pt x="2160" y="18514"/>
                      </a:cubicBezTo>
                      <a:cubicBezTo>
                        <a:pt x="2160" y="18514"/>
                        <a:pt x="2160" y="16971"/>
                        <a:pt x="0" y="16971"/>
                      </a:cubicBezTo>
                      <a:cubicBezTo>
                        <a:pt x="0" y="15429"/>
                        <a:pt x="0" y="13886"/>
                        <a:pt x="0" y="10800"/>
                      </a:cubicBezTo>
                      <a:lnTo>
                        <a:pt x="0" y="0"/>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48" name="Freeform 20"/>
                <p:cNvSpPr/>
                <p:nvPr/>
              </p:nvSpPr>
              <p:spPr>
                <a:xfrm>
                  <a:off x="898670" y="1520690"/>
                  <a:ext cx="107694" cy="116979"/>
                </a:xfrm>
                <a:custGeom>
                  <a:avLst/>
                  <a:gdLst/>
                  <a:ahLst/>
                  <a:cxnLst>
                    <a:cxn ang="0">
                      <a:pos x="wd2" y="hd2"/>
                    </a:cxn>
                    <a:cxn ang="5400000">
                      <a:pos x="wd2" y="hd2"/>
                    </a:cxn>
                    <a:cxn ang="10800000">
                      <a:pos x="wd2" y="hd2"/>
                    </a:cxn>
                    <a:cxn ang="16200000">
                      <a:pos x="wd2" y="hd2"/>
                    </a:cxn>
                  </a:cxnLst>
                  <a:rect l="0" t="0" r="r" b="b"/>
                  <a:pathLst>
                    <a:path w="21600" h="21600" extrusionOk="0">
                      <a:moveTo>
                        <a:pt x="5214" y="21600"/>
                      </a:moveTo>
                      <a:lnTo>
                        <a:pt x="0" y="2469"/>
                      </a:lnTo>
                      <a:lnTo>
                        <a:pt x="3724" y="2469"/>
                      </a:lnTo>
                      <a:lnTo>
                        <a:pt x="16386" y="12960"/>
                      </a:lnTo>
                      <a:lnTo>
                        <a:pt x="12662" y="0"/>
                      </a:lnTo>
                      <a:lnTo>
                        <a:pt x="16386" y="0"/>
                      </a:lnTo>
                      <a:lnTo>
                        <a:pt x="21600" y="18514"/>
                      </a:lnTo>
                      <a:lnTo>
                        <a:pt x="17876" y="18514"/>
                      </a:lnTo>
                      <a:lnTo>
                        <a:pt x="5214" y="8640"/>
                      </a:lnTo>
                      <a:lnTo>
                        <a:pt x="8938" y="20366"/>
                      </a:lnTo>
                      <a:lnTo>
                        <a:pt x="5214" y="21600"/>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49" name="Freeform 21"/>
                <p:cNvSpPr/>
                <p:nvPr/>
              </p:nvSpPr>
              <p:spPr>
                <a:xfrm>
                  <a:off x="1013790" y="1493953"/>
                  <a:ext cx="70559" cy="103609"/>
                </a:xfrm>
                <a:custGeom>
                  <a:avLst/>
                  <a:gdLst/>
                  <a:ahLst/>
                  <a:cxnLst>
                    <a:cxn ang="0">
                      <a:pos x="wd2" y="hd2"/>
                    </a:cxn>
                    <a:cxn ang="5400000">
                      <a:pos x="wd2" y="hd2"/>
                    </a:cxn>
                    <a:cxn ang="10800000">
                      <a:pos x="wd2" y="hd2"/>
                    </a:cxn>
                    <a:cxn ang="16200000">
                      <a:pos x="wd2" y="hd2"/>
                    </a:cxn>
                  </a:cxnLst>
                  <a:rect l="0" t="0" r="r" b="b"/>
                  <a:pathLst>
                    <a:path w="21600" h="21600" extrusionOk="0">
                      <a:moveTo>
                        <a:pt x="15916" y="21600"/>
                      </a:moveTo>
                      <a:lnTo>
                        <a:pt x="0" y="2090"/>
                      </a:lnTo>
                      <a:lnTo>
                        <a:pt x="5684" y="0"/>
                      </a:lnTo>
                      <a:lnTo>
                        <a:pt x="21600" y="20206"/>
                      </a:lnTo>
                      <a:lnTo>
                        <a:pt x="15916" y="21600"/>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50" name="Freeform 22"/>
                <p:cNvSpPr/>
                <p:nvPr/>
              </p:nvSpPr>
              <p:spPr>
                <a:xfrm>
                  <a:off x="1058352" y="1430451"/>
                  <a:ext cx="115121" cy="120319"/>
                </a:xfrm>
                <a:custGeom>
                  <a:avLst/>
                  <a:gdLst/>
                  <a:ahLst/>
                  <a:cxnLst>
                    <a:cxn ang="0">
                      <a:pos x="wd2" y="hd2"/>
                    </a:cxn>
                    <a:cxn ang="5400000">
                      <a:pos x="wd2" y="hd2"/>
                    </a:cxn>
                    <a:cxn ang="10800000">
                      <a:pos x="wd2" y="hd2"/>
                    </a:cxn>
                    <a:cxn ang="16200000">
                      <a:pos x="wd2" y="hd2"/>
                    </a:cxn>
                  </a:cxnLst>
                  <a:rect l="0" t="0" r="r" b="b"/>
                  <a:pathLst>
                    <a:path w="21600" h="21600" extrusionOk="0">
                      <a:moveTo>
                        <a:pt x="18116" y="21600"/>
                      </a:moveTo>
                      <a:lnTo>
                        <a:pt x="0" y="10200"/>
                      </a:lnTo>
                      <a:lnTo>
                        <a:pt x="3484" y="7200"/>
                      </a:lnTo>
                      <a:lnTo>
                        <a:pt x="16723" y="17400"/>
                      </a:lnTo>
                      <a:lnTo>
                        <a:pt x="11148" y="3000"/>
                      </a:lnTo>
                      <a:lnTo>
                        <a:pt x="14632" y="0"/>
                      </a:lnTo>
                      <a:lnTo>
                        <a:pt x="21600" y="20400"/>
                      </a:lnTo>
                      <a:lnTo>
                        <a:pt x="18116" y="21600"/>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51" name="Freeform 23"/>
                <p:cNvSpPr/>
                <p:nvPr/>
              </p:nvSpPr>
              <p:spPr>
                <a:xfrm>
                  <a:off x="1154904" y="1366950"/>
                  <a:ext cx="141114" cy="120320"/>
                </a:xfrm>
                <a:custGeom>
                  <a:avLst/>
                  <a:gdLst/>
                  <a:ahLst/>
                  <a:cxnLst>
                    <a:cxn ang="0">
                      <a:pos x="wd2" y="hd2"/>
                    </a:cxn>
                    <a:cxn ang="5400000">
                      <a:pos x="wd2" y="hd2"/>
                    </a:cxn>
                    <a:cxn ang="10800000">
                      <a:pos x="wd2" y="hd2"/>
                    </a:cxn>
                    <a:cxn ang="16200000">
                      <a:pos x="wd2" y="hd2"/>
                    </a:cxn>
                  </a:cxnLst>
                  <a:rect l="0" t="0" r="r" b="b"/>
                  <a:pathLst>
                    <a:path w="21600" h="21600" extrusionOk="0">
                      <a:moveTo>
                        <a:pt x="13642" y="21600"/>
                      </a:moveTo>
                      <a:lnTo>
                        <a:pt x="0" y="9000"/>
                      </a:lnTo>
                      <a:lnTo>
                        <a:pt x="7958" y="0"/>
                      </a:lnTo>
                      <a:lnTo>
                        <a:pt x="10800" y="1800"/>
                      </a:lnTo>
                      <a:lnTo>
                        <a:pt x="3979" y="9000"/>
                      </a:lnTo>
                      <a:lnTo>
                        <a:pt x="7958" y="11400"/>
                      </a:lnTo>
                      <a:lnTo>
                        <a:pt x="13642" y="6000"/>
                      </a:lnTo>
                      <a:lnTo>
                        <a:pt x="14779" y="7200"/>
                      </a:lnTo>
                      <a:lnTo>
                        <a:pt x="9663" y="14400"/>
                      </a:lnTo>
                      <a:lnTo>
                        <a:pt x="13642" y="17400"/>
                      </a:lnTo>
                      <a:lnTo>
                        <a:pt x="18758" y="10200"/>
                      </a:lnTo>
                      <a:lnTo>
                        <a:pt x="21600" y="13200"/>
                      </a:lnTo>
                      <a:lnTo>
                        <a:pt x="13642" y="21600"/>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52" name="Freeform 24"/>
                <p:cNvSpPr/>
                <p:nvPr/>
              </p:nvSpPr>
              <p:spPr>
                <a:xfrm>
                  <a:off x="1232886" y="1290079"/>
                  <a:ext cx="152257" cy="110294"/>
                </a:xfrm>
                <a:custGeom>
                  <a:avLst/>
                  <a:gdLst/>
                  <a:ahLst/>
                  <a:cxnLst>
                    <a:cxn ang="0">
                      <a:pos x="wd2" y="hd2"/>
                    </a:cxn>
                    <a:cxn ang="5400000">
                      <a:pos x="wd2" y="hd2"/>
                    </a:cxn>
                    <a:cxn ang="10800000">
                      <a:pos x="wd2" y="hd2"/>
                    </a:cxn>
                    <a:cxn ang="16200000">
                      <a:pos x="wd2" y="hd2"/>
                    </a:cxn>
                  </a:cxnLst>
                  <a:rect l="0" t="0" r="r" b="b"/>
                  <a:pathLst>
                    <a:path w="21600" h="21600" extrusionOk="0">
                      <a:moveTo>
                        <a:pt x="13976" y="21600"/>
                      </a:moveTo>
                      <a:cubicBezTo>
                        <a:pt x="0" y="10800"/>
                        <a:pt x="0" y="10800"/>
                        <a:pt x="0" y="10800"/>
                      </a:cubicBezTo>
                      <a:cubicBezTo>
                        <a:pt x="2541" y="3086"/>
                        <a:pt x="2541" y="3086"/>
                        <a:pt x="2541" y="3086"/>
                      </a:cubicBezTo>
                      <a:cubicBezTo>
                        <a:pt x="3812" y="1543"/>
                        <a:pt x="5082" y="1543"/>
                        <a:pt x="5082" y="0"/>
                      </a:cubicBezTo>
                      <a:cubicBezTo>
                        <a:pt x="6353" y="0"/>
                        <a:pt x="6353" y="0"/>
                        <a:pt x="7624" y="0"/>
                      </a:cubicBezTo>
                      <a:cubicBezTo>
                        <a:pt x="8894" y="0"/>
                        <a:pt x="8894" y="0"/>
                        <a:pt x="10165" y="0"/>
                      </a:cubicBezTo>
                      <a:cubicBezTo>
                        <a:pt x="11435" y="1543"/>
                        <a:pt x="11435" y="3086"/>
                        <a:pt x="12706" y="3086"/>
                      </a:cubicBezTo>
                      <a:cubicBezTo>
                        <a:pt x="12706" y="4629"/>
                        <a:pt x="12706" y="6171"/>
                        <a:pt x="11435" y="7714"/>
                      </a:cubicBezTo>
                      <a:cubicBezTo>
                        <a:pt x="12706" y="7714"/>
                        <a:pt x="13976" y="7714"/>
                        <a:pt x="13976" y="7714"/>
                      </a:cubicBezTo>
                      <a:cubicBezTo>
                        <a:pt x="15247" y="6171"/>
                        <a:pt x="15247" y="6171"/>
                        <a:pt x="17788" y="7714"/>
                      </a:cubicBezTo>
                      <a:cubicBezTo>
                        <a:pt x="21600" y="7714"/>
                        <a:pt x="21600" y="7714"/>
                        <a:pt x="21600" y="7714"/>
                      </a:cubicBezTo>
                      <a:cubicBezTo>
                        <a:pt x="19059" y="10800"/>
                        <a:pt x="19059" y="10800"/>
                        <a:pt x="19059" y="10800"/>
                      </a:cubicBezTo>
                      <a:cubicBezTo>
                        <a:pt x="15247" y="10800"/>
                        <a:pt x="15247" y="10800"/>
                        <a:pt x="15247" y="10800"/>
                      </a:cubicBezTo>
                      <a:cubicBezTo>
                        <a:pt x="13976" y="10800"/>
                        <a:pt x="12706" y="10800"/>
                        <a:pt x="11435" y="10800"/>
                      </a:cubicBezTo>
                      <a:cubicBezTo>
                        <a:pt x="11435" y="10800"/>
                        <a:pt x="11435" y="10800"/>
                        <a:pt x="11435" y="10800"/>
                      </a:cubicBezTo>
                      <a:cubicBezTo>
                        <a:pt x="10165" y="10800"/>
                        <a:pt x="10165" y="12343"/>
                        <a:pt x="10165" y="12343"/>
                      </a:cubicBezTo>
                      <a:cubicBezTo>
                        <a:pt x="10165" y="13886"/>
                        <a:pt x="10165" y="13886"/>
                        <a:pt x="10165" y="13886"/>
                      </a:cubicBezTo>
                      <a:cubicBezTo>
                        <a:pt x="15247" y="18514"/>
                        <a:pt x="15247" y="18514"/>
                        <a:pt x="15247" y="18514"/>
                      </a:cubicBezTo>
                      <a:lnTo>
                        <a:pt x="13976" y="21600"/>
                      </a:lnTo>
                      <a:close/>
                      <a:moveTo>
                        <a:pt x="7624" y="12343"/>
                      </a:moveTo>
                      <a:cubicBezTo>
                        <a:pt x="8894" y="9257"/>
                        <a:pt x="8894" y="9257"/>
                        <a:pt x="8894" y="9257"/>
                      </a:cubicBezTo>
                      <a:cubicBezTo>
                        <a:pt x="8894" y="7714"/>
                        <a:pt x="10165" y="6171"/>
                        <a:pt x="10165" y="6171"/>
                      </a:cubicBezTo>
                      <a:cubicBezTo>
                        <a:pt x="10165" y="6171"/>
                        <a:pt x="10165" y="6171"/>
                        <a:pt x="10165" y="4629"/>
                      </a:cubicBezTo>
                      <a:cubicBezTo>
                        <a:pt x="8894" y="4629"/>
                        <a:pt x="8894" y="4629"/>
                        <a:pt x="8894" y="4629"/>
                      </a:cubicBezTo>
                      <a:cubicBezTo>
                        <a:pt x="7624" y="3086"/>
                        <a:pt x="7624" y="3086"/>
                        <a:pt x="7624" y="3086"/>
                      </a:cubicBezTo>
                      <a:cubicBezTo>
                        <a:pt x="6353" y="3086"/>
                        <a:pt x="6353" y="3086"/>
                        <a:pt x="6353" y="4629"/>
                      </a:cubicBezTo>
                      <a:cubicBezTo>
                        <a:pt x="6353" y="4629"/>
                        <a:pt x="5082" y="4629"/>
                        <a:pt x="5082" y="6171"/>
                      </a:cubicBezTo>
                      <a:cubicBezTo>
                        <a:pt x="3812" y="9257"/>
                        <a:pt x="3812" y="9257"/>
                        <a:pt x="3812" y="9257"/>
                      </a:cubicBezTo>
                      <a:lnTo>
                        <a:pt x="7624" y="12343"/>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53" name="Freeform 25"/>
                <p:cNvSpPr/>
                <p:nvPr/>
              </p:nvSpPr>
              <p:spPr>
                <a:xfrm>
                  <a:off x="1303444" y="1193157"/>
                  <a:ext cx="115121" cy="86898"/>
                </a:xfrm>
                <a:custGeom>
                  <a:avLst/>
                  <a:gdLst/>
                  <a:ahLst/>
                  <a:cxnLst>
                    <a:cxn ang="0">
                      <a:pos x="wd2" y="hd2"/>
                    </a:cxn>
                    <a:cxn ang="5400000">
                      <a:pos x="wd2" y="hd2"/>
                    </a:cxn>
                    <a:cxn ang="10800000">
                      <a:pos x="wd2" y="hd2"/>
                    </a:cxn>
                    <a:cxn ang="16200000">
                      <a:pos x="wd2" y="hd2"/>
                    </a:cxn>
                  </a:cxnLst>
                  <a:rect l="0" t="0" r="r" b="b"/>
                  <a:pathLst>
                    <a:path w="21600" h="21600" extrusionOk="0">
                      <a:moveTo>
                        <a:pt x="11631" y="21600"/>
                      </a:moveTo>
                      <a:cubicBezTo>
                        <a:pt x="11631" y="15709"/>
                        <a:pt x="11631" y="15709"/>
                        <a:pt x="11631" y="15709"/>
                      </a:cubicBezTo>
                      <a:cubicBezTo>
                        <a:pt x="13292" y="17673"/>
                        <a:pt x="14954" y="15709"/>
                        <a:pt x="16615" y="15709"/>
                      </a:cubicBezTo>
                      <a:cubicBezTo>
                        <a:pt x="16615" y="15709"/>
                        <a:pt x="18277" y="15709"/>
                        <a:pt x="18277" y="13745"/>
                      </a:cubicBezTo>
                      <a:cubicBezTo>
                        <a:pt x="18277" y="11782"/>
                        <a:pt x="18277" y="11782"/>
                        <a:pt x="18277" y="9818"/>
                      </a:cubicBezTo>
                      <a:cubicBezTo>
                        <a:pt x="18277" y="9818"/>
                        <a:pt x="16615" y="7855"/>
                        <a:pt x="16615" y="7855"/>
                      </a:cubicBezTo>
                      <a:cubicBezTo>
                        <a:pt x="16615" y="7855"/>
                        <a:pt x="14954" y="7855"/>
                        <a:pt x="14954" y="7855"/>
                      </a:cubicBezTo>
                      <a:cubicBezTo>
                        <a:pt x="14954" y="7855"/>
                        <a:pt x="14954" y="7855"/>
                        <a:pt x="13292" y="9818"/>
                      </a:cubicBezTo>
                      <a:cubicBezTo>
                        <a:pt x="13292" y="9818"/>
                        <a:pt x="13292" y="9818"/>
                        <a:pt x="11631" y="11782"/>
                      </a:cubicBezTo>
                      <a:cubicBezTo>
                        <a:pt x="9969" y="13745"/>
                        <a:pt x="8308" y="15709"/>
                        <a:pt x="8308" y="15709"/>
                      </a:cubicBezTo>
                      <a:cubicBezTo>
                        <a:pt x="6646" y="15709"/>
                        <a:pt x="4985" y="15709"/>
                        <a:pt x="3323" y="15709"/>
                      </a:cubicBezTo>
                      <a:cubicBezTo>
                        <a:pt x="1662" y="15709"/>
                        <a:pt x="1662" y="13745"/>
                        <a:pt x="0" y="13745"/>
                      </a:cubicBezTo>
                      <a:cubicBezTo>
                        <a:pt x="0" y="11782"/>
                        <a:pt x="0" y="11782"/>
                        <a:pt x="0" y="9818"/>
                      </a:cubicBezTo>
                      <a:cubicBezTo>
                        <a:pt x="0" y="7855"/>
                        <a:pt x="0" y="7855"/>
                        <a:pt x="0" y="5891"/>
                      </a:cubicBezTo>
                      <a:cubicBezTo>
                        <a:pt x="1662" y="1964"/>
                        <a:pt x="1662" y="0"/>
                        <a:pt x="3323" y="0"/>
                      </a:cubicBezTo>
                      <a:cubicBezTo>
                        <a:pt x="4985" y="0"/>
                        <a:pt x="6646" y="0"/>
                        <a:pt x="9969" y="0"/>
                      </a:cubicBezTo>
                      <a:cubicBezTo>
                        <a:pt x="8308" y="3927"/>
                        <a:pt x="8308" y="3927"/>
                        <a:pt x="8308" y="3927"/>
                      </a:cubicBezTo>
                      <a:cubicBezTo>
                        <a:pt x="6646" y="3927"/>
                        <a:pt x="6646" y="3927"/>
                        <a:pt x="4985" y="3927"/>
                      </a:cubicBezTo>
                      <a:cubicBezTo>
                        <a:pt x="4985" y="5891"/>
                        <a:pt x="3323" y="5891"/>
                        <a:pt x="3323" y="7855"/>
                      </a:cubicBezTo>
                      <a:cubicBezTo>
                        <a:pt x="3323" y="7855"/>
                        <a:pt x="3323" y="9818"/>
                        <a:pt x="3323" y="9818"/>
                      </a:cubicBezTo>
                      <a:cubicBezTo>
                        <a:pt x="3323" y="11782"/>
                        <a:pt x="3323" y="11782"/>
                        <a:pt x="4985" y="11782"/>
                      </a:cubicBezTo>
                      <a:cubicBezTo>
                        <a:pt x="4985" y="11782"/>
                        <a:pt x="4985" y="11782"/>
                        <a:pt x="4985" y="11782"/>
                      </a:cubicBezTo>
                      <a:cubicBezTo>
                        <a:pt x="6646" y="11782"/>
                        <a:pt x="6646" y="9818"/>
                        <a:pt x="8308" y="7855"/>
                      </a:cubicBezTo>
                      <a:cubicBezTo>
                        <a:pt x="9969" y="5891"/>
                        <a:pt x="9969" y="5891"/>
                        <a:pt x="11631" y="3927"/>
                      </a:cubicBezTo>
                      <a:cubicBezTo>
                        <a:pt x="11631" y="3927"/>
                        <a:pt x="13292" y="3927"/>
                        <a:pt x="14954" y="3927"/>
                      </a:cubicBezTo>
                      <a:cubicBezTo>
                        <a:pt x="14954" y="3927"/>
                        <a:pt x="16615" y="3927"/>
                        <a:pt x="18277" y="3927"/>
                      </a:cubicBezTo>
                      <a:cubicBezTo>
                        <a:pt x="19938" y="3927"/>
                        <a:pt x="19938" y="5891"/>
                        <a:pt x="21600" y="5891"/>
                      </a:cubicBezTo>
                      <a:cubicBezTo>
                        <a:pt x="21600" y="7855"/>
                        <a:pt x="21600" y="9818"/>
                        <a:pt x="21600" y="9818"/>
                      </a:cubicBezTo>
                      <a:cubicBezTo>
                        <a:pt x="21600" y="11782"/>
                        <a:pt x="21600" y="13745"/>
                        <a:pt x="21600" y="15709"/>
                      </a:cubicBezTo>
                      <a:cubicBezTo>
                        <a:pt x="19938" y="17673"/>
                        <a:pt x="19938" y="19636"/>
                        <a:pt x="18277" y="21600"/>
                      </a:cubicBezTo>
                      <a:cubicBezTo>
                        <a:pt x="14954" y="21600"/>
                        <a:pt x="13292" y="21600"/>
                        <a:pt x="11631" y="21600"/>
                      </a:cubicBez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54" name="Freeform 26"/>
                <p:cNvSpPr/>
                <p:nvPr/>
              </p:nvSpPr>
              <p:spPr>
                <a:xfrm>
                  <a:off x="1329438" y="1129655"/>
                  <a:ext cx="126260" cy="46791"/>
                </a:xfrm>
                <a:custGeom>
                  <a:avLst/>
                  <a:gdLst/>
                  <a:ahLst/>
                  <a:cxnLst>
                    <a:cxn ang="0">
                      <a:pos x="wd2" y="hd2"/>
                    </a:cxn>
                    <a:cxn ang="5400000">
                      <a:pos x="wd2" y="hd2"/>
                    </a:cxn>
                    <a:cxn ang="10800000">
                      <a:pos x="wd2" y="hd2"/>
                    </a:cxn>
                    <a:cxn ang="16200000">
                      <a:pos x="wd2" y="hd2"/>
                    </a:cxn>
                  </a:cxnLst>
                  <a:rect l="0" t="0" r="r" b="b"/>
                  <a:pathLst>
                    <a:path w="21600" h="21600" extrusionOk="0">
                      <a:moveTo>
                        <a:pt x="19694" y="21600"/>
                      </a:moveTo>
                      <a:lnTo>
                        <a:pt x="0" y="7714"/>
                      </a:lnTo>
                      <a:lnTo>
                        <a:pt x="1906" y="0"/>
                      </a:lnTo>
                      <a:lnTo>
                        <a:pt x="21600" y="13886"/>
                      </a:lnTo>
                      <a:lnTo>
                        <a:pt x="19694" y="21600"/>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55" name="Freeform 27"/>
                <p:cNvSpPr/>
                <p:nvPr/>
              </p:nvSpPr>
              <p:spPr>
                <a:xfrm>
                  <a:off x="1348006" y="1026048"/>
                  <a:ext cx="122549" cy="80214"/>
                </a:xfrm>
                <a:custGeom>
                  <a:avLst/>
                  <a:gdLst/>
                  <a:ahLst/>
                  <a:cxnLst>
                    <a:cxn ang="0">
                      <a:pos x="wd2" y="hd2"/>
                    </a:cxn>
                    <a:cxn ang="5400000">
                      <a:pos x="wd2" y="hd2"/>
                    </a:cxn>
                    <a:cxn ang="10800000">
                      <a:pos x="wd2" y="hd2"/>
                    </a:cxn>
                    <a:cxn ang="16200000">
                      <a:pos x="wd2" y="hd2"/>
                    </a:cxn>
                  </a:cxnLst>
                  <a:rect l="0" t="0" r="r" b="b"/>
                  <a:pathLst>
                    <a:path w="21600" h="21600" extrusionOk="0">
                      <a:moveTo>
                        <a:pt x="21600" y="17100"/>
                      </a:moveTo>
                      <a:lnTo>
                        <a:pt x="4582" y="12600"/>
                      </a:lnTo>
                      <a:lnTo>
                        <a:pt x="3273" y="21600"/>
                      </a:lnTo>
                      <a:lnTo>
                        <a:pt x="0" y="18900"/>
                      </a:lnTo>
                      <a:lnTo>
                        <a:pt x="3273" y="0"/>
                      </a:lnTo>
                      <a:lnTo>
                        <a:pt x="6545" y="1800"/>
                      </a:lnTo>
                      <a:lnTo>
                        <a:pt x="4582" y="9000"/>
                      </a:lnTo>
                      <a:lnTo>
                        <a:pt x="21600" y="12600"/>
                      </a:lnTo>
                      <a:lnTo>
                        <a:pt x="21600" y="17100"/>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56" name="Freeform 28"/>
                <p:cNvSpPr/>
                <p:nvPr/>
              </p:nvSpPr>
              <p:spPr>
                <a:xfrm>
                  <a:off x="1366573" y="922440"/>
                  <a:ext cx="122548" cy="80213"/>
                </a:xfrm>
                <a:custGeom>
                  <a:avLst/>
                  <a:gdLst/>
                  <a:ahLst/>
                  <a:cxnLst>
                    <a:cxn ang="0">
                      <a:pos x="wd2" y="hd2"/>
                    </a:cxn>
                    <a:cxn ang="5400000">
                      <a:pos x="wd2" y="hd2"/>
                    </a:cxn>
                    <a:cxn ang="10800000">
                      <a:pos x="wd2" y="hd2"/>
                    </a:cxn>
                    <a:cxn ang="16200000">
                      <a:pos x="wd2" y="hd2"/>
                    </a:cxn>
                  </a:cxnLst>
                  <a:rect l="0" t="0" r="r" b="b"/>
                  <a:pathLst>
                    <a:path w="21600" h="21600" extrusionOk="0">
                      <a:moveTo>
                        <a:pt x="20291" y="15300"/>
                      </a:moveTo>
                      <a:lnTo>
                        <a:pt x="12436" y="15300"/>
                      </a:lnTo>
                      <a:lnTo>
                        <a:pt x="0" y="21600"/>
                      </a:lnTo>
                      <a:lnTo>
                        <a:pt x="0" y="17100"/>
                      </a:lnTo>
                      <a:lnTo>
                        <a:pt x="7855" y="10800"/>
                      </a:lnTo>
                      <a:lnTo>
                        <a:pt x="0" y="4500"/>
                      </a:lnTo>
                      <a:lnTo>
                        <a:pt x="0" y="0"/>
                      </a:lnTo>
                      <a:lnTo>
                        <a:pt x="12436" y="9000"/>
                      </a:lnTo>
                      <a:lnTo>
                        <a:pt x="21600" y="9000"/>
                      </a:lnTo>
                      <a:lnTo>
                        <a:pt x="20291" y="15300"/>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57" name="Freeform 29"/>
                <p:cNvSpPr/>
                <p:nvPr/>
              </p:nvSpPr>
              <p:spPr>
                <a:xfrm>
                  <a:off x="204244" y="200530"/>
                  <a:ext cx="1125197" cy="1293424"/>
                </a:xfrm>
                <a:custGeom>
                  <a:avLst/>
                  <a:gdLst/>
                  <a:ahLst/>
                  <a:cxnLst>
                    <a:cxn ang="0">
                      <a:pos x="wd2" y="hd2"/>
                    </a:cxn>
                    <a:cxn ang="5400000">
                      <a:pos x="wd2" y="hd2"/>
                    </a:cxn>
                    <a:cxn ang="10800000">
                      <a:pos x="wd2" y="hd2"/>
                    </a:cxn>
                    <a:cxn ang="16200000">
                      <a:pos x="wd2" y="hd2"/>
                    </a:cxn>
                  </a:cxnLst>
                  <a:rect l="0" t="0" r="r" b="b"/>
                  <a:pathLst>
                    <a:path w="21600" h="21600" extrusionOk="0">
                      <a:moveTo>
                        <a:pt x="11812" y="21600"/>
                      </a:moveTo>
                      <a:cubicBezTo>
                        <a:pt x="9787" y="21600"/>
                        <a:pt x="9787" y="21600"/>
                        <a:pt x="9787" y="21600"/>
                      </a:cubicBezTo>
                      <a:cubicBezTo>
                        <a:pt x="7256" y="21600"/>
                        <a:pt x="4725" y="20672"/>
                        <a:pt x="2869" y="19082"/>
                      </a:cubicBezTo>
                      <a:cubicBezTo>
                        <a:pt x="1012" y="17492"/>
                        <a:pt x="0" y="15372"/>
                        <a:pt x="0" y="13252"/>
                      </a:cubicBezTo>
                      <a:cubicBezTo>
                        <a:pt x="0" y="8348"/>
                        <a:pt x="0" y="8348"/>
                        <a:pt x="0" y="8348"/>
                      </a:cubicBezTo>
                      <a:cubicBezTo>
                        <a:pt x="0" y="3710"/>
                        <a:pt x="4387" y="0"/>
                        <a:pt x="9787" y="0"/>
                      </a:cubicBezTo>
                      <a:cubicBezTo>
                        <a:pt x="11812" y="0"/>
                        <a:pt x="11812" y="0"/>
                        <a:pt x="11812" y="0"/>
                      </a:cubicBezTo>
                      <a:cubicBezTo>
                        <a:pt x="17213" y="0"/>
                        <a:pt x="21600" y="3710"/>
                        <a:pt x="21600" y="8348"/>
                      </a:cubicBezTo>
                      <a:cubicBezTo>
                        <a:pt x="21600" y="13119"/>
                        <a:pt x="21600" y="13119"/>
                        <a:pt x="21600" y="13119"/>
                      </a:cubicBezTo>
                      <a:cubicBezTo>
                        <a:pt x="21600" y="15372"/>
                        <a:pt x="20587" y="17492"/>
                        <a:pt x="18731" y="19082"/>
                      </a:cubicBezTo>
                      <a:cubicBezTo>
                        <a:pt x="16875" y="20805"/>
                        <a:pt x="14344" y="21600"/>
                        <a:pt x="11812" y="21600"/>
                      </a:cubicBezTo>
                      <a:close/>
                      <a:moveTo>
                        <a:pt x="9787" y="265"/>
                      </a:moveTo>
                      <a:cubicBezTo>
                        <a:pt x="4556" y="265"/>
                        <a:pt x="506" y="3843"/>
                        <a:pt x="506" y="8348"/>
                      </a:cubicBezTo>
                      <a:cubicBezTo>
                        <a:pt x="506" y="13252"/>
                        <a:pt x="506" y="13252"/>
                        <a:pt x="506" y="13252"/>
                      </a:cubicBezTo>
                      <a:cubicBezTo>
                        <a:pt x="506" y="17492"/>
                        <a:pt x="4894" y="21335"/>
                        <a:pt x="9787" y="21335"/>
                      </a:cubicBezTo>
                      <a:cubicBezTo>
                        <a:pt x="11812" y="21335"/>
                        <a:pt x="11812" y="21335"/>
                        <a:pt x="11812" y="21335"/>
                      </a:cubicBezTo>
                      <a:cubicBezTo>
                        <a:pt x="16875" y="21335"/>
                        <a:pt x="21094" y="17625"/>
                        <a:pt x="21094" y="13119"/>
                      </a:cubicBezTo>
                      <a:cubicBezTo>
                        <a:pt x="21094" y="8348"/>
                        <a:pt x="21094" y="8348"/>
                        <a:pt x="21094" y="8348"/>
                      </a:cubicBezTo>
                      <a:cubicBezTo>
                        <a:pt x="21094" y="3843"/>
                        <a:pt x="16875" y="265"/>
                        <a:pt x="11812" y="265"/>
                      </a:cubicBezTo>
                      <a:cubicBezTo>
                        <a:pt x="9787" y="265"/>
                        <a:pt x="9787" y="265"/>
                        <a:pt x="9787" y="265"/>
                      </a:cubicBez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58" name="Freeform 30"/>
                <p:cNvSpPr/>
                <p:nvPr/>
              </p:nvSpPr>
              <p:spPr>
                <a:xfrm>
                  <a:off x="828114" y="16711"/>
                  <a:ext cx="178243" cy="177828"/>
                </a:xfrm>
                <a:custGeom>
                  <a:avLst/>
                  <a:gdLst/>
                  <a:ahLst/>
                  <a:cxnLst>
                    <a:cxn ang="0">
                      <a:pos x="wd2" y="hd2"/>
                    </a:cxn>
                    <a:cxn ang="5400000">
                      <a:pos x="wd2" y="hd2"/>
                    </a:cxn>
                    <a:cxn ang="10800000">
                      <a:pos x="wd2" y="hd2"/>
                    </a:cxn>
                    <a:cxn ang="16200000">
                      <a:pos x="wd2" y="hd2"/>
                    </a:cxn>
                  </a:cxnLst>
                  <a:rect l="0" t="0" r="r" b="b"/>
                  <a:pathLst>
                    <a:path w="20735" h="20896" extrusionOk="0">
                      <a:moveTo>
                        <a:pt x="12343" y="7513"/>
                      </a:moveTo>
                      <a:cubicBezTo>
                        <a:pt x="14400" y="7513"/>
                        <a:pt x="15429" y="6574"/>
                        <a:pt x="16457" y="7513"/>
                      </a:cubicBezTo>
                      <a:cubicBezTo>
                        <a:pt x="16457" y="10330"/>
                        <a:pt x="13371" y="8452"/>
                        <a:pt x="11314" y="9391"/>
                      </a:cubicBezTo>
                      <a:cubicBezTo>
                        <a:pt x="11314" y="10330"/>
                        <a:pt x="10286" y="10330"/>
                        <a:pt x="11314" y="11270"/>
                      </a:cubicBezTo>
                      <a:cubicBezTo>
                        <a:pt x="11314" y="12209"/>
                        <a:pt x="12343" y="12209"/>
                        <a:pt x="12343" y="13148"/>
                      </a:cubicBezTo>
                      <a:cubicBezTo>
                        <a:pt x="13371" y="14087"/>
                        <a:pt x="14400" y="15026"/>
                        <a:pt x="14400" y="15965"/>
                      </a:cubicBezTo>
                      <a:cubicBezTo>
                        <a:pt x="15429" y="15965"/>
                        <a:pt x="15429" y="16904"/>
                        <a:pt x="15429" y="16904"/>
                      </a:cubicBezTo>
                      <a:cubicBezTo>
                        <a:pt x="15429" y="16904"/>
                        <a:pt x="15429" y="16904"/>
                        <a:pt x="15429" y="16904"/>
                      </a:cubicBezTo>
                      <a:cubicBezTo>
                        <a:pt x="16457" y="17843"/>
                        <a:pt x="16457" y="17843"/>
                        <a:pt x="16457" y="17843"/>
                      </a:cubicBezTo>
                      <a:cubicBezTo>
                        <a:pt x="17486" y="17843"/>
                        <a:pt x="17486" y="18783"/>
                        <a:pt x="18514" y="18783"/>
                      </a:cubicBezTo>
                      <a:cubicBezTo>
                        <a:pt x="19543" y="18783"/>
                        <a:pt x="20571" y="19722"/>
                        <a:pt x="20571" y="19722"/>
                      </a:cubicBezTo>
                      <a:cubicBezTo>
                        <a:pt x="21600" y="21600"/>
                        <a:pt x="17486" y="20661"/>
                        <a:pt x="16457" y="20661"/>
                      </a:cubicBezTo>
                      <a:cubicBezTo>
                        <a:pt x="15429" y="20661"/>
                        <a:pt x="15429" y="19722"/>
                        <a:pt x="14400" y="19722"/>
                      </a:cubicBezTo>
                      <a:cubicBezTo>
                        <a:pt x="13371" y="17843"/>
                        <a:pt x="12343" y="16904"/>
                        <a:pt x="11314" y="15026"/>
                      </a:cubicBezTo>
                      <a:cubicBezTo>
                        <a:pt x="11314" y="14087"/>
                        <a:pt x="10286" y="13148"/>
                        <a:pt x="10286" y="13148"/>
                      </a:cubicBezTo>
                      <a:cubicBezTo>
                        <a:pt x="9257" y="13148"/>
                        <a:pt x="8229" y="15026"/>
                        <a:pt x="7200" y="15965"/>
                      </a:cubicBezTo>
                      <a:cubicBezTo>
                        <a:pt x="7200" y="16904"/>
                        <a:pt x="6171" y="16904"/>
                        <a:pt x="5143" y="17843"/>
                      </a:cubicBezTo>
                      <a:cubicBezTo>
                        <a:pt x="4114" y="17843"/>
                        <a:pt x="3086" y="18783"/>
                        <a:pt x="1029" y="18783"/>
                      </a:cubicBezTo>
                      <a:cubicBezTo>
                        <a:pt x="1029" y="18783"/>
                        <a:pt x="0" y="18783"/>
                        <a:pt x="0" y="18783"/>
                      </a:cubicBezTo>
                      <a:cubicBezTo>
                        <a:pt x="0" y="17843"/>
                        <a:pt x="1029" y="17843"/>
                        <a:pt x="1029" y="17843"/>
                      </a:cubicBezTo>
                      <a:cubicBezTo>
                        <a:pt x="2057" y="17843"/>
                        <a:pt x="3086" y="16904"/>
                        <a:pt x="4114" y="15965"/>
                      </a:cubicBezTo>
                      <a:cubicBezTo>
                        <a:pt x="5143" y="15965"/>
                        <a:pt x="5143" y="15026"/>
                        <a:pt x="6171" y="15026"/>
                      </a:cubicBezTo>
                      <a:cubicBezTo>
                        <a:pt x="7200" y="13148"/>
                        <a:pt x="8229" y="12209"/>
                        <a:pt x="9257" y="9391"/>
                      </a:cubicBezTo>
                      <a:cubicBezTo>
                        <a:pt x="8229" y="9391"/>
                        <a:pt x="7200" y="10330"/>
                        <a:pt x="7200" y="10330"/>
                      </a:cubicBezTo>
                      <a:cubicBezTo>
                        <a:pt x="5143" y="10330"/>
                        <a:pt x="3086" y="11270"/>
                        <a:pt x="3086" y="8452"/>
                      </a:cubicBezTo>
                      <a:cubicBezTo>
                        <a:pt x="5143" y="8452"/>
                        <a:pt x="8229" y="8452"/>
                        <a:pt x="10286" y="7513"/>
                      </a:cubicBezTo>
                      <a:cubicBezTo>
                        <a:pt x="10286" y="6574"/>
                        <a:pt x="11314" y="5635"/>
                        <a:pt x="11314" y="5635"/>
                      </a:cubicBezTo>
                      <a:cubicBezTo>
                        <a:pt x="11314" y="4696"/>
                        <a:pt x="11314" y="2817"/>
                        <a:pt x="11314" y="2817"/>
                      </a:cubicBezTo>
                      <a:cubicBezTo>
                        <a:pt x="11314" y="1878"/>
                        <a:pt x="10286" y="939"/>
                        <a:pt x="11314" y="939"/>
                      </a:cubicBezTo>
                      <a:cubicBezTo>
                        <a:pt x="11314" y="939"/>
                        <a:pt x="12343" y="0"/>
                        <a:pt x="12343" y="0"/>
                      </a:cubicBezTo>
                      <a:cubicBezTo>
                        <a:pt x="13371" y="939"/>
                        <a:pt x="14400" y="1878"/>
                        <a:pt x="14400" y="2817"/>
                      </a:cubicBezTo>
                      <a:cubicBezTo>
                        <a:pt x="14400" y="2817"/>
                        <a:pt x="13371" y="3757"/>
                        <a:pt x="13371" y="4696"/>
                      </a:cubicBezTo>
                      <a:cubicBezTo>
                        <a:pt x="13371" y="5635"/>
                        <a:pt x="12343" y="6574"/>
                        <a:pt x="12343" y="7513"/>
                      </a:cubicBez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59" name="Freeform 31"/>
                <p:cNvSpPr/>
                <p:nvPr/>
              </p:nvSpPr>
              <p:spPr>
                <a:xfrm>
                  <a:off x="319362" y="167108"/>
                  <a:ext cx="135948" cy="148421"/>
                </a:xfrm>
                <a:custGeom>
                  <a:avLst/>
                  <a:gdLst/>
                  <a:ahLst/>
                  <a:cxnLst>
                    <a:cxn ang="0">
                      <a:pos x="wd2" y="hd2"/>
                    </a:cxn>
                    <a:cxn ang="5400000">
                      <a:pos x="wd2" y="hd2"/>
                    </a:cxn>
                    <a:cxn ang="10800000">
                      <a:pos x="wd2" y="hd2"/>
                    </a:cxn>
                    <a:cxn ang="16200000">
                      <a:pos x="wd2" y="hd2"/>
                    </a:cxn>
                  </a:cxnLst>
                  <a:rect l="0" t="0" r="r" b="b"/>
                  <a:pathLst>
                    <a:path w="20809" h="21316" extrusionOk="0">
                      <a:moveTo>
                        <a:pt x="6750" y="5684"/>
                      </a:moveTo>
                      <a:cubicBezTo>
                        <a:pt x="6750" y="4547"/>
                        <a:pt x="8100" y="3411"/>
                        <a:pt x="8100" y="3411"/>
                      </a:cubicBezTo>
                      <a:cubicBezTo>
                        <a:pt x="9450" y="2274"/>
                        <a:pt x="9450" y="2274"/>
                        <a:pt x="10800" y="2274"/>
                      </a:cubicBezTo>
                      <a:cubicBezTo>
                        <a:pt x="12150" y="3411"/>
                        <a:pt x="10800" y="4547"/>
                        <a:pt x="10800" y="4547"/>
                      </a:cubicBezTo>
                      <a:cubicBezTo>
                        <a:pt x="9450" y="5684"/>
                        <a:pt x="9450" y="5684"/>
                        <a:pt x="9450" y="5684"/>
                      </a:cubicBezTo>
                      <a:cubicBezTo>
                        <a:pt x="9450" y="6821"/>
                        <a:pt x="8100" y="6821"/>
                        <a:pt x="8100" y="7958"/>
                      </a:cubicBezTo>
                      <a:cubicBezTo>
                        <a:pt x="8100" y="9095"/>
                        <a:pt x="8100" y="9095"/>
                        <a:pt x="9450" y="10232"/>
                      </a:cubicBezTo>
                      <a:cubicBezTo>
                        <a:pt x="9450" y="10232"/>
                        <a:pt x="9450" y="10232"/>
                        <a:pt x="9450" y="10232"/>
                      </a:cubicBezTo>
                      <a:cubicBezTo>
                        <a:pt x="10800" y="11368"/>
                        <a:pt x="14850" y="7958"/>
                        <a:pt x="16200" y="6821"/>
                      </a:cubicBezTo>
                      <a:cubicBezTo>
                        <a:pt x="17550" y="6821"/>
                        <a:pt x="18900" y="5684"/>
                        <a:pt x="20250" y="6821"/>
                      </a:cubicBezTo>
                      <a:cubicBezTo>
                        <a:pt x="21600" y="6821"/>
                        <a:pt x="20250" y="9095"/>
                        <a:pt x="18900" y="9095"/>
                      </a:cubicBezTo>
                      <a:cubicBezTo>
                        <a:pt x="17550" y="10232"/>
                        <a:pt x="17550" y="10232"/>
                        <a:pt x="16200" y="10232"/>
                      </a:cubicBezTo>
                      <a:cubicBezTo>
                        <a:pt x="16200" y="10232"/>
                        <a:pt x="14850" y="11368"/>
                        <a:pt x="14850" y="11368"/>
                      </a:cubicBezTo>
                      <a:cubicBezTo>
                        <a:pt x="13500" y="12505"/>
                        <a:pt x="10800" y="14779"/>
                        <a:pt x="9450" y="15916"/>
                      </a:cubicBezTo>
                      <a:cubicBezTo>
                        <a:pt x="8100" y="18189"/>
                        <a:pt x="6750" y="20463"/>
                        <a:pt x="4050" y="20463"/>
                      </a:cubicBezTo>
                      <a:cubicBezTo>
                        <a:pt x="4050" y="21600"/>
                        <a:pt x="2700" y="21600"/>
                        <a:pt x="1350" y="20463"/>
                      </a:cubicBezTo>
                      <a:cubicBezTo>
                        <a:pt x="1350" y="19326"/>
                        <a:pt x="4050" y="18189"/>
                        <a:pt x="4050" y="17053"/>
                      </a:cubicBezTo>
                      <a:cubicBezTo>
                        <a:pt x="4050" y="17053"/>
                        <a:pt x="5400" y="15916"/>
                        <a:pt x="5400" y="15916"/>
                      </a:cubicBezTo>
                      <a:cubicBezTo>
                        <a:pt x="6750" y="14779"/>
                        <a:pt x="6750" y="14779"/>
                        <a:pt x="6750" y="14779"/>
                      </a:cubicBezTo>
                      <a:cubicBezTo>
                        <a:pt x="6750" y="13642"/>
                        <a:pt x="5400" y="12505"/>
                        <a:pt x="5400" y="11368"/>
                      </a:cubicBezTo>
                      <a:cubicBezTo>
                        <a:pt x="4050" y="9095"/>
                        <a:pt x="2700" y="7958"/>
                        <a:pt x="1350" y="5684"/>
                      </a:cubicBezTo>
                      <a:cubicBezTo>
                        <a:pt x="1350" y="4547"/>
                        <a:pt x="0" y="3411"/>
                        <a:pt x="0" y="2274"/>
                      </a:cubicBezTo>
                      <a:cubicBezTo>
                        <a:pt x="0" y="1137"/>
                        <a:pt x="1350" y="0"/>
                        <a:pt x="2700" y="0"/>
                      </a:cubicBezTo>
                      <a:cubicBezTo>
                        <a:pt x="5400" y="1137"/>
                        <a:pt x="4050" y="3411"/>
                        <a:pt x="5400" y="4547"/>
                      </a:cubicBezTo>
                      <a:cubicBezTo>
                        <a:pt x="5400" y="4547"/>
                        <a:pt x="5400" y="5684"/>
                        <a:pt x="6750" y="5684"/>
                      </a:cubicBez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60" name="Freeform 32"/>
                <p:cNvSpPr/>
                <p:nvPr/>
              </p:nvSpPr>
              <p:spPr>
                <a:xfrm>
                  <a:off x="538460" y="23396"/>
                  <a:ext cx="160086" cy="167110"/>
                </a:xfrm>
                <a:custGeom>
                  <a:avLst/>
                  <a:gdLst/>
                  <a:ahLst/>
                  <a:cxnLst>
                    <a:cxn ang="0">
                      <a:pos x="wd2" y="hd2"/>
                    </a:cxn>
                    <a:cxn ang="5400000">
                      <a:pos x="wd2" y="hd2"/>
                    </a:cxn>
                    <a:cxn ang="10800000">
                      <a:pos x="wd2" y="hd2"/>
                    </a:cxn>
                    <a:cxn ang="16200000">
                      <a:pos x="wd2" y="hd2"/>
                    </a:cxn>
                  </a:cxnLst>
                  <a:rect l="0" t="0" r="r" b="b"/>
                  <a:pathLst>
                    <a:path w="20692" h="21600" extrusionOk="0">
                      <a:moveTo>
                        <a:pt x="20463" y="8229"/>
                      </a:moveTo>
                      <a:cubicBezTo>
                        <a:pt x="20463" y="7200"/>
                        <a:pt x="18189" y="8229"/>
                        <a:pt x="17053" y="8229"/>
                      </a:cubicBezTo>
                      <a:cubicBezTo>
                        <a:pt x="15916" y="8229"/>
                        <a:pt x="15916" y="7200"/>
                        <a:pt x="15916" y="6171"/>
                      </a:cubicBezTo>
                      <a:cubicBezTo>
                        <a:pt x="15916" y="6171"/>
                        <a:pt x="14779" y="5143"/>
                        <a:pt x="13642" y="5143"/>
                      </a:cubicBezTo>
                      <a:cubicBezTo>
                        <a:pt x="13642" y="5143"/>
                        <a:pt x="12505" y="6171"/>
                        <a:pt x="12505" y="6171"/>
                      </a:cubicBezTo>
                      <a:cubicBezTo>
                        <a:pt x="12505" y="5143"/>
                        <a:pt x="12505" y="5143"/>
                        <a:pt x="12505" y="4114"/>
                      </a:cubicBezTo>
                      <a:cubicBezTo>
                        <a:pt x="12505" y="4114"/>
                        <a:pt x="13642" y="3086"/>
                        <a:pt x="13642" y="3086"/>
                      </a:cubicBezTo>
                      <a:cubicBezTo>
                        <a:pt x="13642" y="3086"/>
                        <a:pt x="13642" y="3086"/>
                        <a:pt x="13642" y="2057"/>
                      </a:cubicBezTo>
                      <a:cubicBezTo>
                        <a:pt x="13642" y="2057"/>
                        <a:pt x="12505" y="1029"/>
                        <a:pt x="11368" y="2057"/>
                      </a:cubicBezTo>
                      <a:cubicBezTo>
                        <a:pt x="11368" y="2057"/>
                        <a:pt x="11368" y="2057"/>
                        <a:pt x="10232" y="2057"/>
                      </a:cubicBezTo>
                      <a:cubicBezTo>
                        <a:pt x="10232" y="3086"/>
                        <a:pt x="10232" y="3086"/>
                        <a:pt x="10232" y="3086"/>
                      </a:cubicBezTo>
                      <a:cubicBezTo>
                        <a:pt x="9095" y="4114"/>
                        <a:pt x="9095" y="5143"/>
                        <a:pt x="7958" y="5143"/>
                      </a:cubicBezTo>
                      <a:cubicBezTo>
                        <a:pt x="6821" y="3086"/>
                        <a:pt x="10232" y="0"/>
                        <a:pt x="6821" y="0"/>
                      </a:cubicBezTo>
                      <a:cubicBezTo>
                        <a:pt x="6821" y="0"/>
                        <a:pt x="5684" y="1029"/>
                        <a:pt x="5684" y="1029"/>
                      </a:cubicBezTo>
                      <a:cubicBezTo>
                        <a:pt x="5684" y="2057"/>
                        <a:pt x="5684" y="2057"/>
                        <a:pt x="5684" y="2057"/>
                      </a:cubicBezTo>
                      <a:cubicBezTo>
                        <a:pt x="5684" y="3086"/>
                        <a:pt x="4547" y="4114"/>
                        <a:pt x="4547" y="4114"/>
                      </a:cubicBezTo>
                      <a:cubicBezTo>
                        <a:pt x="4547" y="5143"/>
                        <a:pt x="4547" y="5143"/>
                        <a:pt x="4547" y="6171"/>
                      </a:cubicBezTo>
                      <a:cubicBezTo>
                        <a:pt x="4547" y="6171"/>
                        <a:pt x="4547" y="7200"/>
                        <a:pt x="4547" y="7200"/>
                      </a:cubicBezTo>
                      <a:cubicBezTo>
                        <a:pt x="5684" y="8229"/>
                        <a:pt x="5684" y="8229"/>
                        <a:pt x="6821" y="8229"/>
                      </a:cubicBezTo>
                      <a:cubicBezTo>
                        <a:pt x="7958" y="8229"/>
                        <a:pt x="7958" y="6171"/>
                        <a:pt x="9095" y="7200"/>
                      </a:cubicBezTo>
                      <a:cubicBezTo>
                        <a:pt x="9095" y="8229"/>
                        <a:pt x="9095" y="9257"/>
                        <a:pt x="7958" y="9257"/>
                      </a:cubicBezTo>
                      <a:cubicBezTo>
                        <a:pt x="7958" y="10286"/>
                        <a:pt x="7958" y="11314"/>
                        <a:pt x="7958" y="12343"/>
                      </a:cubicBezTo>
                      <a:cubicBezTo>
                        <a:pt x="7958" y="12343"/>
                        <a:pt x="7958" y="13371"/>
                        <a:pt x="7958" y="13371"/>
                      </a:cubicBezTo>
                      <a:cubicBezTo>
                        <a:pt x="6821" y="14400"/>
                        <a:pt x="6821" y="14400"/>
                        <a:pt x="5684" y="14400"/>
                      </a:cubicBezTo>
                      <a:cubicBezTo>
                        <a:pt x="5684" y="14400"/>
                        <a:pt x="5684" y="15429"/>
                        <a:pt x="4547" y="15429"/>
                      </a:cubicBezTo>
                      <a:cubicBezTo>
                        <a:pt x="4547" y="14400"/>
                        <a:pt x="4547" y="14400"/>
                        <a:pt x="4547" y="14400"/>
                      </a:cubicBezTo>
                      <a:cubicBezTo>
                        <a:pt x="4547" y="13371"/>
                        <a:pt x="4547" y="13371"/>
                        <a:pt x="4547" y="13371"/>
                      </a:cubicBezTo>
                      <a:cubicBezTo>
                        <a:pt x="4547" y="13371"/>
                        <a:pt x="4547" y="14400"/>
                        <a:pt x="4547" y="14400"/>
                      </a:cubicBezTo>
                      <a:cubicBezTo>
                        <a:pt x="4547" y="15429"/>
                        <a:pt x="4547" y="16457"/>
                        <a:pt x="4547" y="16457"/>
                      </a:cubicBezTo>
                      <a:cubicBezTo>
                        <a:pt x="4547" y="17486"/>
                        <a:pt x="4547" y="17486"/>
                        <a:pt x="3411" y="18514"/>
                      </a:cubicBezTo>
                      <a:cubicBezTo>
                        <a:pt x="2274" y="17486"/>
                        <a:pt x="2274" y="16457"/>
                        <a:pt x="2274" y="15429"/>
                      </a:cubicBezTo>
                      <a:cubicBezTo>
                        <a:pt x="2274" y="14400"/>
                        <a:pt x="2274" y="13371"/>
                        <a:pt x="2274" y="12343"/>
                      </a:cubicBezTo>
                      <a:cubicBezTo>
                        <a:pt x="2274" y="11314"/>
                        <a:pt x="2274" y="10286"/>
                        <a:pt x="2274" y="9257"/>
                      </a:cubicBezTo>
                      <a:cubicBezTo>
                        <a:pt x="1137" y="9257"/>
                        <a:pt x="0" y="10286"/>
                        <a:pt x="0" y="11314"/>
                      </a:cubicBezTo>
                      <a:cubicBezTo>
                        <a:pt x="0" y="12343"/>
                        <a:pt x="0" y="13371"/>
                        <a:pt x="0" y="14400"/>
                      </a:cubicBezTo>
                      <a:cubicBezTo>
                        <a:pt x="0" y="16457"/>
                        <a:pt x="1137" y="19543"/>
                        <a:pt x="2274" y="20571"/>
                      </a:cubicBezTo>
                      <a:cubicBezTo>
                        <a:pt x="2274" y="21600"/>
                        <a:pt x="3411" y="21600"/>
                        <a:pt x="4547" y="21600"/>
                      </a:cubicBezTo>
                      <a:cubicBezTo>
                        <a:pt x="4547" y="20571"/>
                        <a:pt x="4547" y="20571"/>
                        <a:pt x="5684" y="20571"/>
                      </a:cubicBezTo>
                      <a:cubicBezTo>
                        <a:pt x="5684" y="18514"/>
                        <a:pt x="4547" y="17486"/>
                        <a:pt x="4547" y="16457"/>
                      </a:cubicBezTo>
                      <a:cubicBezTo>
                        <a:pt x="5684" y="16457"/>
                        <a:pt x="6821" y="15429"/>
                        <a:pt x="7958" y="15429"/>
                      </a:cubicBezTo>
                      <a:cubicBezTo>
                        <a:pt x="7958" y="16457"/>
                        <a:pt x="7958" y="16457"/>
                        <a:pt x="7958" y="17486"/>
                      </a:cubicBezTo>
                      <a:cubicBezTo>
                        <a:pt x="7958" y="17486"/>
                        <a:pt x="7958" y="18514"/>
                        <a:pt x="9095" y="19543"/>
                      </a:cubicBezTo>
                      <a:cubicBezTo>
                        <a:pt x="9095" y="19543"/>
                        <a:pt x="10232" y="19543"/>
                        <a:pt x="11368" y="19543"/>
                      </a:cubicBezTo>
                      <a:cubicBezTo>
                        <a:pt x="11368" y="19543"/>
                        <a:pt x="12505" y="18514"/>
                        <a:pt x="12505" y="18514"/>
                      </a:cubicBezTo>
                      <a:cubicBezTo>
                        <a:pt x="13642" y="18514"/>
                        <a:pt x="14779" y="19543"/>
                        <a:pt x="14779" y="19543"/>
                      </a:cubicBezTo>
                      <a:cubicBezTo>
                        <a:pt x="14779" y="19543"/>
                        <a:pt x="15916" y="19543"/>
                        <a:pt x="15916" y="19543"/>
                      </a:cubicBezTo>
                      <a:cubicBezTo>
                        <a:pt x="15916" y="18514"/>
                        <a:pt x="15916" y="17486"/>
                        <a:pt x="17053" y="17486"/>
                      </a:cubicBezTo>
                      <a:cubicBezTo>
                        <a:pt x="17053" y="16457"/>
                        <a:pt x="18189" y="15429"/>
                        <a:pt x="18189" y="15429"/>
                      </a:cubicBezTo>
                      <a:cubicBezTo>
                        <a:pt x="18189" y="14400"/>
                        <a:pt x="17053" y="14400"/>
                        <a:pt x="17053" y="14400"/>
                      </a:cubicBezTo>
                      <a:cubicBezTo>
                        <a:pt x="17053" y="13371"/>
                        <a:pt x="17053" y="12343"/>
                        <a:pt x="17053" y="12343"/>
                      </a:cubicBezTo>
                      <a:cubicBezTo>
                        <a:pt x="17053" y="11314"/>
                        <a:pt x="17053" y="11314"/>
                        <a:pt x="17053" y="10286"/>
                      </a:cubicBezTo>
                      <a:cubicBezTo>
                        <a:pt x="18189" y="10286"/>
                        <a:pt x="21600" y="10286"/>
                        <a:pt x="20463" y="8229"/>
                      </a:cubicBezTo>
                      <a:close/>
                      <a:moveTo>
                        <a:pt x="12505" y="8229"/>
                      </a:moveTo>
                      <a:cubicBezTo>
                        <a:pt x="12505" y="8229"/>
                        <a:pt x="13642" y="7200"/>
                        <a:pt x="14779" y="7200"/>
                      </a:cubicBezTo>
                      <a:cubicBezTo>
                        <a:pt x="14779" y="8229"/>
                        <a:pt x="14779" y="8229"/>
                        <a:pt x="14779" y="9257"/>
                      </a:cubicBezTo>
                      <a:cubicBezTo>
                        <a:pt x="14779" y="9257"/>
                        <a:pt x="14779" y="9257"/>
                        <a:pt x="14779" y="9257"/>
                      </a:cubicBezTo>
                      <a:cubicBezTo>
                        <a:pt x="14779" y="10286"/>
                        <a:pt x="13642" y="10286"/>
                        <a:pt x="13642" y="10286"/>
                      </a:cubicBezTo>
                      <a:cubicBezTo>
                        <a:pt x="13642" y="10286"/>
                        <a:pt x="12505" y="10286"/>
                        <a:pt x="12505" y="9257"/>
                      </a:cubicBezTo>
                      <a:cubicBezTo>
                        <a:pt x="11368" y="9257"/>
                        <a:pt x="11368" y="9257"/>
                        <a:pt x="11368" y="9257"/>
                      </a:cubicBezTo>
                      <a:cubicBezTo>
                        <a:pt x="11368" y="9257"/>
                        <a:pt x="11368" y="8229"/>
                        <a:pt x="12505" y="8229"/>
                      </a:cubicBezTo>
                      <a:close/>
                      <a:moveTo>
                        <a:pt x="11368" y="11314"/>
                      </a:moveTo>
                      <a:cubicBezTo>
                        <a:pt x="11368" y="11314"/>
                        <a:pt x="11368" y="12343"/>
                        <a:pt x="10232" y="12343"/>
                      </a:cubicBezTo>
                      <a:cubicBezTo>
                        <a:pt x="10232" y="11314"/>
                        <a:pt x="11368" y="10286"/>
                        <a:pt x="11368" y="11314"/>
                      </a:cubicBezTo>
                      <a:close/>
                      <a:moveTo>
                        <a:pt x="13642" y="17486"/>
                      </a:moveTo>
                      <a:cubicBezTo>
                        <a:pt x="13642" y="18514"/>
                        <a:pt x="14779" y="17486"/>
                        <a:pt x="14779" y="17486"/>
                      </a:cubicBezTo>
                      <a:cubicBezTo>
                        <a:pt x="14779" y="18514"/>
                        <a:pt x="13642" y="18514"/>
                        <a:pt x="13642" y="17486"/>
                      </a:cubicBezTo>
                      <a:close/>
                      <a:moveTo>
                        <a:pt x="14779" y="16457"/>
                      </a:moveTo>
                      <a:cubicBezTo>
                        <a:pt x="13642" y="16457"/>
                        <a:pt x="13642" y="16457"/>
                        <a:pt x="13642" y="16457"/>
                      </a:cubicBezTo>
                      <a:cubicBezTo>
                        <a:pt x="12505" y="17486"/>
                        <a:pt x="12505" y="17486"/>
                        <a:pt x="11368" y="17486"/>
                      </a:cubicBezTo>
                      <a:cubicBezTo>
                        <a:pt x="11368" y="17486"/>
                        <a:pt x="10232" y="17486"/>
                        <a:pt x="10232" y="17486"/>
                      </a:cubicBezTo>
                      <a:cubicBezTo>
                        <a:pt x="10232" y="15429"/>
                        <a:pt x="9095" y="13371"/>
                        <a:pt x="11368" y="13371"/>
                      </a:cubicBezTo>
                      <a:cubicBezTo>
                        <a:pt x="11368" y="13371"/>
                        <a:pt x="11368" y="14400"/>
                        <a:pt x="11368" y="14400"/>
                      </a:cubicBezTo>
                      <a:cubicBezTo>
                        <a:pt x="12505" y="14400"/>
                        <a:pt x="12505" y="14400"/>
                        <a:pt x="12505" y="15429"/>
                      </a:cubicBezTo>
                      <a:cubicBezTo>
                        <a:pt x="12505" y="15429"/>
                        <a:pt x="12505" y="15429"/>
                        <a:pt x="12505" y="16457"/>
                      </a:cubicBezTo>
                      <a:cubicBezTo>
                        <a:pt x="13642" y="16457"/>
                        <a:pt x="13642" y="15429"/>
                        <a:pt x="13642" y="15429"/>
                      </a:cubicBezTo>
                      <a:cubicBezTo>
                        <a:pt x="13642" y="15429"/>
                        <a:pt x="14779" y="14400"/>
                        <a:pt x="14779" y="14400"/>
                      </a:cubicBezTo>
                      <a:cubicBezTo>
                        <a:pt x="14779" y="13371"/>
                        <a:pt x="12505" y="13371"/>
                        <a:pt x="12505" y="12343"/>
                      </a:cubicBezTo>
                      <a:cubicBezTo>
                        <a:pt x="13642" y="12343"/>
                        <a:pt x="13642" y="11314"/>
                        <a:pt x="14779" y="11314"/>
                      </a:cubicBezTo>
                      <a:cubicBezTo>
                        <a:pt x="15916" y="11314"/>
                        <a:pt x="15916" y="12343"/>
                        <a:pt x="15916" y="13371"/>
                      </a:cubicBezTo>
                      <a:cubicBezTo>
                        <a:pt x="15916" y="13371"/>
                        <a:pt x="15916" y="13371"/>
                        <a:pt x="15916" y="14400"/>
                      </a:cubicBezTo>
                      <a:cubicBezTo>
                        <a:pt x="15916" y="15429"/>
                        <a:pt x="15916" y="15429"/>
                        <a:pt x="14779" y="16457"/>
                      </a:cubicBez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61" name="Freeform 33"/>
                <p:cNvSpPr/>
                <p:nvPr/>
              </p:nvSpPr>
              <p:spPr>
                <a:xfrm>
                  <a:off x="536254" y="73527"/>
                  <a:ext cx="32801" cy="19065"/>
                </a:xfrm>
                <a:custGeom>
                  <a:avLst/>
                  <a:gdLst/>
                  <a:ahLst/>
                  <a:cxnLst>
                    <a:cxn ang="0">
                      <a:pos x="wd2" y="hd2"/>
                    </a:cxn>
                    <a:cxn ang="5400000">
                      <a:pos x="wd2" y="hd2"/>
                    </a:cxn>
                    <a:cxn ang="10800000">
                      <a:pos x="wd2" y="hd2"/>
                    </a:cxn>
                    <a:cxn ang="16200000">
                      <a:pos x="wd2" y="hd2"/>
                    </a:cxn>
                  </a:cxnLst>
                  <a:rect l="0" t="0" r="r" b="b"/>
                  <a:pathLst>
                    <a:path w="15898" h="17600" extrusionOk="0">
                      <a:moveTo>
                        <a:pt x="6109" y="14400"/>
                      </a:moveTo>
                      <a:cubicBezTo>
                        <a:pt x="10429" y="21600"/>
                        <a:pt x="14749" y="14400"/>
                        <a:pt x="14749" y="14400"/>
                      </a:cubicBezTo>
                      <a:cubicBezTo>
                        <a:pt x="19069" y="0"/>
                        <a:pt x="10429" y="0"/>
                        <a:pt x="1789" y="0"/>
                      </a:cubicBezTo>
                      <a:cubicBezTo>
                        <a:pt x="-2531" y="0"/>
                        <a:pt x="1789" y="14400"/>
                        <a:pt x="6109" y="14400"/>
                      </a:cubicBez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62" name="Freeform 34"/>
                <p:cNvSpPr/>
                <p:nvPr/>
              </p:nvSpPr>
              <p:spPr>
                <a:xfrm>
                  <a:off x="1206893" y="167108"/>
                  <a:ext cx="70559" cy="40107"/>
                </a:xfrm>
                <a:custGeom>
                  <a:avLst/>
                  <a:gdLst/>
                  <a:ahLst/>
                  <a:cxnLst>
                    <a:cxn ang="0">
                      <a:pos x="wd2" y="hd2"/>
                    </a:cxn>
                    <a:cxn ang="5400000">
                      <a:pos x="wd2" y="hd2"/>
                    </a:cxn>
                    <a:cxn ang="10800000">
                      <a:pos x="wd2" y="hd2"/>
                    </a:cxn>
                    <a:cxn ang="16200000">
                      <a:pos x="wd2" y="hd2"/>
                    </a:cxn>
                  </a:cxnLst>
                  <a:rect l="0" t="0" r="r" b="b"/>
                  <a:pathLst>
                    <a:path w="21600" h="21600" extrusionOk="0">
                      <a:moveTo>
                        <a:pt x="5400" y="12960"/>
                      </a:moveTo>
                      <a:cubicBezTo>
                        <a:pt x="2700" y="17280"/>
                        <a:pt x="0" y="12960"/>
                        <a:pt x="0" y="17280"/>
                      </a:cubicBezTo>
                      <a:cubicBezTo>
                        <a:pt x="2700" y="21600"/>
                        <a:pt x="5400" y="21600"/>
                        <a:pt x="8100" y="21600"/>
                      </a:cubicBezTo>
                      <a:cubicBezTo>
                        <a:pt x="8100" y="21600"/>
                        <a:pt x="10800" y="21600"/>
                        <a:pt x="10800" y="21600"/>
                      </a:cubicBezTo>
                      <a:cubicBezTo>
                        <a:pt x="13500" y="21600"/>
                        <a:pt x="13500" y="21600"/>
                        <a:pt x="16200" y="21600"/>
                      </a:cubicBezTo>
                      <a:cubicBezTo>
                        <a:pt x="16200" y="21600"/>
                        <a:pt x="18900" y="21600"/>
                        <a:pt x="21600" y="21600"/>
                      </a:cubicBezTo>
                      <a:cubicBezTo>
                        <a:pt x="21600" y="17280"/>
                        <a:pt x="21600" y="12960"/>
                        <a:pt x="18900" y="12960"/>
                      </a:cubicBezTo>
                      <a:cubicBezTo>
                        <a:pt x="16200" y="12960"/>
                        <a:pt x="13500" y="17280"/>
                        <a:pt x="8100" y="12960"/>
                      </a:cubicBezTo>
                      <a:cubicBezTo>
                        <a:pt x="10800" y="12960"/>
                        <a:pt x="13500" y="8640"/>
                        <a:pt x="10800" y="4320"/>
                      </a:cubicBezTo>
                      <a:cubicBezTo>
                        <a:pt x="10800" y="4320"/>
                        <a:pt x="10800" y="0"/>
                        <a:pt x="8100" y="0"/>
                      </a:cubicBezTo>
                      <a:cubicBezTo>
                        <a:pt x="8100" y="0"/>
                        <a:pt x="2700" y="8640"/>
                        <a:pt x="2700" y="8640"/>
                      </a:cubicBezTo>
                      <a:cubicBezTo>
                        <a:pt x="2700" y="12960"/>
                        <a:pt x="5400" y="12960"/>
                        <a:pt x="5400" y="12960"/>
                      </a:cubicBez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63" name="Freeform 35"/>
                <p:cNvSpPr/>
                <p:nvPr/>
              </p:nvSpPr>
              <p:spPr>
                <a:xfrm>
                  <a:off x="1178691" y="160424"/>
                  <a:ext cx="39342" cy="40107"/>
                </a:xfrm>
                <a:custGeom>
                  <a:avLst/>
                  <a:gdLst/>
                  <a:ahLst/>
                  <a:cxnLst>
                    <a:cxn ang="0">
                      <a:pos x="wd2" y="hd2"/>
                    </a:cxn>
                    <a:cxn ang="5400000">
                      <a:pos x="wd2" y="hd2"/>
                    </a:cxn>
                    <a:cxn ang="10800000">
                      <a:pos x="wd2" y="hd2"/>
                    </a:cxn>
                    <a:cxn ang="16200000">
                      <a:pos x="wd2" y="hd2"/>
                    </a:cxn>
                  </a:cxnLst>
                  <a:rect l="0" t="0" r="r" b="b"/>
                  <a:pathLst>
                    <a:path w="19069" h="21600" extrusionOk="0">
                      <a:moveTo>
                        <a:pt x="6109" y="21600"/>
                      </a:moveTo>
                      <a:cubicBezTo>
                        <a:pt x="10429" y="17280"/>
                        <a:pt x="10429" y="12960"/>
                        <a:pt x="10429" y="12960"/>
                      </a:cubicBezTo>
                      <a:cubicBezTo>
                        <a:pt x="14749" y="8640"/>
                        <a:pt x="14749" y="8640"/>
                        <a:pt x="19069" y="8640"/>
                      </a:cubicBezTo>
                      <a:cubicBezTo>
                        <a:pt x="14749" y="8640"/>
                        <a:pt x="14749" y="8640"/>
                        <a:pt x="14749" y="4320"/>
                      </a:cubicBezTo>
                      <a:cubicBezTo>
                        <a:pt x="14749" y="4320"/>
                        <a:pt x="14749" y="0"/>
                        <a:pt x="10429" y="0"/>
                      </a:cubicBezTo>
                      <a:cubicBezTo>
                        <a:pt x="10429" y="0"/>
                        <a:pt x="10429" y="0"/>
                        <a:pt x="10429" y="0"/>
                      </a:cubicBezTo>
                      <a:cubicBezTo>
                        <a:pt x="6109" y="4320"/>
                        <a:pt x="1789" y="8640"/>
                        <a:pt x="1789" y="12960"/>
                      </a:cubicBezTo>
                      <a:cubicBezTo>
                        <a:pt x="-2531" y="12960"/>
                        <a:pt x="1789" y="21600"/>
                        <a:pt x="6109" y="21600"/>
                      </a:cubicBez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64" name="Freeform 36"/>
                <p:cNvSpPr/>
                <p:nvPr/>
              </p:nvSpPr>
              <p:spPr>
                <a:xfrm>
                  <a:off x="1162331" y="200530"/>
                  <a:ext cx="107694" cy="53476"/>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cubicBezTo>
                        <a:pt x="1800" y="0"/>
                        <a:pt x="0" y="0"/>
                        <a:pt x="0" y="0"/>
                      </a:cubicBezTo>
                      <a:cubicBezTo>
                        <a:pt x="0" y="3086"/>
                        <a:pt x="1800" y="3086"/>
                        <a:pt x="3600" y="6171"/>
                      </a:cubicBezTo>
                      <a:cubicBezTo>
                        <a:pt x="5400" y="6171"/>
                        <a:pt x="7200" y="6171"/>
                        <a:pt x="10800" y="9257"/>
                      </a:cubicBezTo>
                      <a:cubicBezTo>
                        <a:pt x="10800" y="9257"/>
                        <a:pt x="12600" y="9257"/>
                        <a:pt x="14400" y="9257"/>
                      </a:cubicBezTo>
                      <a:cubicBezTo>
                        <a:pt x="16200" y="12343"/>
                        <a:pt x="18000" y="12343"/>
                        <a:pt x="18000" y="15429"/>
                      </a:cubicBezTo>
                      <a:cubicBezTo>
                        <a:pt x="16200" y="18514"/>
                        <a:pt x="14400" y="15429"/>
                        <a:pt x="14400" y="15429"/>
                      </a:cubicBezTo>
                      <a:cubicBezTo>
                        <a:pt x="14400" y="18514"/>
                        <a:pt x="16200" y="18514"/>
                        <a:pt x="16200" y="18514"/>
                      </a:cubicBezTo>
                      <a:cubicBezTo>
                        <a:pt x="18000" y="21600"/>
                        <a:pt x="18000" y="21600"/>
                        <a:pt x="18000" y="21600"/>
                      </a:cubicBezTo>
                      <a:cubicBezTo>
                        <a:pt x="19800" y="21600"/>
                        <a:pt x="21600" y="18514"/>
                        <a:pt x="21600" y="15429"/>
                      </a:cubicBezTo>
                      <a:cubicBezTo>
                        <a:pt x="19800" y="12343"/>
                        <a:pt x="18000" y="12343"/>
                        <a:pt x="18000" y="9257"/>
                      </a:cubicBezTo>
                      <a:cubicBezTo>
                        <a:pt x="16200" y="9257"/>
                        <a:pt x="14400" y="6171"/>
                        <a:pt x="12600" y="6171"/>
                      </a:cubicBezTo>
                      <a:cubicBezTo>
                        <a:pt x="10800" y="3086"/>
                        <a:pt x="7200" y="3086"/>
                        <a:pt x="3600" y="0"/>
                      </a:cubicBez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65" name="Freeform 37"/>
                <p:cNvSpPr/>
                <p:nvPr/>
              </p:nvSpPr>
              <p:spPr>
                <a:xfrm>
                  <a:off x="1128908" y="190505"/>
                  <a:ext cx="39612" cy="23397"/>
                </a:xfrm>
                <a:custGeom>
                  <a:avLst/>
                  <a:gdLst/>
                  <a:ahLst/>
                  <a:cxnLst>
                    <a:cxn ang="0">
                      <a:pos x="wd2" y="hd2"/>
                    </a:cxn>
                    <a:cxn ang="5400000">
                      <a:pos x="wd2" y="hd2"/>
                    </a:cxn>
                    <a:cxn ang="10800000">
                      <a:pos x="wd2" y="hd2"/>
                    </a:cxn>
                    <a:cxn ang="16200000">
                      <a:pos x="wd2" y="hd2"/>
                    </a:cxn>
                  </a:cxnLst>
                  <a:rect l="0" t="0" r="r" b="b"/>
                  <a:pathLst>
                    <a:path w="19200" h="21600" extrusionOk="0">
                      <a:moveTo>
                        <a:pt x="12960" y="14400"/>
                      </a:moveTo>
                      <a:cubicBezTo>
                        <a:pt x="12960" y="7200"/>
                        <a:pt x="12960" y="7200"/>
                        <a:pt x="12960" y="7200"/>
                      </a:cubicBezTo>
                      <a:cubicBezTo>
                        <a:pt x="17280" y="7200"/>
                        <a:pt x="17280" y="7200"/>
                        <a:pt x="17280" y="0"/>
                      </a:cubicBezTo>
                      <a:cubicBezTo>
                        <a:pt x="17280" y="0"/>
                        <a:pt x="21600" y="0"/>
                        <a:pt x="17280" y="0"/>
                      </a:cubicBezTo>
                      <a:cubicBezTo>
                        <a:pt x="17280" y="0"/>
                        <a:pt x="4320" y="0"/>
                        <a:pt x="0" y="14400"/>
                      </a:cubicBezTo>
                      <a:cubicBezTo>
                        <a:pt x="0" y="14400"/>
                        <a:pt x="0" y="21600"/>
                        <a:pt x="4320" y="21600"/>
                      </a:cubicBezTo>
                      <a:cubicBezTo>
                        <a:pt x="8640" y="21600"/>
                        <a:pt x="8640" y="14400"/>
                        <a:pt x="12960" y="14400"/>
                      </a:cubicBez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66" name="Freeform 38"/>
                <p:cNvSpPr/>
                <p:nvPr/>
              </p:nvSpPr>
              <p:spPr>
                <a:xfrm>
                  <a:off x="1117769" y="223926"/>
                  <a:ext cx="107694" cy="78998"/>
                </a:xfrm>
                <a:custGeom>
                  <a:avLst/>
                  <a:gdLst/>
                  <a:ahLst/>
                  <a:cxnLst>
                    <a:cxn ang="0">
                      <a:pos x="wd2" y="hd2"/>
                    </a:cxn>
                    <a:cxn ang="5400000">
                      <a:pos x="wd2" y="hd2"/>
                    </a:cxn>
                    <a:cxn ang="10800000">
                      <a:pos x="wd2" y="hd2"/>
                    </a:cxn>
                    <a:cxn ang="16200000">
                      <a:pos x="wd2" y="hd2"/>
                    </a:cxn>
                  </a:cxnLst>
                  <a:rect l="0" t="0" r="r" b="b"/>
                  <a:pathLst>
                    <a:path w="21600" h="19636" extrusionOk="0">
                      <a:moveTo>
                        <a:pt x="21600" y="15709"/>
                      </a:moveTo>
                      <a:cubicBezTo>
                        <a:pt x="19800" y="13745"/>
                        <a:pt x="14400" y="11782"/>
                        <a:pt x="16200" y="7855"/>
                      </a:cubicBezTo>
                      <a:cubicBezTo>
                        <a:pt x="16200" y="7855"/>
                        <a:pt x="18000" y="9818"/>
                        <a:pt x="19800" y="5891"/>
                      </a:cubicBezTo>
                      <a:cubicBezTo>
                        <a:pt x="21600" y="3927"/>
                        <a:pt x="18000" y="1964"/>
                        <a:pt x="16200" y="0"/>
                      </a:cubicBezTo>
                      <a:cubicBezTo>
                        <a:pt x="16200" y="0"/>
                        <a:pt x="14400" y="0"/>
                        <a:pt x="14400" y="0"/>
                      </a:cubicBezTo>
                      <a:cubicBezTo>
                        <a:pt x="12600" y="1964"/>
                        <a:pt x="16200" y="3927"/>
                        <a:pt x="16200" y="5891"/>
                      </a:cubicBezTo>
                      <a:cubicBezTo>
                        <a:pt x="16200" y="5891"/>
                        <a:pt x="14400" y="3927"/>
                        <a:pt x="12600" y="5891"/>
                      </a:cubicBezTo>
                      <a:cubicBezTo>
                        <a:pt x="12600" y="7855"/>
                        <a:pt x="12600" y="7855"/>
                        <a:pt x="12600" y="7855"/>
                      </a:cubicBezTo>
                      <a:cubicBezTo>
                        <a:pt x="10800" y="7855"/>
                        <a:pt x="10800" y="7855"/>
                        <a:pt x="9000" y="7855"/>
                      </a:cubicBezTo>
                      <a:cubicBezTo>
                        <a:pt x="7200" y="5891"/>
                        <a:pt x="3600" y="5891"/>
                        <a:pt x="1800" y="3927"/>
                      </a:cubicBezTo>
                      <a:cubicBezTo>
                        <a:pt x="1800" y="3927"/>
                        <a:pt x="0" y="1964"/>
                        <a:pt x="0" y="1964"/>
                      </a:cubicBezTo>
                      <a:cubicBezTo>
                        <a:pt x="0" y="3927"/>
                        <a:pt x="0" y="5891"/>
                        <a:pt x="1800" y="5891"/>
                      </a:cubicBezTo>
                      <a:cubicBezTo>
                        <a:pt x="1800" y="7855"/>
                        <a:pt x="3600" y="7855"/>
                        <a:pt x="3600" y="7855"/>
                      </a:cubicBezTo>
                      <a:cubicBezTo>
                        <a:pt x="5400" y="9818"/>
                        <a:pt x="9000" y="9818"/>
                        <a:pt x="10800" y="11782"/>
                      </a:cubicBezTo>
                      <a:cubicBezTo>
                        <a:pt x="10800" y="13745"/>
                        <a:pt x="7200" y="17673"/>
                        <a:pt x="3600" y="15709"/>
                      </a:cubicBezTo>
                      <a:cubicBezTo>
                        <a:pt x="3600" y="13745"/>
                        <a:pt x="3600" y="13745"/>
                        <a:pt x="1800" y="11782"/>
                      </a:cubicBezTo>
                      <a:cubicBezTo>
                        <a:pt x="1800" y="13745"/>
                        <a:pt x="1800" y="13745"/>
                        <a:pt x="1800" y="15709"/>
                      </a:cubicBezTo>
                      <a:cubicBezTo>
                        <a:pt x="1800" y="15709"/>
                        <a:pt x="1800" y="17673"/>
                        <a:pt x="1800" y="17673"/>
                      </a:cubicBezTo>
                      <a:cubicBezTo>
                        <a:pt x="1800" y="17673"/>
                        <a:pt x="3600" y="19636"/>
                        <a:pt x="3600" y="19636"/>
                      </a:cubicBezTo>
                      <a:cubicBezTo>
                        <a:pt x="5400" y="19636"/>
                        <a:pt x="7200" y="19636"/>
                        <a:pt x="7200" y="17673"/>
                      </a:cubicBezTo>
                      <a:cubicBezTo>
                        <a:pt x="9000" y="17673"/>
                        <a:pt x="10800" y="15709"/>
                        <a:pt x="12600" y="13745"/>
                      </a:cubicBezTo>
                      <a:cubicBezTo>
                        <a:pt x="16200" y="13745"/>
                        <a:pt x="19800" y="21600"/>
                        <a:pt x="21600" y="17673"/>
                      </a:cubicBezTo>
                      <a:cubicBezTo>
                        <a:pt x="21600" y="17673"/>
                        <a:pt x="21600" y="17673"/>
                        <a:pt x="21600" y="15709"/>
                      </a:cubicBez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67" name="Freeform 39"/>
                <p:cNvSpPr/>
                <p:nvPr/>
              </p:nvSpPr>
              <p:spPr>
                <a:xfrm>
                  <a:off x="308222" y="524722"/>
                  <a:ext cx="935807" cy="912942"/>
                </a:xfrm>
                <a:custGeom>
                  <a:avLst/>
                  <a:gdLst/>
                  <a:ahLst/>
                  <a:cxnLst>
                    <a:cxn ang="0">
                      <a:pos x="wd2" y="hd2"/>
                    </a:cxn>
                    <a:cxn ang="5400000">
                      <a:pos x="wd2" y="hd2"/>
                    </a:cxn>
                    <a:cxn ang="10800000">
                      <a:pos x="wd2" y="hd2"/>
                    </a:cxn>
                    <a:cxn ang="16200000">
                      <a:pos x="wd2" y="hd2"/>
                    </a:cxn>
                  </a:cxnLst>
                  <a:rect l="0" t="0" r="r" b="b"/>
                  <a:pathLst>
                    <a:path w="21600" h="20849" extrusionOk="0">
                      <a:moveTo>
                        <a:pt x="17728" y="2360"/>
                      </a:moveTo>
                      <a:cubicBezTo>
                        <a:pt x="21600" y="182"/>
                        <a:pt x="21600" y="182"/>
                        <a:pt x="21600" y="182"/>
                      </a:cubicBezTo>
                      <a:cubicBezTo>
                        <a:pt x="21600" y="182"/>
                        <a:pt x="21600" y="10346"/>
                        <a:pt x="21600" y="12161"/>
                      </a:cubicBezTo>
                      <a:cubicBezTo>
                        <a:pt x="21600" y="15066"/>
                        <a:pt x="19562" y="18877"/>
                        <a:pt x="14875" y="20329"/>
                      </a:cubicBezTo>
                      <a:cubicBezTo>
                        <a:pt x="11004" y="21418"/>
                        <a:pt x="1426" y="21600"/>
                        <a:pt x="0" y="12524"/>
                      </a:cubicBezTo>
                      <a:cubicBezTo>
                        <a:pt x="0" y="0"/>
                        <a:pt x="0" y="0"/>
                        <a:pt x="0" y="0"/>
                      </a:cubicBezTo>
                      <a:cubicBezTo>
                        <a:pt x="3668" y="2178"/>
                        <a:pt x="3668" y="2178"/>
                        <a:pt x="3668" y="2178"/>
                      </a:cubicBezTo>
                      <a:cubicBezTo>
                        <a:pt x="3668" y="13432"/>
                        <a:pt x="3668" y="13432"/>
                        <a:pt x="3668" y="13432"/>
                      </a:cubicBezTo>
                      <a:cubicBezTo>
                        <a:pt x="3668" y="13432"/>
                        <a:pt x="5909" y="17970"/>
                        <a:pt x="11208" y="17788"/>
                      </a:cubicBezTo>
                      <a:cubicBezTo>
                        <a:pt x="16506" y="17607"/>
                        <a:pt x="17728" y="13250"/>
                        <a:pt x="17728" y="12524"/>
                      </a:cubicBezTo>
                      <a:cubicBezTo>
                        <a:pt x="17728" y="11254"/>
                        <a:pt x="17728" y="2360"/>
                        <a:pt x="17728" y="2360"/>
                      </a:cubicBez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68" name="Freeform 40"/>
                <p:cNvSpPr/>
                <p:nvPr/>
              </p:nvSpPr>
              <p:spPr>
                <a:xfrm>
                  <a:off x="519892" y="327533"/>
                  <a:ext cx="237665" cy="71522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12800" y="1200"/>
                        <a:pt x="21600" y="3840"/>
                      </a:cubicBezTo>
                      <a:cubicBezTo>
                        <a:pt x="21600" y="3840"/>
                        <a:pt x="12800" y="6000"/>
                        <a:pt x="12000" y="9360"/>
                      </a:cubicBezTo>
                      <a:cubicBezTo>
                        <a:pt x="12000" y="12960"/>
                        <a:pt x="12000" y="21600"/>
                        <a:pt x="12000" y="21600"/>
                      </a:cubicBezTo>
                      <a:cubicBezTo>
                        <a:pt x="12000" y="21600"/>
                        <a:pt x="4800" y="20400"/>
                        <a:pt x="0" y="20880"/>
                      </a:cubicBezTo>
                      <a:lnTo>
                        <a:pt x="0" y="0"/>
                      </a:ln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sp>
              <p:nvSpPr>
                <p:cNvPr id="1869" name="Freeform 41"/>
                <p:cNvSpPr/>
                <p:nvPr/>
              </p:nvSpPr>
              <p:spPr>
                <a:xfrm>
                  <a:off x="467902" y="327659"/>
                  <a:ext cx="616445" cy="919478"/>
                </a:xfrm>
                <a:custGeom>
                  <a:avLst/>
                  <a:gdLst/>
                  <a:ahLst/>
                  <a:cxnLst>
                    <a:cxn ang="0">
                      <a:pos x="wd2" y="hd2"/>
                    </a:cxn>
                    <a:cxn ang="5400000">
                      <a:pos x="wd2" y="hd2"/>
                    </a:cxn>
                    <a:cxn ang="10800000">
                      <a:pos x="wd2" y="hd2"/>
                    </a:cxn>
                    <a:cxn ang="16200000">
                      <a:pos x="wd2" y="hd2"/>
                    </a:cxn>
                  </a:cxnLst>
                  <a:rect l="0" t="0" r="r" b="b"/>
                  <a:pathLst>
                    <a:path w="21600" h="20924" extrusionOk="0">
                      <a:moveTo>
                        <a:pt x="13577" y="1458"/>
                      </a:moveTo>
                      <a:cubicBezTo>
                        <a:pt x="8331" y="3273"/>
                        <a:pt x="7406" y="6177"/>
                        <a:pt x="7406" y="6721"/>
                      </a:cubicBezTo>
                      <a:cubicBezTo>
                        <a:pt x="7406" y="7266"/>
                        <a:pt x="7406" y="14890"/>
                        <a:pt x="7406" y="15434"/>
                      </a:cubicBezTo>
                      <a:cubicBezTo>
                        <a:pt x="7406" y="15979"/>
                        <a:pt x="6789" y="16705"/>
                        <a:pt x="5863" y="16523"/>
                      </a:cubicBezTo>
                      <a:cubicBezTo>
                        <a:pt x="4629" y="16342"/>
                        <a:pt x="3086" y="15616"/>
                        <a:pt x="2160" y="15979"/>
                      </a:cubicBezTo>
                      <a:cubicBezTo>
                        <a:pt x="1234" y="16342"/>
                        <a:pt x="617" y="16886"/>
                        <a:pt x="617" y="16886"/>
                      </a:cubicBezTo>
                      <a:cubicBezTo>
                        <a:pt x="0" y="16886"/>
                        <a:pt x="0" y="16886"/>
                        <a:pt x="0" y="16886"/>
                      </a:cubicBezTo>
                      <a:cubicBezTo>
                        <a:pt x="0" y="17068"/>
                        <a:pt x="0" y="17068"/>
                        <a:pt x="0" y="17068"/>
                      </a:cubicBezTo>
                      <a:cubicBezTo>
                        <a:pt x="926" y="17068"/>
                        <a:pt x="926" y="17068"/>
                        <a:pt x="926" y="17068"/>
                      </a:cubicBezTo>
                      <a:cubicBezTo>
                        <a:pt x="926" y="17068"/>
                        <a:pt x="2160" y="17068"/>
                        <a:pt x="3086" y="18338"/>
                      </a:cubicBezTo>
                      <a:cubicBezTo>
                        <a:pt x="4320" y="20335"/>
                        <a:pt x="10800" y="21424"/>
                        <a:pt x="14503" y="20698"/>
                      </a:cubicBezTo>
                      <a:cubicBezTo>
                        <a:pt x="17897" y="20153"/>
                        <a:pt x="19749" y="17431"/>
                        <a:pt x="19749" y="16705"/>
                      </a:cubicBezTo>
                      <a:cubicBezTo>
                        <a:pt x="19749" y="15797"/>
                        <a:pt x="19749" y="6721"/>
                        <a:pt x="19749" y="5995"/>
                      </a:cubicBezTo>
                      <a:cubicBezTo>
                        <a:pt x="19749" y="5269"/>
                        <a:pt x="21600" y="5088"/>
                        <a:pt x="21600" y="5088"/>
                      </a:cubicBezTo>
                      <a:cubicBezTo>
                        <a:pt x="21600" y="6"/>
                        <a:pt x="21600" y="6"/>
                        <a:pt x="21600" y="6"/>
                      </a:cubicBezTo>
                      <a:cubicBezTo>
                        <a:pt x="21600" y="6"/>
                        <a:pt x="18206" y="-176"/>
                        <a:pt x="13577" y="1458"/>
                      </a:cubicBezTo>
                      <a:close/>
                      <a:moveTo>
                        <a:pt x="2777" y="16705"/>
                      </a:moveTo>
                      <a:cubicBezTo>
                        <a:pt x="2469" y="16705"/>
                        <a:pt x="2469" y="16705"/>
                        <a:pt x="2469" y="16523"/>
                      </a:cubicBezTo>
                      <a:cubicBezTo>
                        <a:pt x="2469" y="16523"/>
                        <a:pt x="2469" y="16342"/>
                        <a:pt x="2777" y="16342"/>
                      </a:cubicBezTo>
                      <a:cubicBezTo>
                        <a:pt x="3086" y="16342"/>
                        <a:pt x="3086" y="16523"/>
                        <a:pt x="3086" y="16523"/>
                      </a:cubicBezTo>
                      <a:cubicBezTo>
                        <a:pt x="3086" y="16705"/>
                        <a:pt x="3086" y="16705"/>
                        <a:pt x="2777" y="16705"/>
                      </a:cubicBezTo>
                      <a:close/>
                    </a:path>
                  </a:pathLst>
                </a:custGeom>
                <a:solidFill>
                  <a:srgbClr val="0075C2"/>
                </a:solidFill>
                <a:ln w="12700" cap="flat">
                  <a:noFill/>
                  <a:miter lim="400000"/>
                </a:ln>
                <a:effectLst/>
              </p:spPr>
              <p:txBody>
                <a:bodyPr wrap="square" lIns="45719" tIns="45719" rIns="45719" bIns="45719" numCol="1" anchor="t">
                  <a:noAutofit/>
                </a:bodyPr>
                <a:lstStyle/>
                <a:p>
                  <a:pPr defTabSz="914400">
                    <a:defRPr>
                      <a:latin typeface="+mj-lt"/>
                      <a:ea typeface="+mj-ea"/>
                      <a:cs typeface="+mj-cs"/>
                      <a:sym typeface="Calibri" panose="020F0502020204030204"/>
                    </a:defRPr>
                  </a:pPr>
                  <a:endParaRPr/>
                </a:p>
              </p:txBody>
            </p:sp>
          </p:grpSp>
          <p:sp>
            <p:nvSpPr>
              <p:cNvPr id="1871" name="矩形 117"/>
              <p:cNvSpPr txBox="1"/>
              <p:nvPr/>
            </p:nvSpPr>
            <p:spPr>
              <a:xfrm>
                <a:off x="1072434" y="4180440"/>
                <a:ext cx="9821588" cy="767080"/>
              </a:xfrm>
              <a:prstGeom prst="rect">
                <a:avLst/>
              </a:prstGeom>
              <a:noFill/>
              <a:ln w="12700" cap="flat">
                <a:noFill/>
                <a:miter lim="400000"/>
              </a:ln>
              <a:effectLst/>
            </p:spPr>
            <p:txBody>
              <a:bodyPr wrap="square" lIns="45719" tIns="45719" rIns="45719" bIns="45719" numCol="1" anchor="t">
                <a:spAutoFit/>
              </a:bodyPr>
              <a:lstStyle>
                <a:lvl1pPr algn="just" defTabSz="914400">
                  <a:defRPr>
                    <a:latin typeface="+mj-lt"/>
                    <a:ea typeface="+mj-ea"/>
                    <a:cs typeface="+mj-cs"/>
                    <a:sym typeface="Calibri" panose="020F0502020204030204"/>
                  </a:defRPr>
                </a:lvl1pPr>
              </a:lstStyle>
              <a:p>
                <a:pPr algn="ctr"/>
                <a:r>
                  <a:rPr lang="en-US" sz="4400" b="1">
                    <a:solidFill>
                      <a:srgbClr val="002060"/>
                    </a:solidFill>
                  </a:rPr>
                  <a:t>Welcome to Shanghai University</a:t>
                </a:r>
                <a:endParaRPr lang="en-US" altLang="en-US" sz="4400" b="1">
                  <a:solidFill>
                    <a:srgbClr val="002060"/>
                  </a:solidFill>
                  <a:ea typeface="宋体" panose="02010600030101010101" pitchFamily="2" charset="-122"/>
                </a:endParaRPr>
              </a:p>
            </p:txBody>
          </p:sp>
        </p:grpSp>
      </p:grpSp>
    </p:spTree>
  </p:cSld>
  <p:clrMapOvr>
    <a:masterClrMapping/>
  </p:clrMapOvr>
  <mc:AlternateContent xmlns:mc="http://schemas.openxmlformats.org/markup-compatibility/2006" xmlns:p14="http://schemas.microsoft.com/office/powerpoint/2010/main">
    <mc:Choice Requires="p14">
      <p:transition spd="slow" p14:dur="1200">
        <p14:switch dir="r"/>
      </p:transition>
    </mc:Choice>
    <mc:Fallback xmlns="">
      <p:transition spd="slow">
        <p:fade/>
      </p:transition>
    </mc:Fallback>
  </mc:AlternateContent>
  <p:timing>
    <p:tnLst>
      <p:par>
        <p:cTn id="1" dur="indefinite" restart="never" fill="hold" nodeType="tmRoot"/>
      </p:par>
    </p:tnLst>
    <p:bldLst>
      <p:bldP spid="1780" grpId="1" bldLvl="0" animBg="1" advAuto="0"/>
      <p:bldP spid="1781" grpId="2" bldLvl="0" animBg="1" advAuto="0"/>
      <p:bldP spid="1782" grpId="3" animBg="1" advAuto="0"/>
      <p:bldP spid="1783" grpId="4" bldLvl="0" animBg="1" advAuto="0"/>
      <p:bldP spid="1784" grpId="5" bldLvl="0" animBg="1" advAuto="0"/>
      <p:bldP spid="1785" grpId="6" bldLvl="0" animBg="1" advAuto="0"/>
      <p:bldP spid="1786" grpId="7" bldLvl="0" animBg="1" advAuto="0"/>
      <p:bldP spid="1787" grpId="8" bldLvl="0" animBg="1" advAuto="0"/>
      <p:bldP spid="1788" grpId="9" bldLvl="0" animBg="1" advAuto="0"/>
      <p:bldP spid="1789" grpId="10" bldLvl="0" animBg="1" advAuto="0"/>
      <p:bldP spid="1790" grpId="11" bldLvl="0" animBg="1" advAuto="0"/>
      <p:bldP spid="1791" grpId="12" bldLvl="0" animBg="1" advAuto="0"/>
      <p:bldP spid="1792" grpId="13" bldLvl="0" animBg="1" advAuto="0"/>
      <p:bldP spid="1793" grpId="14" bldLvl="0" animBg="1" advAuto="0"/>
      <p:bldP spid="1794" grpId="15" bldLvl="0" animBg="1" advAuto="0"/>
      <p:bldP spid="1795" grpId="16" bldLvl="0" animBg="1" advAuto="0"/>
      <p:bldP spid="1796" grpId="17" bldLvl="0" animBg="1" advAuto="0"/>
      <p:bldP spid="1797" grpId="18" bldLvl="0" animBg="1" advAuto="0"/>
      <p:bldP spid="1798" grpId="19" bldLvl="0" animBg="1" advAuto="0"/>
      <p:bldP spid="1799" grpId="20" bldLvl="0" animBg="1" advAuto="0"/>
      <p:bldP spid="1800" grpId="21" bldLvl="0" animBg="1" advAuto="0"/>
      <p:bldP spid="1801" grpId="22" bldLvl="0" animBg="1" advAuto="0"/>
      <p:bldP spid="1802" grpId="23" bldLvl="0" animBg="1" advAuto="0"/>
      <p:bldP spid="1803" grpId="24" bldLvl="0" animBg="1" advAuto="0"/>
      <p:bldP spid="1804" grpId="25" bldLvl="0" animBg="1" advAuto="0"/>
      <p:bldP spid="1805" grpId="26" bldLvl="0" animBg="1" advAuto="0"/>
      <p:bldP spid="1806" grpId="27" bldLvl="0" animBg="1" advAuto="0"/>
      <p:bldP spid="1807" grpId="28" bldLvl="0" animBg="1" advAuto="0"/>
      <p:bldP spid="1808" grpId="29" bldLvl="0" animBg="1" advAuto="0"/>
      <p:bldP spid="1809" grpId="30" bldLvl="0" animBg="1" advAuto="0"/>
      <p:bldP spid="1810" grpId="31" bldLvl="0" animBg="1" advAuto="0"/>
      <p:bldP spid="1811" grpId="32" bldLvl="0" animBg="1" advAuto="0"/>
      <p:bldP spid="1812" grpId="33" bldLvl="0" animBg="1" advAuto="0"/>
      <p:bldP spid="1813" grpId="34" bldLvl="0" animBg="1" advAuto="0"/>
      <p:bldP spid="1814" grpId="35" bldLvl="0" animBg="1" advAuto="0"/>
      <p:bldP spid="1815" grpId="36" bldLvl="0" animBg="1" advAuto="0"/>
      <p:bldP spid="1816" grpId="37" bldLvl="0" animBg="1" advAuto="0"/>
      <p:bldP spid="1817" grpId="38" bldLvl="0" animBg="1" advAuto="0"/>
      <p:bldP spid="1818" grpId="39" bldLvl="0" animBg="1" advAuto="0"/>
      <p:bldP spid="1873" grpId="40" bldLvl="0" animBg="1" advAuto="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a:blip r:embed="rId2" cstate="email"/>
          <a:stretch>
            <a:fillRect/>
          </a:stretch>
        </p:blipFill>
        <p:spPr>
          <a:xfrm>
            <a:off x="19629" y="-18823"/>
            <a:ext cx="12194088" cy="6866396"/>
          </a:xfrm>
          <a:prstGeom prst="rect">
            <a:avLst/>
          </a:prstGeom>
          <a:effectLst>
            <a:reflection blurRad="381000" stA="60000" endPos="64000" dist="520700" dir="5400000" sy="-100000" algn="bl" rotWithShape="0"/>
            <a:softEdge rad="76200"/>
          </a:effectLst>
        </p:spPr>
      </p:pic>
      <p:sp>
        <p:nvSpPr>
          <p:cNvPr id="16" name="椭圆 15"/>
          <p:cNvSpPr/>
          <p:nvPr/>
        </p:nvSpPr>
        <p:spPr>
          <a:xfrm>
            <a:off x="6970107" y="3233531"/>
            <a:ext cx="1790230" cy="1790228"/>
          </a:xfrm>
          <a:prstGeom prst="ellipse">
            <a:avLst/>
          </a:prstGeom>
          <a:noFill/>
          <a:ln w="28575">
            <a:solidFill>
              <a:schemeClr val="bg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grpSp>
        <p:nvGrpSpPr>
          <p:cNvPr id="110" name="组合 109"/>
          <p:cNvGrpSpPr/>
          <p:nvPr/>
        </p:nvGrpSpPr>
        <p:grpSpPr>
          <a:xfrm>
            <a:off x="5395913" y="1659336"/>
            <a:ext cx="4938617" cy="4938617"/>
            <a:chOff x="4293929" y="1970130"/>
            <a:chExt cx="4489652" cy="4489652"/>
          </a:xfrm>
        </p:grpSpPr>
        <p:cxnSp>
          <p:nvCxnSpPr>
            <p:cNvPr id="32" name="直接连接符 31"/>
            <p:cNvCxnSpPr>
              <a:stCxn id="16" idx="4"/>
            </p:cNvCxnSpPr>
            <p:nvPr/>
          </p:nvCxnSpPr>
          <p:spPr>
            <a:xfrm>
              <a:off x="6538756" y="5028697"/>
              <a:ext cx="0" cy="1431085"/>
            </a:xfrm>
            <a:prstGeom prst="line">
              <a:avLst/>
            </a:prstGeom>
            <a:ln>
              <a:solidFill>
                <a:schemeClr val="tx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4" name="直接连接符 43"/>
            <p:cNvCxnSpPr>
              <a:endCxn id="16" idx="0"/>
            </p:cNvCxnSpPr>
            <p:nvPr/>
          </p:nvCxnSpPr>
          <p:spPr>
            <a:xfrm>
              <a:off x="6538755" y="1970130"/>
              <a:ext cx="1" cy="1431087"/>
            </a:xfrm>
            <a:prstGeom prst="line">
              <a:avLst/>
            </a:prstGeom>
            <a:ln>
              <a:solidFill>
                <a:schemeClr val="tx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3" name="直接连接符 52"/>
            <p:cNvCxnSpPr>
              <a:stCxn id="16" idx="6"/>
            </p:cNvCxnSpPr>
            <p:nvPr/>
          </p:nvCxnSpPr>
          <p:spPr>
            <a:xfrm flipV="1">
              <a:off x="7352497" y="4211910"/>
              <a:ext cx="1431084" cy="3047"/>
            </a:xfrm>
            <a:prstGeom prst="line">
              <a:avLst/>
            </a:prstGeom>
            <a:ln>
              <a:solidFill>
                <a:schemeClr val="tx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4" name="直接连接符 53"/>
            <p:cNvCxnSpPr>
              <a:endCxn id="16" idx="2"/>
            </p:cNvCxnSpPr>
            <p:nvPr/>
          </p:nvCxnSpPr>
          <p:spPr>
            <a:xfrm>
              <a:off x="4293929" y="4214956"/>
              <a:ext cx="1431086" cy="1"/>
            </a:xfrm>
            <a:prstGeom prst="line">
              <a:avLst/>
            </a:prstGeom>
            <a:ln>
              <a:solidFill>
                <a:schemeClr val="tx1">
                  <a:lumMod val="75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3" name="椭圆 2"/>
          <p:cNvSpPr/>
          <p:nvPr/>
        </p:nvSpPr>
        <p:spPr>
          <a:xfrm>
            <a:off x="6277497" y="2540921"/>
            <a:ext cx="3175451" cy="3175449"/>
          </a:xfrm>
          <a:prstGeom prst="ellipse">
            <a:avLst/>
          </a:prstGeom>
          <a:noFill/>
          <a:ln w="285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sp>
        <p:nvSpPr>
          <p:cNvPr id="15" name="椭圆 14"/>
          <p:cNvSpPr/>
          <p:nvPr/>
        </p:nvSpPr>
        <p:spPr>
          <a:xfrm>
            <a:off x="5395913" y="1659336"/>
            <a:ext cx="4938617" cy="4938617"/>
          </a:xfrm>
          <a:prstGeom prst="ellipse">
            <a:avLst/>
          </a:prstGeom>
          <a:noFill/>
          <a:ln w="28575">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pic>
        <p:nvPicPr>
          <p:cNvPr id="59" name="图片 58"/>
          <p:cNvPicPr>
            <a:picLocks noChangeAspect="1"/>
          </p:cNvPicPr>
          <p:nvPr/>
        </p:nvPicPr>
        <p:blipFill>
          <a:blip r:embed="rId3" cstate="email"/>
          <a:stretch>
            <a:fillRect/>
          </a:stretch>
        </p:blipFill>
        <p:spPr>
          <a:xfrm>
            <a:off x="7549744" y="3300006"/>
            <a:ext cx="256914" cy="256914"/>
          </a:xfrm>
          <a:prstGeom prst="rect">
            <a:avLst/>
          </a:prstGeom>
        </p:spPr>
      </p:pic>
      <p:pic>
        <p:nvPicPr>
          <p:cNvPr id="93" name="图片 92"/>
          <p:cNvPicPr>
            <a:picLocks noChangeAspect="1"/>
          </p:cNvPicPr>
          <p:nvPr/>
        </p:nvPicPr>
        <p:blipFill>
          <a:blip r:embed="rId4" cstate="email"/>
          <a:stretch>
            <a:fillRect/>
          </a:stretch>
        </p:blipFill>
        <p:spPr>
          <a:xfrm>
            <a:off x="6452278" y="1569581"/>
            <a:ext cx="256914" cy="256914"/>
          </a:xfrm>
          <a:prstGeom prst="rect">
            <a:avLst/>
          </a:prstGeom>
        </p:spPr>
      </p:pic>
      <p:cxnSp>
        <p:nvCxnSpPr>
          <p:cNvPr id="135" name="直接连接符 134"/>
          <p:cNvCxnSpPr/>
          <p:nvPr/>
        </p:nvCxnSpPr>
        <p:spPr>
          <a:xfrm rot="20801239">
            <a:off x="7462973" y="1704129"/>
            <a:ext cx="1" cy="1574196"/>
          </a:xfrm>
          <a:prstGeom prst="line">
            <a:avLst/>
          </a:prstGeom>
          <a:ln w="19050">
            <a:solidFill>
              <a:srgbClr val="923F32"/>
            </a:solidFill>
            <a:prstDash val="solid"/>
          </a:ln>
        </p:spPr>
        <p:style>
          <a:lnRef idx="1">
            <a:schemeClr val="accent1"/>
          </a:lnRef>
          <a:fillRef idx="0">
            <a:schemeClr val="accent1"/>
          </a:fillRef>
          <a:effectRef idx="0">
            <a:schemeClr val="accent1"/>
          </a:effectRef>
          <a:fontRef idx="minor">
            <a:schemeClr val="tx1"/>
          </a:fontRef>
        </p:style>
      </p:cxnSp>
      <p:cxnSp>
        <p:nvCxnSpPr>
          <p:cNvPr id="150" name="直接连接符 149"/>
          <p:cNvCxnSpPr/>
          <p:nvPr/>
        </p:nvCxnSpPr>
        <p:spPr>
          <a:xfrm rot="19883344">
            <a:off x="7076278" y="1849772"/>
            <a:ext cx="1" cy="1574196"/>
          </a:xfrm>
          <a:prstGeom prst="line">
            <a:avLst/>
          </a:prstGeom>
          <a:ln w="19050">
            <a:solidFill>
              <a:srgbClr val="EFA73D"/>
            </a:solidFill>
            <a:prstDash val="solid"/>
          </a:ln>
        </p:spPr>
        <p:style>
          <a:lnRef idx="1">
            <a:schemeClr val="accent1"/>
          </a:lnRef>
          <a:fillRef idx="0">
            <a:schemeClr val="accent1"/>
          </a:fillRef>
          <a:effectRef idx="0">
            <a:schemeClr val="accent1"/>
          </a:effectRef>
          <a:fontRef idx="minor">
            <a:schemeClr val="tx1"/>
          </a:fontRef>
        </p:style>
      </p:cxnSp>
      <p:sp>
        <p:nvSpPr>
          <p:cNvPr id="154" name="椭圆 153"/>
          <p:cNvSpPr/>
          <p:nvPr/>
        </p:nvSpPr>
        <p:spPr>
          <a:xfrm>
            <a:off x="7524894" y="2883799"/>
            <a:ext cx="89751" cy="89751"/>
          </a:xfrm>
          <a:prstGeom prst="ellipse">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grpSp>
        <p:nvGrpSpPr>
          <p:cNvPr id="155" name="组合 154"/>
          <p:cNvGrpSpPr/>
          <p:nvPr/>
        </p:nvGrpSpPr>
        <p:grpSpPr>
          <a:xfrm>
            <a:off x="7285987" y="2644892"/>
            <a:ext cx="567565" cy="567565"/>
            <a:chOff x="6530906" y="-1202228"/>
            <a:chExt cx="1358668" cy="1358668"/>
          </a:xfrm>
        </p:grpSpPr>
        <p:sp>
          <p:nvSpPr>
            <p:cNvPr id="156" name="弧形 155"/>
            <p:cNvSpPr/>
            <p:nvPr/>
          </p:nvSpPr>
          <p:spPr>
            <a:xfrm>
              <a:off x="6789248" y="-943886"/>
              <a:ext cx="841984" cy="841984"/>
            </a:xfrm>
            <a:prstGeom prst="arc">
              <a:avLst>
                <a:gd name="adj1" fmla="val 16200000"/>
                <a:gd name="adj2" fmla="val 10771215"/>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latin typeface="Arial" panose="020B0604020202020204"/>
                <a:ea typeface="黑体" panose="02010609060101010101" pitchFamily="49" charset="-122"/>
              </a:endParaRPr>
            </a:p>
          </p:txBody>
        </p:sp>
        <p:sp>
          <p:nvSpPr>
            <p:cNvPr id="157" name="椭圆 156"/>
            <p:cNvSpPr/>
            <p:nvPr/>
          </p:nvSpPr>
          <p:spPr>
            <a:xfrm>
              <a:off x="6530906" y="-1202228"/>
              <a:ext cx="1358668" cy="13586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grpSp>
      <p:grpSp>
        <p:nvGrpSpPr>
          <p:cNvPr id="158" name="组合 157"/>
          <p:cNvGrpSpPr/>
          <p:nvPr/>
        </p:nvGrpSpPr>
        <p:grpSpPr>
          <a:xfrm>
            <a:off x="7252335" y="2611240"/>
            <a:ext cx="634869" cy="634869"/>
            <a:chOff x="7732613" y="-1206780"/>
            <a:chExt cx="1031574" cy="1031574"/>
          </a:xfrm>
        </p:grpSpPr>
        <p:sp>
          <p:nvSpPr>
            <p:cNvPr id="159" name="弧形 158"/>
            <p:cNvSpPr/>
            <p:nvPr/>
          </p:nvSpPr>
          <p:spPr>
            <a:xfrm>
              <a:off x="8072968" y="-866425"/>
              <a:ext cx="350864" cy="350864"/>
            </a:xfrm>
            <a:prstGeom prst="arc">
              <a:avLst>
                <a:gd name="adj1" fmla="val 14511589"/>
                <a:gd name="adj2" fmla="val 10771215"/>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latin typeface="Arial" panose="020B0604020202020204"/>
                <a:ea typeface="黑体" panose="02010609060101010101" pitchFamily="49" charset="-122"/>
              </a:endParaRPr>
            </a:p>
          </p:txBody>
        </p:sp>
        <p:sp>
          <p:nvSpPr>
            <p:cNvPr id="160" name="椭圆 159"/>
            <p:cNvSpPr/>
            <p:nvPr/>
          </p:nvSpPr>
          <p:spPr>
            <a:xfrm>
              <a:off x="7732613" y="-1206780"/>
              <a:ext cx="1031574" cy="103157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grpSp>
      <p:sp>
        <p:nvSpPr>
          <p:cNvPr id="163" name="椭圆 162"/>
          <p:cNvSpPr/>
          <p:nvPr/>
        </p:nvSpPr>
        <p:spPr>
          <a:xfrm>
            <a:off x="5363558" y="1656290"/>
            <a:ext cx="4938617" cy="4938617"/>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sp>
        <p:nvSpPr>
          <p:cNvPr id="166" name="椭圆 165"/>
          <p:cNvSpPr/>
          <p:nvPr/>
        </p:nvSpPr>
        <p:spPr>
          <a:xfrm>
            <a:off x="6895076" y="2337617"/>
            <a:ext cx="89751" cy="89751"/>
          </a:xfrm>
          <a:prstGeom prst="ellipse">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grpSp>
        <p:nvGrpSpPr>
          <p:cNvPr id="167" name="组合 166"/>
          <p:cNvGrpSpPr/>
          <p:nvPr/>
        </p:nvGrpSpPr>
        <p:grpSpPr>
          <a:xfrm>
            <a:off x="6656169" y="2098710"/>
            <a:ext cx="567565" cy="567565"/>
            <a:chOff x="6530906" y="-1202228"/>
            <a:chExt cx="1358668" cy="1358668"/>
          </a:xfrm>
        </p:grpSpPr>
        <p:sp>
          <p:nvSpPr>
            <p:cNvPr id="168" name="弧形 167"/>
            <p:cNvSpPr/>
            <p:nvPr/>
          </p:nvSpPr>
          <p:spPr>
            <a:xfrm>
              <a:off x="6789248" y="-943886"/>
              <a:ext cx="841984" cy="841984"/>
            </a:xfrm>
            <a:prstGeom prst="arc">
              <a:avLst>
                <a:gd name="adj1" fmla="val 16200000"/>
                <a:gd name="adj2" fmla="val 10771215"/>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latin typeface="Arial" panose="020B0604020202020204"/>
                <a:ea typeface="黑体" panose="02010609060101010101" pitchFamily="49" charset="-122"/>
              </a:endParaRPr>
            </a:p>
          </p:txBody>
        </p:sp>
        <p:sp>
          <p:nvSpPr>
            <p:cNvPr id="169" name="椭圆 168"/>
            <p:cNvSpPr/>
            <p:nvPr/>
          </p:nvSpPr>
          <p:spPr>
            <a:xfrm>
              <a:off x="6530906" y="-1202228"/>
              <a:ext cx="1358668" cy="13586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grpSp>
      <p:grpSp>
        <p:nvGrpSpPr>
          <p:cNvPr id="170" name="组合 169"/>
          <p:cNvGrpSpPr/>
          <p:nvPr/>
        </p:nvGrpSpPr>
        <p:grpSpPr>
          <a:xfrm>
            <a:off x="6622517" y="2065058"/>
            <a:ext cx="634869" cy="634869"/>
            <a:chOff x="7732613" y="-1206780"/>
            <a:chExt cx="1031574" cy="1031574"/>
          </a:xfrm>
        </p:grpSpPr>
        <p:sp>
          <p:nvSpPr>
            <p:cNvPr id="171" name="弧形 170"/>
            <p:cNvSpPr/>
            <p:nvPr/>
          </p:nvSpPr>
          <p:spPr>
            <a:xfrm>
              <a:off x="8072968" y="-866425"/>
              <a:ext cx="350864" cy="350864"/>
            </a:xfrm>
            <a:prstGeom prst="arc">
              <a:avLst>
                <a:gd name="adj1" fmla="val 14511589"/>
                <a:gd name="adj2" fmla="val 10771215"/>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latin typeface="Arial" panose="020B0604020202020204"/>
                <a:ea typeface="黑体" panose="02010609060101010101" pitchFamily="49" charset="-122"/>
              </a:endParaRPr>
            </a:p>
          </p:txBody>
        </p:sp>
        <p:sp>
          <p:nvSpPr>
            <p:cNvPr id="172" name="椭圆 171"/>
            <p:cNvSpPr/>
            <p:nvPr/>
          </p:nvSpPr>
          <p:spPr>
            <a:xfrm>
              <a:off x="7732613" y="-1206780"/>
              <a:ext cx="1031574" cy="103157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grpSp>
      <p:sp>
        <p:nvSpPr>
          <p:cNvPr id="173" name="椭圆 172"/>
          <p:cNvSpPr/>
          <p:nvPr/>
        </p:nvSpPr>
        <p:spPr>
          <a:xfrm>
            <a:off x="5963830" y="2026618"/>
            <a:ext cx="89751" cy="89751"/>
          </a:xfrm>
          <a:prstGeom prst="ellipse">
            <a:avLst/>
          </a:prstGeom>
          <a:solidFill>
            <a:schemeClr val="tx1"/>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grpSp>
        <p:nvGrpSpPr>
          <p:cNvPr id="174" name="组合 173"/>
          <p:cNvGrpSpPr/>
          <p:nvPr/>
        </p:nvGrpSpPr>
        <p:grpSpPr>
          <a:xfrm>
            <a:off x="5724923" y="1787711"/>
            <a:ext cx="567565" cy="567565"/>
            <a:chOff x="6530906" y="-1202228"/>
            <a:chExt cx="1358668" cy="1358668"/>
          </a:xfrm>
        </p:grpSpPr>
        <p:sp>
          <p:nvSpPr>
            <p:cNvPr id="175" name="弧形 174"/>
            <p:cNvSpPr/>
            <p:nvPr/>
          </p:nvSpPr>
          <p:spPr>
            <a:xfrm>
              <a:off x="6789248" y="-943886"/>
              <a:ext cx="841984" cy="841984"/>
            </a:xfrm>
            <a:prstGeom prst="arc">
              <a:avLst>
                <a:gd name="adj1" fmla="val 16200000"/>
                <a:gd name="adj2" fmla="val 10771215"/>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latin typeface="Arial" panose="020B0604020202020204"/>
                <a:ea typeface="黑体" panose="02010609060101010101" pitchFamily="49" charset="-122"/>
              </a:endParaRPr>
            </a:p>
          </p:txBody>
        </p:sp>
        <p:sp>
          <p:nvSpPr>
            <p:cNvPr id="176" name="椭圆 175"/>
            <p:cNvSpPr/>
            <p:nvPr/>
          </p:nvSpPr>
          <p:spPr>
            <a:xfrm>
              <a:off x="6530906" y="-1202228"/>
              <a:ext cx="1358668" cy="13586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grpSp>
      <p:grpSp>
        <p:nvGrpSpPr>
          <p:cNvPr id="177" name="组合 176"/>
          <p:cNvGrpSpPr/>
          <p:nvPr/>
        </p:nvGrpSpPr>
        <p:grpSpPr>
          <a:xfrm>
            <a:off x="5691271" y="1754059"/>
            <a:ext cx="634869" cy="634869"/>
            <a:chOff x="7732613" y="-1206780"/>
            <a:chExt cx="1031574" cy="1031574"/>
          </a:xfrm>
        </p:grpSpPr>
        <p:sp>
          <p:nvSpPr>
            <p:cNvPr id="178" name="弧形 177"/>
            <p:cNvSpPr/>
            <p:nvPr/>
          </p:nvSpPr>
          <p:spPr>
            <a:xfrm>
              <a:off x="8072968" y="-866425"/>
              <a:ext cx="350864" cy="350864"/>
            </a:xfrm>
            <a:prstGeom prst="arc">
              <a:avLst>
                <a:gd name="adj1" fmla="val 14511589"/>
                <a:gd name="adj2" fmla="val 10771215"/>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latin typeface="Arial" panose="020B0604020202020204"/>
                <a:ea typeface="黑体" panose="02010609060101010101" pitchFamily="49" charset="-122"/>
              </a:endParaRPr>
            </a:p>
          </p:txBody>
        </p:sp>
        <p:sp>
          <p:nvSpPr>
            <p:cNvPr id="179" name="椭圆 178"/>
            <p:cNvSpPr/>
            <p:nvPr/>
          </p:nvSpPr>
          <p:spPr>
            <a:xfrm>
              <a:off x="7732613" y="-1206780"/>
              <a:ext cx="1031574" cy="103157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grpSp>
      <p:grpSp>
        <p:nvGrpSpPr>
          <p:cNvPr id="5" name="组合 4"/>
          <p:cNvGrpSpPr/>
          <p:nvPr/>
        </p:nvGrpSpPr>
        <p:grpSpPr>
          <a:xfrm>
            <a:off x="7712426" y="3439523"/>
            <a:ext cx="319755" cy="882156"/>
            <a:chOff x="6206167" y="3617274"/>
            <a:chExt cx="295181" cy="814365"/>
          </a:xfrm>
          <a:solidFill>
            <a:srgbClr val="14215E"/>
          </a:solidFill>
        </p:grpSpPr>
        <p:sp>
          <p:nvSpPr>
            <p:cNvPr id="19" name="椭圆 18"/>
            <p:cNvSpPr/>
            <p:nvPr/>
          </p:nvSpPr>
          <p:spPr>
            <a:xfrm>
              <a:off x="6304144" y="3752450"/>
              <a:ext cx="105508" cy="105508"/>
            </a:xfrm>
            <a:prstGeom prst="ellipse">
              <a:avLst/>
            </a:prstGeom>
            <a:grpFill/>
            <a:ln>
              <a:solidFill>
                <a:srgbClr val="1421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sp>
          <p:nvSpPr>
            <p:cNvPr id="20" name="椭圆 19"/>
            <p:cNvSpPr/>
            <p:nvPr/>
          </p:nvSpPr>
          <p:spPr>
            <a:xfrm>
              <a:off x="6238826" y="4092420"/>
              <a:ext cx="236145" cy="236145"/>
            </a:xfrm>
            <a:prstGeom prst="ellipse">
              <a:avLst/>
            </a:prstGeom>
            <a:grpFill/>
            <a:ln>
              <a:solidFill>
                <a:srgbClr val="1421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sp>
          <p:nvSpPr>
            <p:cNvPr id="21" name="椭圆 20"/>
            <p:cNvSpPr/>
            <p:nvPr/>
          </p:nvSpPr>
          <p:spPr>
            <a:xfrm>
              <a:off x="6328433" y="3656442"/>
              <a:ext cx="56931" cy="56931"/>
            </a:xfrm>
            <a:prstGeom prst="ellipse">
              <a:avLst/>
            </a:prstGeom>
            <a:grpFill/>
            <a:ln>
              <a:solidFill>
                <a:srgbClr val="1421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sp>
          <p:nvSpPr>
            <p:cNvPr id="25" name="矩形 24"/>
            <p:cNvSpPr/>
            <p:nvPr/>
          </p:nvSpPr>
          <p:spPr>
            <a:xfrm>
              <a:off x="6334039" y="3822677"/>
              <a:ext cx="45719" cy="405288"/>
            </a:xfrm>
            <a:prstGeom prst="rect">
              <a:avLst/>
            </a:prstGeom>
            <a:grpFill/>
            <a:ln>
              <a:solidFill>
                <a:srgbClr val="1421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a typeface="黑体" panose="02010609060101010101" pitchFamily="49" charset="-122"/>
              </a:endParaRPr>
            </a:p>
          </p:txBody>
        </p:sp>
        <p:cxnSp>
          <p:nvCxnSpPr>
            <p:cNvPr id="27" name="直接连接符 26"/>
            <p:cNvCxnSpPr/>
            <p:nvPr/>
          </p:nvCxnSpPr>
          <p:spPr>
            <a:xfrm>
              <a:off x="6356898" y="3617274"/>
              <a:ext cx="0" cy="163078"/>
            </a:xfrm>
            <a:prstGeom prst="line">
              <a:avLst/>
            </a:prstGeom>
            <a:grpFill/>
            <a:ln w="19050">
              <a:solidFill>
                <a:srgbClr val="14215E"/>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flipH="1">
              <a:off x="6356899" y="4361748"/>
              <a:ext cx="1" cy="69891"/>
            </a:xfrm>
            <a:prstGeom prst="line">
              <a:avLst/>
            </a:prstGeom>
            <a:grpFill/>
            <a:ln w="38100">
              <a:solidFill>
                <a:srgbClr val="14215E"/>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a:off x="6436029" y="4328565"/>
              <a:ext cx="65319" cy="69373"/>
            </a:xfrm>
            <a:prstGeom prst="line">
              <a:avLst/>
            </a:prstGeom>
            <a:grpFill/>
            <a:ln w="38100">
              <a:solidFill>
                <a:srgbClr val="14215E"/>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flipH="1">
              <a:off x="6206167" y="4328306"/>
              <a:ext cx="65318" cy="69891"/>
            </a:xfrm>
            <a:prstGeom prst="line">
              <a:avLst/>
            </a:prstGeom>
            <a:grpFill/>
            <a:ln w="38100">
              <a:solidFill>
                <a:srgbClr val="14215E"/>
              </a:solidFill>
            </a:ln>
          </p:spPr>
          <p:style>
            <a:lnRef idx="1">
              <a:schemeClr val="accent1"/>
            </a:lnRef>
            <a:fillRef idx="0">
              <a:schemeClr val="accent1"/>
            </a:fillRef>
            <a:effectRef idx="0">
              <a:schemeClr val="accent1"/>
            </a:effectRef>
            <a:fontRef idx="minor">
              <a:schemeClr val="tx1"/>
            </a:fontRef>
          </p:style>
        </p:cxnSp>
      </p:grpSp>
      <p:sp>
        <p:nvSpPr>
          <p:cNvPr id="2" name="文本框 1"/>
          <p:cNvSpPr txBox="1"/>
          <p:nvPr/>
        </p:nvSpPr>
        <p:spPr>
          <a:xfrm>
            <a:off x="6343708" y="4332834"/>
            <a:ext cx="3076113" cy="430887"/>
          </a:xfrm>
          <a:prstGeom prst="rect">
            <a:avLst/>
          </a:prstGeom>
          <a:noFill/>
        </p:spPr>
        <p:txBody>
          <a:bodyPr wrap="square" rtlCol="0">
            <a:spAutoFit/>
          </a:bodyPr>
          <a:lstStyle/>
          <a:p>
            <a:pPr algn="ctr"/>
            <a:r>
              <a:rPr lang="en-US" altLang="zh-CN" sz="1100" dirty="0">
                <a:solidFill>
                  <a:srgbClr val="14215E"/>
                </a:solidFill>
                <a:latin typeface="Arial" panose="020B0604020202020204" pitchFamily="34" charset="0"/>
                <a:ea typeface="方正兰亭黑_GBK" panose="02000000000000000000" pitchFamily="2" charset="-122"/>
              </a:rPr>
              <a:t>the Oriental </a:t>
            </a:r>
          </a:p>
          <a:p>
            <a:pPr algn="ctr"/>
            <a:r>
              <a:rPr lang="en-US" altLang="zh-CN" sz="1100" dirty="0">
                <a:solidFill>
                  <a:srgbClr val="14215E"/>
                </a:solidFill>
                <a:latin typeface="Arial" panose="020B0604020202020204" pitchFamily="34" charset="0"/>
                <a:ea typeface="方正兰亭黑_GBK" panose="02000000000000000000" pitchFamily="2" charset="-122"/>
              </a:rPr>
              <a:t>Pearl TV Tower</a:t>
            </a:r>
            <a:endParaRPr lang="zh-CN" altLang="en-US" sz="1100" dirty="0">
              <a:solidFill>
                <a:srgbClr val="14215E"/>
              </a:solidFill>
              <a:latin typeface="Arial" panose="020B0604020202020204" pitchFamily="34" charset="0"/>
              <a:ea typeface="方正兰亭黑_GBK" panose="02000000000000000000" pitchFamily="2" charset="-122"/>
            </a:endParaRPr>
          </a:p>
        </p:txBody>
      </p:sp>
      <p:cxnSp>
        <p:nvCxnSpPr>
          <p:cNvPr id="92" name="直接连接符 91"/>
          <p:cNvCxnSpPr/>
          <p:nvPr/>
        </p:nvCxnSpPr>
        <p:spPr>
          <a:xfrm>
            <a:off x="6224585" y="2300083"/>
            <a:ext cx="1061401" cy="1128656"/>
          </a:xfrm>
          <a:prstGeom prst="line">
            <a:avLst/>
          </a:prstGeom>
          <a:ln w="19050">
            <a:solidFill>
              <a:srgbClr val="9F5383"/>
            </a:solidFill>
            <a:prstDash val="solid"/>
          </a:ln>
        </p:spPr>
        <p:style>
          <a:lnRef idx="1">
            <a:schemeClr val="accent1"/>
          </a:lnRef>
          <a:fillRef idx="0">
            <a:schemeClr val="accent1"/>
          </a:fillRef>
          <a:effectRef idx="0">
            <a:schemeClr val="accent1"/>
          </a:effectRef>
          <a:fontRef idx="minor">
            <a:schemeClr val="tx1"/>
          </a:fontRef>
        </p:style>
      </p:cxnSp>
      <p:pic>
        <p:nvPicPr>
          <p:cNvPr id="24" name="图片 23"/>
          <p:cNvPicPr>
            <a:picLocks noChangeAspect="1"/>
          </p:cNvPicPr>
          <p:nvPr/>
        </p:nvPicPr>
        <p:blipFill>
          <a:blip r:embed="rId5" cstate="email"/>
          <a:stretch>
            <a:fillRect/>
          </a:stretch>
        </p:blipFill>
        <p:spPr>
          <a:xfrm>
            <a:off x="6874568" y="3360745"/>
            <a:ext cx="256011" cy="256011"/>
          </a:xfrm>
          <a:prstGeom prst="rect">
            <a:avLst/>
          </a:prstGeom>
        </p:spPr>
      </p:pic>
      <p:grpSp>
        <p:nvGrpSpPr>
          <p:cNvPr id="40" name="组合 39"/>
          <p:cNvGrpSpPr/>
          <p:nvPr/>
        </p:nvGrpSpPr>
        <p:grpSpPr>
          <a:xfrm>
            <a:off x="4541909" y="1097830"/>
            <a:ext cx="6234609" cy="6054928"/>
            <a:chOff x="4747917" y="1097830"/>
            <a:chExt cx="6234609" cy="6054928"/>
          </a:xfrm>
        </p:grpSpPr>
        <p:grpSp>
          <p:nvGrpSpPr>
            <p:cNvPr id="34" name="组合 33"/>
            <p:cNvGrpSpPr/>
            <p:nvPr/>
          </p:nvGrpSpPr>
          <p:grpSpPr>
            <a:xfrm>
              <a:off x="5651705" y="3569006"/>
              <a:ext cx="5143541" cy="1894335"/>
              <a:chOff x="5651705" y="3569006"/>
              <a:chExt cx="5143541" cy="1894335"/>
            </a:xfrm>
          </p:grpSpPr>
          <p:pic>
            <p:nvPicPr>
              <p:cNvPr id="28" name="图片 27"/>
              <p:cNvPicPr>
                <a:picLocks noChangeAspect="1"/>
              </p:cNvPicPr>
              <p:nvPr/>
            </p:nvPicPr>
            <p:blipFill>
              <a:blip r:embed="rId6" cstate="email"/>
              <a:stretch>
                <a:fillRect/>
              </a:stretch>
            </p:blipFill>
            <p:spPr>
              <a:xfrm>
                <a:off x="7157035" y="3569006"/>
                <a:ext cx="473081" cy="473081"/>
              </a:xfrm>
              <a:prstGeom prst="rect">
                <a:avLst/>
              </a:prstGeom>
            </p:spPr>
          </p:pic>
          <p:pic>
            <p:nvPicPr>
              <p:cNvPr id="35" name="图片 34"/>
              <p:cNvPicPr>
                <a:picLocks noChangeAspect="1"/>
              </p:cNvPicPr>
              <p:nvPr/>
            </p:nvPicPr>
            <p:blipFill>
              <a:blip r:embed="rId6" cstate="email"/>
              <a:stretch>
                <a:fillRect/>
              </a:stretch>
            </p:blipFill>
            <p:spPr>
              <a:xfrm>
                <a:off x="5651705" y="4510505"/>
                <a:ext cx="473081" cy="473081"/>
              </a:xfrm>
              <a:prstGeom prst="rect">
                <a:avLst/>
              </a:prstGeom>
            </p:spPr>
          </p:pic>
          <p:pic>
            <p:nvPicPr>
              <p:cNvPr id="29" name="图片 28"/>
              <p:cNvPicPr>
                <a:picLocks noChangeAspect="1"/>
              </p:cNvPicPr>
              <p:nvPr/>
            </p:nvPicPr>
            <p:blipFill>
              <a:blip r:embed="rId7" cstate="email"/>
              <a:stretch>
                <a:fillRect/>
              </a:stretch>
            </p:blipFill>
            <p:spPr>
              <a:xfrm>
                <a:off x="10353545" y="4558071"/>
                <a:ext cx="441701" cy="441701"/>
              </a:xfrm>
              <a:prstGeom prst="rect">
                <a:avLst/>
              </a:prstGeom>
            </p:spPr>
          </p:pic>
          <p:pic>
            <p:nvPicPr>
              <p:cNvPr id="39" name="图片 38"/>
              <p:cNvPicPr>
                <a:picLocks noChangeAspect="1"/>
              </p:cNvPicPr>
              <p:nvPr/>
            </p:nvPicPr>
            <p:blipFill>
              <a:blip r:embed="rId7" cstate="email"/>
              <a:stretch>
                <a:fillRect/>
              </a:stretch>
            </p:blipFill>
            <p:spPr>
              <a:xfrm>
                <a:off x="5882243" y="5021640"/>
                <a:ext cx="441701" cy="441701"/>
              </a:xfrm>
              <a:prstGeom prst="rect">
                <a:avLst/>
              </a:prstGeom>
            </p:spPr>
          </p:pic>
          <p:pic>
            <p:nvPicPr>
              <p:cNvPr id="107" name="图片 106"/>
              <p:cNvPicPr>
                <a:picLocks noChangeAspect="1"/>
              </p:cNvPicPr>
              <p:nvPr/>
            </p:nvPicPr>
            <p:blipFill>
              <a:blip r:embed="rId6" cstate="email"/>
              <a:stretch>
                <a:fillRect/>
              </a:stretch>
            </p:blipFill>
            <p:spPr>
              <a:xfrm>
                <a:off x="6848975" y="4849262"/>
                <a:ext cx="473081" cy="473081"/>
              </a:xfrm>
              <a:prstGeom prst="rect">
                <a:avLst/>
              </a:prstGeom>
            </p:spPr>
          </p:pic>
        </p:grpSp>
        <p:sp>
          <p:nvSpPr>
            <p:cNvPr id="36" name="矩形 35"/>
            <p:cNvSpPr/>
            <p:nvPr/>
          </p:nvSpPr>
          <p:spPr>
            <a:xfrm>
              <a:off x="4747917" y="1097830"/>
              <a:ext cx="6234609" cy="6054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ndParaRPr>
            </a:p>
          </p:txBody>
        </p:sp>
      </p:grpSp>
      <p:sp>
        <p:nvSpPr>
          <p:cNvPr id="111" name="文本框 110"/>
          <p:cNvSpPr txBox="1"/>
          <p:nvPr/>
        </p:nvSpPr>
        <p:spPr>
          <a:xfrm>
            <a:off x="7148563" y="2186504"/>
            <a:ext cx="4642910" cy="369332"/>
          </a:xfrm>
          <a:prstGeom prst="rect">
            <a:avLst/>
          </a:prstGeom>
          <a:noFill/>
        </p:spPr>
        <p:txBody>
          <a:bodyPr wrap="square" rtlCol="0">
            <a:spAutoFit/>
          </a:bodyPr>
          <a:lstStyle/>
          <a:p>
            <a:r>
              <a:rPr lang="en-US" altLang="zh-CN" b="1" dirty="0" err="1">
                <a:solidFill>
                  <a:srgbClr val="14215E"/>
                </a:solidFill>
                <a:latin typeface="Arial" panose="020B0604020202020204" pitchFamily="34" charset="0"/>
                <a:ea typeface="方正兰亭黑_GBK" panose="02000000000000000000" pitchFamily="2" charset="-122"/>
              </a:rPr>
              <a:t>Baoshan</a:t>
            </a:r>
            <a:r>
              <a:rPr lang="en-US" altLang="zh-CN" b="1" dirty="0">
                <a:solidFill>
                  <a:srgbClr val="14215E"/>
                </a:solidFill>
                <a:latin typeface="Arial" panose="020B0604020202020204" pitchFamily="34" charset="0"/>
                <a:ea typeface="方正兰亭黑_GBK" panose="02000000000000000000" pitchFamily="2" charset="-122"/>
              </a:rPr>
              <a:t> Campus</a:t>
            </a:r>
            <a:endParaRPr lang="zh-CN" altLang="en-US" b="1" dirty="0">
              <a:solidFill>
                <a:srgbClr val="14215E"/>
              </a:solidFill>
              <a:latin typeface="Arial" panose="020B0604020202020204" pitchFamily="34" charset="0"/>
              <a:ea typeface="方正兰亭黑_GBK" panose="02000000000000000000" pitchFamily="2" charset="-122"/>
            </a:endParaRPr>
          </a:p>
        </p:txBody>
      </p:sp>
      <p:sp>
        <p:nvSpPr>
          <p:cNvPr id="112" name="文本框 111"/>
          <p:cNvSpPr txBox="1"/>
          <p:nvPr/>
        </p:nvSpPr>
        <p:spPr>
          <a:xfrm>
            <a:off x="6210309" y="1845210"/>
            <a:ext cx="4642910" cy="369332"/>
          </a:xfrm>
          <a:prstGeom prst="rect">
            <a:avLst/>
          </a:prstGeom>
          <a:noFill/>
        </p:spPr>
        <p:txBody>
          <a:bodyPr wrap="square" rtlCol="0">
            <a:spAutoFit/>
          </a:bodyPr>
          <a:lstStyle/>
          <a:p>
            <a:r>
              <a:rPr lang="en-US" altLang="zh-CN" b="1" dirty="0">
                <a:solidFill>
                  <a:srgbClr val="14215E"/>
                </a:solidFill>
                <a:latin typeface="Arial" panose="020B0604020202020204" pitchFamily="34" charset="0"/>
                <a:ea typeface="方正兰亭黑_GBK" panose="02000000000000000000" pitchFamily="2" charset="-122"/>
              </a:rPr>
              <a:t>Jiading Campus</a:t>
            </a:r>
            <a:endParaRPr lang="zh-CN" altLang="en-US" b="1" dirty="0">
              <a:solidFill>
                <a:srgbClr val="14215E"/>
              </a:solidFill>
              <a:latin typeface="Arial" panose="020B0604020202020204" pitchFamily="34" charset="0"/>
              <a:ea typeface="方正兰亭黑_GBK" panose="02000000000000000000" pitchFamily="2" charset="-122"/>
            </a:endParaRPr>
          </a:p>
        </p:txBody>
      </p:sp>
      <p:sp>
        <p:nvSpPr>
          <p:cNvPr id="113" name="文本框 112"/>
          <p:cNvSpPr txBox="1"/>
          <p:nvPr/>
        </p:nvSpPr>
        <p:spPr>
          <a:xfrm>
            <a:off x="7659214" y="2738475"/>
            <a:ext cx="4642910" cy="369332"/>
          </a:xfrm>
          <a:prstGeom prst="rect">
            <a:avLst/>
          </a:prstGeom>
          <a:noFill/>
        </p:spPr>
        <p:txBody>
          <a:bodyPr wrap="square" rtlCol="0">
            <a:spAutoFit/>
          </a:bodyPr>
          <a:lstStyle/>
          <a:p>
            <a:r>
              <a:rPr lang="en-US" altLang="zh-CN" b="1" dirty="0" err="1">
                <a:solidFill>
                  <a:srgbClr val="14215E"/>
                </a:solidFill>
                <a:latin typeface="Arial" panose="020B0604020202020204" pitchFamily="34" charset="0"/>
                <a:ea typeface="方正兰亭黑_GBK" panose="02000000000000000000" pitchFamily="2" charset="-122"/>
              </a:rPr>
              <a:t>Yanchang</a:t>
            </a:r>
            <a:r>
              <a:rPr lang="en-US" altLang="zh-CN" b="1" dirty="0">
                <a:solidFill>
                  <a:srgbClr val="14215E"/>
                </a:solidFill>
                <a:latin typeface="Arial" panose="020B0604020202020204" pitchFamily="34" charset="0"/>
                <a:ea typeface="方正兰亭黑_GBK" panose="02000000000000000000" pitchFamily="2" charset="-122"/>
              </a:rPr>
              <a:t> Campus</a:t>
            </a:r>
            <a:endParaRPr lang="zh-CN" altLang="en-US" b="1" dirty="0">
              <a:solidFill>
                <a:srgbClr val="14215E"/>
              </a:solidFill>
              <a:latin typeface="Arial" panose="020B0604020202020204" pitchFamily="34" charset="0"/>
              <a:ea typeface="方正兰亭黑_GBK" panose="02000000000000000000" pitchFamily="2" charset="-122"/>
            </a:endParaRPr>
          </a:p>
        </p:txBody>
      </p:sp>
      <p:pic>
        <p:nvPicPr>
          <p:cNvPr id="116" name="图片 115"/>
          <p:cNvPicPr>
            <a:picLocks noChangeAspect="1"/>
          </p:cNvPicPr>
          <p:nvPr/>
        </p:nvPicPr>
        <p:blipFill rotWithShape="1">
          <a:blip r:embed="rId8" cstate="email"/>
          <a:srcRect/>
          <a:stretch>
            <a:fillRect/>
          </a:stretch>
        </p:blipFill>
        <p:spPr>
          <a:xfrm>
            <a:off x="734912" y="1727822"/>
            <a:ext cx="3081468" cy="1505709"/>
          </a:xfrm>
          <a:prstGeom prst="rect">
            <a:avLst/>
          </a:prstGeom>
        </p:spPr>
      </p:pic>
      <p:sp>
        <p:nvSpPr>
          <p:cNvPr id="41" name="五角星 40"/>
          <p:cNvSpPr/>
          <p:nvPr/>
        </p:nvSpPr>
        <p:spPr>
          <a:xfrm>
            <a:off x="5865088" y="1905685"/>
            <a:ext cx="287474" cy="287474"/>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ndParaRPr>
          </a:p>
        </p:txBody>
      </p:sp>
      <p:sp>
        <p:nvSpPr>
          <p:cNvPr id="118" name="五角星 117"/>
          <p:cNvSpPr/>
          <p:nvPr/>
        </p:nvSpPr>
        <p:spPr>
          <a:xfrm>
            <a:off x="6796830" y="2229975"/>
            <a:ext cx="287474" cy="287474"/>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ndParaRPr>
          </a:p>
        </p:txBody>
      </p:sp>
      <p:sp>
        <p:nvSpPr>
          <p:cNvPr id="119" name="五角星 118"/>
          <p:cNvSpPr/>
          <p:nvPr/>
        </p:nvSpPr>
        <p:spPr>
          <a:xfrm>
            <a:off x="7433304" y="2781247"/>
            <a:ext cx="287474" cy="287474"/>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Arial" panose="020B0604020202020204"/>
            </a:endParaRPr>
          </a:p>
        </p:txBody>
      </p:sp>
      <p:sp>
        <p:nvSpPr>
          <p:cNvPr id="76" name="Content Placeholder 15"/>
          <p:cNvSpPr txBox="1"/>
          <p:nvPr/>
        </p:nvSpPr>
        <p:spPr>
          <a:xfrm>
            <a:off x="527685" y="260350"/>
            <a:ext cx="6423025" cy="553720"/>
          </a:xfrm>
          <a:prstGeom prst="rect">
            <a:avLst/>
          </a:prstGeom>
        </p:spPr>
        <p:txBody>
          <a:bodyPr wrap="square" lIns="0" tIns="0" rIns="0" bIns="0">
            <a:noAutofit/>
          </a:bodyPr>
          <a:lstStyle>
            <a:lvl1pPr marL="0" indent="0" algn="l" defTabSz="848995"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solidFill>
                  <a:srgbClr val="14215E"/>
                </a:solidFill>
                <a:latin typeface="Arial" panose="020B0604020202020204"/>
              </a:rPr>
              <a:t>university</a:t>
            </a:r>
          </a:p>
          <a:p>
            <a:endParaRPr lang="en-US" sz="3200" dirty="0">
              <a:solidFill>
                <a:srgbClr val="14215E"/>
              </a:solidFill>
              <a:latin typeface="Arial" panose="020B0604020202020204"/>
            </a:endParaRPr>
          </a:p>
        </p:txBody>
      </p:sp>
      <p:sp>
        <p:nvSpPr>
          <p:cNvPr id="77" name="Content Placeholder 15"/>
          <p:cNvSpPr txBox="1"/>
          <p:nvPr/>
        </p:nvSpPr>
        <p:spPr>
          <a:xfrm>
            <a:off x="3226149" y="260510"/>
            <a:ext cx="2827194" cy="553998"/>
          </a:xfrm>
          <a:prstGeom prst="rect">
            <a:avLst/>
          </a:prstGeom>
        </p:spPr>
        <p:txBody>
          <a:bodyPr wrap="square" lIns="0" tIns="0" rIns="0" bIns="0">
            <a:noAutofit/>
          </a:bodyPr>
          <a:lstStyle>
            <a:lvl1pPr marL="0" indent="0" algn="l" defTabSz="848995"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solidFill>
                  <a:srgbClr val="14215E"/>
                </a:solidFill>
                <a:latin typeface="Arial" panose="020B0604020202020204"/>
              </a:rPr>
              <a:t>campus</a:t>
            </a:r>
          </a:p>
          <a:p>
            <a:endParaRPr lang="en-US" sz="3200" dirty="0">
              <a:solidFill>
                <a:srgbClr val="14215E"/>
              </a:solidFill>
              <a:latin typeface="Arial" panose="020B0604020202020204"/>
            </a:endParaRPr>
          </a:p>
        </p:txBody>
      </p:sp>
      <p:sp>
        <p:nvSpPr>
          <p:cNvPr id="82" name="矩形 81"/>
          <p:cNvSpPr/>
          <p:nvPr/>
        </p:nvSpPr>
        <p:spPr>
          <a:xfrm>
            <a:off x="-12040" y="1"/>
            <a:ext cx="264986" cy="6858000"/>
          </a:xfrm>
          <a:prstGeom prst="rect">
            <a:avLst/>
          </a:prstGeom>
          <a:solidFill>
            <a:srgbClr val="1421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dirty="0">
              <a:latin typeface="Arial" panose="020B0604020202020204"/>
            </a:endParaRPr>
          </a:p>
        </p:txBody>
      </p:sp>
      <p:pic>
        <p:nvPicPr>
          <p:cNvPr id="73" name="图片 72"/>
          <p:cNvPicPr>
            <a:picLocks noChangeAspect="1"/>
          </p:cNvPicPr>
          <p:nvPr/>
        </p:nvPicPr>
        <p:blipFill>
          <a:blip r:embed="rId9"/>
          <a:stretch>
            <a:fillRect/>
          </a:stretch>
        </p:blipFill>
        <p:spPr>
          <a:xfrm>
            <a:off x="723350" y="3338351"/>
            <a:ext cx="3069384" cy="1534250"/>
          </a:xfrm>
          <a:prstGeom prst="rect">
            <a:avLst/>
          </a:prstGeom>
        </p:spPr>
      </p:pic>
      <p:pic>
        <p:nvPicPr>
          <p:cNvPr id="74" name="图片 7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2412" y="5003723"/>
            <a:ext cx="3086467" cy="1498104"/>
          </a:xfrm>
          <a:prstGeom prst="rect">
            <a:avLst/>
          </a:prstGeom>
        </p:spPr>
      </p:pic>
      <p:pic>
        <p:nvPicPr>
          <p:cNvPr id="4" name="图片 3" descr="上大logo最新"/>
          <p:cNvPicPr>
            <a:picLocks noChangeAspect="1"/>
          </p:cNvPicPr>
          <p:nvPr/>
        </p:nvPicPr>
        <p:blipFill>
          <a:blip r:embed="rId11">
            <a:clrChange>
              <a:clrFrom>
                <a:srgbClr val="F6F5F6">
                  <a:alpha val="100000"/>
                </a:srgbClr>
              </a:clrFrom>
              <a:clrTo>
                <a:srgbClr val="F6F5F6">
                  <a:alpha val="100000"/>
                  <a:alpha val="0"/>
                </a:srgbClr>
              </a:clrTo>
            </a:clrChange>
          </a:blip>
          <a:stretch>
            <a:fillRect/>
          </a:stretch>
        </p:blipFill>
        <p:spPr>
          <a:xfrm>
            <a:off x="9752330" y="0"/>
            <a:ext cx="2439670" cy="70231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4"/>
          <p:cNvSpPr>
            <a:spLocks noChangeArrowheads="1"/>
          </p:cNvSpPr>
          <p:nvPr/>
        </p:nvSpPr>
        <p:spPr bwMode="auto">
          <a:xfrm>
            <a:off x="446478" y="826552"/>
            <a:ext cx="10811668" cy="2251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nSpc>
                <a:spcPct val="150000"/>
              </a:lnSpc>
              <a:buNone/>
            </a:pPr>
            <a:r>
              <a:rPr lang="en-US" altLang="zh-CN" sz="2000" dirty="0">
                <a:solidFill>
                  <a:schemeClr val="bg2">
                    <a:lumMod val="25000"/>
                  </a:schemeClr>
                </a:solidFill>
                <a:latin typeface="Arial" panose="020B0604020202020204" pitchFamily="34" charset="0"/>
                <a:sym typeface="Arial" panose="020B0604020202020204" pitchFamily="34" charset="0"/>
              </a:rPr>
              <a:t>Jointly </a:t>
            </a:r>
            <a:r>
              <a:rPr lang="zh-CN" altLang="en-US" sz="2000" dirty="0">
                <a:solidFill>
                  <a:schemeClr val="bg2">
                    <a:lumMod val="25000"/>
                  </a:schemeClr>
                </a:solidFill>
                <a:latin typeface="Arial" panose="020B0604020202020204" pitchFamily="34" charset="0"/>
                <a:sym typeface="Arial" panose="020B0604020202020204" pitchFamily="34" charset="0"/>
              </a:rPr>
              <a:t>governed</a:t>
            </a:r>
            <a:r>
              <a:rPr lang="en-US" altLang="zh-CN" sz="2000" dirty="0">
                <a:solidFill>
                  <a:schemeClr val="bg2">
                    <a:lumMod val="25000"/>
                  </a:schemeClr>
                </a:solidFill>
                <a:latin typeface="Arial" panose="020B0604020202020204" pitchFamily="34" charset="0"/>
                <a:sym typeface="Arial" panose="020B0604020202020204" pitchFamily="34" charset="0"/>
              </a:rPr>
              <a:t> by the Ministry of Education and Shanghai</a:t>
            </a:r>
            <a:r>
              <a:rPr lang="zh-CN" altLang="en-US" sz="2000" dirty="0">
                <a:solidFill>
                  <a:schemeClr val="bg2">
                    <a:lumMod val="25000"/>
                  </a:schemeClr>
                </a:solidFill>
                <a:latin typeface="Arial" panose="020B0604020202020204" pitchFamily="34" charset="0"/>
                <a:sym typeface="Arial" panose="020B0604020202020204" pitchFamily="34" charset="0"/>
              </a:rPr>
              <a:t> Municiple </a:t>
            </a:r>
            <a:r>
              <a:rPr lang="en-US" altLang="zh-CN" sz="2000" dirty="0">
                <a:solidFill>
                  <a:schemeClr val="bg2">
                    <a:lumMod val="25000"/>
                  </a:schemeClr>
                </a:solidFill>
                <a:latin typeface="Arial" panose="020B0604020202020204" pitchFamily="34" charset="0"/>
                <a:sym typeface="Arial" panose="020B0604020202020204" pitchFamily="34" charset="0"/>
              </a:rPr>
              <a:t>Government, and listed as a national university of  “211” project. </a:t>
            </a:r>
          </a:p>
          <a:p>
            <a:pPr>
              <a:lnSpc>
                <a:spcPct val="150000"/>
              </a:lnSpc>
              <a:buNone/>
            </a:pPr>
            <a:r>
              <a:rPr lang="en-US" altLang="zh-CN" sz="2400" b="1" dirty="0">
                <a:solidFill>
                  <a:srgbClr val="C00000"/>
                </a:solidFill>
                <a:latin typeface="Arial" panose="020B0604020202020204" pitchFamily="34" charset="0"/>
                <a:sym typeface="+mn-ea"/>
              </a:rPr>
              <a:t>16th</a:t>
            </a:r>
            <a:r>
              <a:rPr lang="en-US" altLang="zh-CN" sz="2000" dirty="0">
                <a:solidFill>
                  <a:schemeClr val="bg2">
                    <a:lumMod val="25000"/>
                  </a:schemeClr>
                </a:solidFill>
                <a:latin typeface="Arial" panose="020B0604020202020204" pitchFamily="34" charset="0"/>
                <a:sym typeface="+mn-ea"/>
              </a:rPr>
              <a:t> among university in mainland china from QS World University Ranking 2021</a:t>
            </a:r>
            <a:endParaRPr lang="en-US" altLang="zh-CN" sz="2000" dirty="0">
              <a:solidFill>
                <a:schemeClr val="bg2">
                  <a:lumMod val="25000"/>
                </a:schemeClr>
              </a:solidFill>
              <a:latin typeface="Arial" panose="020B0604020202020204" pitchFamily="34" charset="0"/>
            </a:endParaRPr>
          </a:p>
          <a:p>
            <a:pPr>
              <a:lnSpc>
                <a:spcPct val="150000"/>
              </a:lnSpc>
              <a:buNone/>
            </a:pPr>
            <a:endParaRPr lang="zh-CN" altLang="en-US" sz="2000" dirty="0">
              <a:solidFill>
                <a:schemeClr val="bg2">
                  <a:lumMod val="25000"/>
                </a:schemeClr>
              </a:solidFill>
              <a:latin typeface="Arial" panose="020B0604020202020204" pitchFamily="34" charset="0"/>
            </a:endParaRPr>
          </a:p>
        </p:txBody>
      </p:sp>
      <p:sp>
        <p:nvSpPr>
          <p:cNvPr id="20" name="矩形 14"/>
          <p:cNvSpPr>
            <a:spLocks noChangeArrowheads="1"/>
          </p:cNvSpPr>
          <p:nvPr/>
        </p:nvSpPr>
        <p:spPr bwMode="auto">
          <a:xfrm>
            <a:off x="5962147" y="2821986"/>
            <a:ext cx="5128370" cy="67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lnSpc>
                <a:spcPct val="90000"/>
              </a:lnSpc>
              <a:spcBef>
                <a:spcPts val="750"/>
              </a:spcBef>
              <a:buFont typeface="Arial" panose="020B0604020202020204" pitchFamily="34" charset="0"/>
              <a:buChar char="•"/>
              <a:tabLst>
                <a:tab pos="892175" algn="l"/>
              </a:tabLst>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tabLst>
                <a:tab pos="892175" algn="l"/>
              </a:tabLst>
              <a:defRPr sz="21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tabLst>
                <a:tab pos="892175" algn="l"/>
              </a:tabLst>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tabLst>
                <a:tab pos="892175" algn="l"/>
              </a:tabLst>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tabLst>
                <a:tab pos="892175" algn="l"/>
              </a:tabLst>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tabLst>
                <a:tab pos="892175" algn="l"/>
              </a:tabLst>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tabLst>
                <a:tab pos="892175" algn="l"/>
              </a:tabLst>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tabLst>
                <a:tab pos="892175" algn="l"/>
              </a:tabLst>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tabLst>
                <a:tab pos="892175" algn="l"/>
              </a:tabLst>
              <a:defRPr sz="1300">
                <a:solidFill>
                  <a:schemeClr val="tx1"/>
                </a:solidFill>
                <a:latin typeface="Calibri" panose="020F0502020204030204" pitchFamily="34" charset="0"/>
                <a:ea typeface="宋体" panose="02010600030101010101" pitchFamily="2" charset="-122"/>
              </a:defRPr>
            </a:lvl9pPr>
          </a:lstStyle>
          <a:p>
            <a:pPr>
              <a:lnSpc>
                <a:spcPct val="150000"/>
              </a:lnSpc>
              <a:spcBef>
                <a:spcPct val="0"/>
              </a:spcBef>
              <a:spcAft>
                <a:spcPct val="20000"/>
              </a:spcAft>
              <a:buClr>
                <a:srgbClr val="C00000"/>
              </a:buClr>
              <a:buSzPct val="50000"/>
              <a:buFont typeface="Arial" panose="020B0604020202020204" pitchFamily="34" charset="0"/>
              <a:buNone/>
            </a:pPr>
            <a:r>
              <a:rPr lang="en-US" altLang="zh-CN" sz="2400" b="1" dirty="0">
                <a:solidFill>
                  <a:srgbClr val="002060"/>
                </a:solidFill>
                <a:latin typeface="微软雅黑" panose="020B0503020204020204" pitchFamily="34" charset="-122"/>
                <a:ea typeface="微软雅黑" panose="020B0503020204020204" pitchFamily="34" charset="-122"/>
              </a:rPr>
              <a:t>		</a:t>
            </a:r>
            <a:endParaRPr lang="en-US" altLang="zh-CN" sz="2400" b="1" dirty="0">
              <a:solidFill>
                <a:srgbClr val="C00000"/>
              </a:solidFill>
              <a:latin typeface="微软雅黑" panose="020B0503020204020204" pitchFamily="34" charset="-122"/>
              <a:ea typeface="微软雅黑" panose="020B0503020204020204" pitchFamily="34" charset="-122"/>
              <a:sym typeface="Arial" panose="020B0604020202020204" pitchFamily="34" charset="0"/>
            </a:endParaRPr>
          </a:p>
        </p:txBody>
      </p:sp>
      <p:cxnSp>
        <p:nvCxnSpPr>
          <p:cNvPr id="22" name="MH_Other_3"/>
          <p:cNvCxnSpPr/>
          <p:nvPr>
            <p:custDataLst>
              <p:tags r:id="rId2"/>
            </p:custDataLst>
          </p:nvPr>
        </p:nvCxnSpPr>
        <p:spPr>
          <a:xfrm>
            <a:off x="4667908" y="2986616"/>
            <a:ext cx="0" cy="2961218"/>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 name="图片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8172" y="2986194"/>
            <a:ext cx="3789489" cy="2971800"/>
          </a:xfrm>
          <a:prstGeom prst="rect">
            <a:avLst/>
          </a:prstGeom>
        </p:spPr>
      </p:pic>
      <p:sp>
        <p:nvSpPr>
          <p:cNvPr id="11" name="标题 4"/>
          <p:cNvSpPr txBox="1"/>
          <p:nvPr/>
        </p:nvSpPr>
        <p:spPr>
          <a:xfrm>
            <a:off x="531469" y="241829"/>
            <a:ext cx="4390241" cy="584775"/>
          </a:xfrm>
          <a:prstGeom prst="rect">
            <a:avLst/>
          </a:prstGeom>
        </p:spPr>
        <p:txBody>
          <a:bodyPr wrap="square" lIns="0" tIns="0" rIns="0" bIns="0">
            <a:noAutofit/>
          </a:bodyPr>
          <a:lstStyle>
            <a:defPPr>
              <a:defRPr lang="en-US"/>
            </a:defPPr>
            <a:lvl1pPr indent="0" defTabSz="848995">
              <a:lnSpc>
                <a:spcPct val="100000"/>
              </a:lnSpc>
              <a:spcBef>
                <a:spcPct val="0"/>
              </a:spcBef>
              <a:buFont typeface="Arial" panose="020B0604020202020204" pitchFamily="34" charset="0"/>
              <a:buNone/>
              <a:defRPr sz="3200" b="1" i="0" cap="all" spc="-30" baseline="0">
                <a:solidFill>
                  <a:srgbClr val="14215E"/>
                </a:solidFill>
                <a:uFillTx/>
                <a:latin typeface="Arial" panose="020B0604020202020204"/>
                <a:ea typeface="+mj-ea"/>
                <a:cs typeface="+mj-cs"/>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zh-CN" dirty="0"/>
              <a:t>Facts &amp; Figures</a:t>
            </a:r>
            <a:endParaRPr lang="zh-CN" altLang="en-US" dirty="0"/>
          </a:p>
        </p:txBody>
      </p:sp>
      <p:graphicFrame>
        <p:nvGraphicFramePr>
          <p:cNvPr id="3" name="表格 2"/>
          <p:cNvGraphicFramePr>
            <a:graphicFrameLocks noGrp="1"/>
          </p:cNvGraphicFramePr>
          <p:nvPr>
            <p:custDataLst>
              <p:tags r:id="rId3"/>
            </p:custDataLst>
          </p:nvPr>
        </p:nvGraphicFramePr>
        <p:xfrm>
          <a:off x="4046448" y="2606545"/>
          <a:ext cx="8555355" cy="4798060"/>
        </p:xfrm>
        <a:graphic>
          <a:graphicData uri="http://schemas.openxmlformats.org/drawingml/2006/table">
            <a:tbl>
              <a:tblPr firstRow="1" bandRow="1">
                <a:tableStyleId>{2D5ABB26-0587-4C30-8999-92F81FD0307C}</a:tableStyleId>
              </a:tblPr>
              <a:tblGrid>
                <a:gridCol w="2578100">
                  <a:extLst>
                    <a:ext uri="{9D8B030D-6E8A-4147-A177-3AD203B41FA5}">
                      <a16:colId xmlns:a16="http://schemas.microsoft.com/office/drawing/2014/main" val="20000"/>
                    </a:ext>
                  </a:extLst>
                </a:gridCol>
                <a:gridCol w="1304925">
                  <a:extLst>
                    <a:ext uri="{9D8B030D-6E8A-4147-A177-3AD203B41FA5}">
                      <a16:colId xmlns:a16="http://schemas.microsoft.com/office/drawing/2014/main" val="20001"/>
                    </a:ext>
                  </a:extLst>
                </a:gridCol>
                <a:gridCol w="3054985">
                  <a:extLst>
                    <a:ext uri="{9D8B030D-6E8A-4147-A177-3AD203B41FA5}">
                      <a16:colId xmlns:a16="http://schemas.microsoft.com/office/drawing/2014/main" val="20002"/>
                    </a:ext>
                  </a:extLst>
                </a:gridCol>
                <a:gridCol w="1617345">
                  <a:extLst>
                    <a:ext uri="{9D8B030D-6E8A-4147-A177-3AD203B41FA5}">
                      <a16:colId xmlns:a16="http://schemas.microsoft.com/office/drawing/2014/main" val="20003"/>
                    </a:ext>
                  </a:extLst>
                </a:gridCol>
              </a:tblGrid>
              <a:tr h="1022985">
                <a:tc>
                  <a:txBody>
                    <a:bodyPr/>
                    <a:lstStyle/>
                    <a:p>
                      <a:r>
                        <a:rPr lang="en-US" altLang="zh-CN" sz="2800" b="1" dirty="0" smtClean="0">
                          <a:solidFill>
                            <a:srgbClr val="002060"/>
                          </a:solidFill>
                          <a:latin typeface="Arial" panose="020B0604020202020204" pitchFamily="34" charset="0"/>
                          <a:ea typeface="微软雅黑" panose="020B0503020204020204" pitchFamily="34" charset="-122"/>
                          <a:cs typeface="Arial" panose="020B0604020202020204" pitchFamily="34" charset="0"/>
                        </a:rPr>
                        <a:t>Facult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2800" b="1" dirty="0" smtClean="0">
                          <a:solidFill>
                            <a:srgbClr val="C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3</a:t>
                      </a:r>
                      <a:r>
                        <a:rPr lang="zh-CN" altLang="en-US" sz="2800" b="1" dirty="0" smtClean="0">
                          <a:solidFill>
                            <a:srgbClr val="C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r>
                        <a:rPr lang="en-US" altLang="zh-CN" sz="2800" b="1" dirty="0" smtClean="0">
                          <a:solidFill>
                            <a:srgbClr val="C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55</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2800" b="1" kern="1200" dirty="0" smtClean="0">
                          <a:solidFill>
                            <a:srgbClr val="002060"/>
                          </a:solidFill>
                          <a:latin typeface="Arial" panose="020B0604020202020204" pitchFamily="34" charset="0"/>
                          <a:ea typeface="微软雅黑" panose="020B0503020204020204" pitchFamily="34" charset="-122"/>
                          <a:cs typeface="Arial" panose="020B0604020202020204" pitchFamily="34" charset="0"/>
                        </a:rPr>
                        <a:t>Student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2800" b="1" kern="1200" dirty="0" smtClean="0">
                          <a:solidFill>
                            <a:srgbClr val="C00000"/>
                          </a:solidFill>
                          <a:latin typeface="Arial" panose="020B0604020202020204" pitchFamily="34" charset="0"/>
                          <a:ea typeface="微软雅黑" panose="020B0503020204020204" pitchFamily="34" charset="-122"/>
                          <a:cs typeface="Arial" panose="020B0604020202020204" pitchFamily="34" charset="0"/>
                        </a:rPr>
                        <a:t>40,000</a:t>
                      </a:r>
                    </a:p>
                  </a:txBody>
                  <a:tcPr/>
                </a:tc>
                <a:extLst>
                  <a:ext uri="{0D108BD9-81ED-4DB2-BD59-A6C34878D82A}">
                    <a16:rowId xmlns:a16="http://schemas.microsoft.com/office/drawing/2014/main" val="10000"/>
                  </a:ext>
                </a:extLst>
              </a:tr>
              <a:tr h="1021715">
                <a:tc>
                  <a:txBody>
                    <a:bodyPr/>
                    <a:lstStyle/>
                    <a:p>
                      <a:r>
                        <a:rPr lang="en-US" altLang="zh-CN" sz="2800" b="1" dirty="0" smtClean="0">
                          <a:solidFill>
                            <a:srgbClr val="002060"/>
                          </a:solidFill>
                          <a:latin typeface="Arial" panose="020B0604020202020204" pitchFamily="34" charset="0"/>
                          <a:ea typeface="微软雅黑" panose="020B0503020204020204" pitchFamily="34" charset="-122"/>
                          <a:cs typeface="Arial" panose="020B0604020202020204" pitchFamily="34" charset="0"/>
                        </a:rPr>
                        <a:t>Academicians</a:t>
                      </a:r>
                    </a:p>
                  </a:txBody>
                  <a:tcPr/>
                </a:tc>
                <a:tc>
                  <a:txBody>
                    <a:bodyPr/>
                    <a:lstStyle/>
                    <a:p>
                      <a:r>
                        <a:rPr lang="en-US" altLang="zh-CN" sz="2800" b="1" dirty="0" smtClean="0">
                          <a:solidFill>
                            <a:srgbClr val="C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6+15</a:t>
                      </a:r>
                    </a:p>
                  </a:txBody>
                  <a:tcPr/>
                </a:tc>
                <a:tc>
                  <a:txBody>
                    <a:bodyPr/>
                    <a:lstStyle/>
                    <a:p>
                      <a:r>
                        <a:rPr lang="en-US" altLang="zh-CN" sz="2800" b="1" dirty="0" smtClean="0">
                          <a:solidFill>
                            <a:srgbClr val="00206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Undergraduate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2800" b="1" dirty="0" smtClean="0">
                          <a:solidFill>
                            <a:srgbClr val="C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20</a:t>
                      </a:r>
                      <a:r>
                        <a:rPr lang="zh-CN" altLang="en-US" sz="2800" b="1" dirty="0" smtClean="0">
                          <a:solidFill>
                            <a:srgbClr val="C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r>
                        <a:rPr lang="en-US" altLang="zh-CN" sz="2800" b="1" dirty="0" smtClean="0">
                          <a:solidFill>
                            <a:srgbClr val="C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406 </a:t>
                      </a:r>
                      <a:endParaRPr lang="zh-CN" altLang="en-US" sz="2800" b="1" dirty="0" smtClean="0">
                        <a:solidFill>
                          <a:srgbClr val="C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a:txBody>
                  <a:tcPr/>
                </a:tc>
                <a:extLst>
                  <a:ext uri="{0D108BD9-81ED-4DB2-BD59-A6C34878D82A}">
                    <a16:rowId xmlns:a16="http://schemas.microsoft.com/office/drawing/2014/main" val="10001"/>
                  </a:ext>
                </a:extLst>
              </a:tr>
              <a:tr h="1022985">
                <a:tc>
                  <a:txBody>
                    <a:bodyPr/>
                    <a:lstStyle/>
                    <a:p>
                      <a:r>
                        <a:rPr lang="en-US" altLang="zh-CN" sz="2800" b="1" kern="1200" dirty="0" smtClean="0">
                          <a:solidFill>
                            <a:srgbClr val="002060"/>
                          </a:solidFill>
                          <a:latin typeface="Arial" panose="020B0604020202020204" pitchFamily="34" charset="0"/>
                          <a:ea typeface="微软雅黑" panose="020B0503020204020204" pitchFamily="34" charset="-122"/>
                          <a:cs typeface="Arial" panose="020B0604020202020204" pitchFamily="34" charset="0"/>
                        </a:rPr>
                        <a:t>Professor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2800" b="1" dirty="0" smtClean="0">
                          <a:solidFill>
                            <a:srgbClr val="C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824</a:t>
                      </a:r>
                    </a:p>
                  </a:txBody>
                  <a:tcPr/>
                </a:tc>
                <a:tc>
                  <a:txBody>
                    <a:bodyPr/>
                    <a:lstStyle/>
                    <a:p>
                      <a:r>
                        <a:rPr lang="en-US" altLang="zh-CN" sz="2800" b="1" dirty="0" smtClean="0">
                          <a:solidFill>
                            <a:srgbClr val="00206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Postgraduate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2800" b="1" dirty="0" smtClean="0">
                          <a:solidFill>
                            <a:srgbClr val="C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6,464</a:t>
                      </a:r>
                    </a:p>
                  </a:txBody>
                  <a:tcPr/>
                </a:tc>
                <a:extLst>
                  <a:ext uri="{0D108BD9-81ED-4DB2-BD59-A6C34878D82A}">
                    <a16:rowId xmlns:a16="http://schemas.microsoft.com/office/drawing/2014/main" val="10002"/>
                  </a:ext>
                </a:extLst>
              </a:tr>
              <a:tr h="1021715">
                <a:tc>
                  <a:txBody>
                    <a:bodyPr/>
                    <a:lstStyle/>
                    <a:p>
                      <a:endParaRPr lang="zh-CN" altLang="en-US" sz="2800" b="1" kern="1200" dirty="0">
                        <a:solidFill>
                          <a:srgbClr val="002060"/>
                        </a:solidFill>
                        <a:latin typeface="Arial" panose="020B0604020202020204" pitchFamily="34" charset="0"/>
                        <a:ea typeface="微软雅黑" panose="020B0503020204020204" pitchFamily="34" charset="-122"/>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zh-CN" altLang="en-US" sz="2800" dirty="0">
                        <a:latin typeface="Arial" panose="020B0604020202020204" pitchFamily="34" charset="0"/>
                        <a:ea typeface="微软雅黑" panose="020B0503020204020204" pitchFamily="34" charset="-122"/>
                        <a:cs typeface="Arial" panose="020B0604020202020204" pitchFamily="34" charset="0"/>
                      </a:endParaRPr>
                    </a:p>
                  </a:txBody>
                  <a:tcPr/>
                </a:tc>
                <a:tc>
                  <a:txBody>
                    <a:bodyPr/>
                    <a:lstStyle/>
                    <a:p>
                      <a:r>
                        <a:rPr lang="en-US" altLang="zh-CN" sz="2800" b="1" dirty="0" smtClean="0">
                          <a:solidFill>
                            <a:srgbClr val="00206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International Student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2800" b="1" dirty="0" smtClean="0">
                          <a:solidFill>
                            <a:srgbClr val="C00000"/>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3,301</a:t>
                      </a:r>
                    </a:p>
                  </a:txBody>
                  <a:tcPr/>
                </a:tc>
                <a:extLst>
                  <a:ext uri="{0D108BD9-81ED-4DB2-BD59-A6C34878D82A}">
                    <a16:rowId xmlns:a16="http://schemas.microsoft.com/office/drawing/2014/main" val="10003"/>
                  </a:ext>
                </a:extLst>
              </a:tr>
              <a:tr h="708660">
                <a:tc>
                  <a:txBody>
                    <a:bodyPr/>
                    <a:lstStyle/>
                    <a:p>
                      <a:endParaRPr lang="zh-CN" altLang="en-US" sz="2000" dirty="0">
                        <a:latin typeface="Arial" panose="020B0604020202020204" pitchFamily="34" charset="0"/>
                        <a:ea typeface="微软雅黑" panose="020B0503020204020204" pitchFamily="34" charset="-122"/>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zh-CN" altLang="en-US" sz="2000" dirty="0">
                        <a:latin typeface="Arial" panose="020B0604020202020204" pitchFamily="34" charset="0"/>
                        <a:ea typeface="微软雅黑" panose="020B0503020204020204" pitchFamily="34" charset="-122"/>
                        <a:cs typeface="Arial" panose="020B0604020202020204" pitchFamily="34" charset="0"/>
                      </a:endParaRPr>
                    </a:p>
                  </a:txBody>
                  <a:tcPr/>
                </a:tc>
                <a:tc>
                  <a:txBody>
                    <a:bodyPr/>
                    <a:lstStyle/>
                    <a:p>
                      <a:endParaRPr lang="zh-CN" altLang="en-US" sz="2000" dirty="0">
                        <a:latin typeface="Arial" panose="020B0604020202020204" pitchFamily="34" charset="0"/>
                        <a:ea typeface="微软雅黑" panose="020B0503020204020204" pitchFamily="34" charset="-122"/>
                        <a:cs typeface="Arial" panose="020B0604020202020204" pitchFamily="34" charset="0"/>
                      </a:endParaRPr>
                    </a:p>
                  </a:txBody>
                  <a:tcPr/>
                </a:tc>
                <a:tc>
                  <a:txBody>
                    <a:bodyPr/>
                    <a:lstStyle/>
                    <a:p>
                      <a:endParaRPr lang="zh-CN" altLang="en-US" sz="2000" dirty="0">
                        <a:latin typeface="Arial" panose="020B0604020202020204" pitchFamily="34" charset="0"/>
                        <a:ea typeface="微软雅黑" panose="020B0503020204020204" pitchFamily="34" charset="-122"/>
                        <a:cs typeface="Arial" panose="020B0604020202020204" pitchFamily="34" charset="0"/>
                      </a:endParaRPr>
                    </a:p>
                  </a:txBody>
                  <a:tcPr/>
                </a:tc>
                <a:extLst>
                  <a:ext uri="{0D108BD9-81ED-4DB2-BD59-A6C34878D82A}">
                    <a16:rowId xmlns:a16="http://schemas.microsoft.com/office/drawing/2014/main" val="10004"/>
                  </a:ext>
                </a:extLst>
              </a:tr>
            </a:tbl>
          </a:graphicData>
        </a:graphic>
      </p:graphicFrame>
      <p:pic>
        <p:nvPicPr>
          <p:cNvPr id="6" name="图片 5" descr="上大logo最新"/>
          <p:cNvPicPr>
            <a:picLocks noChangeAspect="1"/>
          </p:cNvPicPr>
          <p:nvPr/>
        </p:nvPicPr>
        <p:blipFill>
          <a:blip r:embed="rId6">
            <a:clrChange>
              <a:clrFrom>
                <a:srgbClr val="F6F5F6">
                  <a:alpha val="100000"/>
                </a:srgbClr>
              </a:clrFrom>
              <a:clrTo>
                <a:srgbClr val="F6F5F6">
                  <a:alpha val="100000"/>
                  <a:alpha val="0"/>
                </a:srgbClr>
              </a:clrTo>
            </a:clrChange>
          </a:blip>
          <a:stretch>
            <a:fillRect/>
          </a:stretch>
        </p:blipFill>
        <p:spPr>
          <a:xfrm>
            <a:off x="9752330" y="0"/>
            <a:ext cx="2439670" cy="702310"/>
          </a:xfrm>
          <a:prstGeom prst="rect">
            <a:avLst/>
          </a:prstGeom>
        </p:spPr>
      </p:pic>
      <p:sp>
        <p:nvSpPr>
          <p:cNvPr id="7" name="等腰三角形 6"/>
          <p:cNvSpPr/>
          <p:nvPr/>
        </p:nvSpPr>
        <p:spPr>
          <a:xfrm rot="5400000">
            <a:off x="-174172" y="174171"/>
            <a:ext cx="841829" cy="493486"/>
          </a:xfrm>
          <a:prstGeom prst="triangle">
            <a:avLst/>
          </a:prstGeom>
          <a:gradFill>
            <a:gsLst>
              <a:gs pos="0">
                <a:srgbClr val="007BD3"/>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Tree>
    <p:custDataLst>
      <p:tags r:id="rId1"/>
    </p:custDataLst>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î$1ïdé"/>
          <p:cNvSpPr/>
          <p:nvPr/>
        </p:nvSpPr>
        <p:spPr bwMode="auto">
          <a:xfrm>
            <a:off x="0" y="813236"/>
            <a:ext cx="12192000" cy="6044764"/>
          </a:xfrm>
          <a:prstGeom prst="rect">
            <a:avLst/>
          </a:prstGeom>
          <a:solidFill>
            <a:srgbClr val="E9EBF5">
              <a:alpha val="61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t"/>
          <a:lstStyle/>
          <a:p>
            <a:pPr algn="ctr"/>
            <a:endParaRPr lang="en-US" altLang="zh-CN" sz="1600" dirty="0"/>
          </a:p>
        </p:txBody>
      </p:sp>
      <p:sp>
        <p:nvSpPr>
          <p:cNvPr id="4" name="矩形 3"/>
          <p:cNvSpPr/>
          <p:nvPr/>
        </p:nvSpPr>
        <p:spPr>
          <a:xfrm>
            <a:off x="3985740" y="980976"/>
            <a:ext cx="7874000" cy="5709152"/>
          </a:xfrm>
          <a:prstGeom prst="rect">
            <a:avLst/>
          </a:prstGeom>
          <a:noFill/>
          <a:ln w="2857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文本框 49"/>
          <p:cNvSpPr txBox="1"/>
          <p:nvPr/>
        </p:nvSpPr>
        <p:spPr>
          <a:xfrm>
            <a:off x="689212" y="118977"/>
            <a:ext cx="8216028" cy="583565"/>
          </a:xfrm>
          <a:prstGeom prst="rect">
            <a:avLst/>
          </a:prstGeom>
          <a:noFill/>
        </p:spPr>
        <p:txBody>
          <a:bodyPr wrap="square" rtlCol="0">
            <a:spAutoFit/>
          </a:bodyPr>
          <a:lstStyle/>
          <a:p>
            <a:pPr lvl="0">
              <a:defRPr/>
            </a:pPr>
            <a:r>
              <a:rPr lang="en-US" altLang="zh-CN" sz="3200" b="1" dirty="0">
                <a:solidFill>
                  <a:srgbClr val="002060"/>
                </a:solidFill>
                <a:latin typeface="Arial" panose="020B0604020202020204" pitchFamily="34" charset="0"/>
                <a:ea typeface="微软雅黑" panose="020B0503020204020204" pitchFamily="34" charset="-122"/>
                <a:cs typeface="Arial" panose="020B0604020202020204" pitchFamily="34" charset="0"/>
                <a:sym typeface="+mn-ea"/>
              </a:rPr>
              <a:t>Unique Education System</a:t>
            </a:r>
            <a:endParaRPr lang="en-US" altLang="zh-CN" sz="3200" b="1" kern="0" spc="400" dirty="0">
              <a:solidFill>
                <a:srgbClr val="002060"/>
              </a:solidFill>
              <a:latin typeface="Arial" panose="020B0604020202020204" pitchFamily="34" charset="0"/>
              <a:ea typeface="微软雅黑" panose="020B0503020204020204" pitchFamily="34" charset="-122"/>
              <a:cs typeface="Arial" panose="020B0604020202020204" pitchFamily="34" charset="0"/>
              <a:sym typeface="+mn-ea"/>
            </a:endParaRPr>
          </a:p>
        </p:txBody>
      </p:sp>
      <p:pic>
        <p:nvPicPr>
          <p:cNvPr id="2" name="图片 1"/>
          <p:cNvPicPr>
            <a:picLocks noChangeAspect="1"/>
          </p:cNvPicPr>
          <p:nvPr/>
        </p:nvPicPr>
        <p:blipFill>
          <a:blip r:embed="rId4"/>
          <a:stretch>
            <a:fillRect/>
          </a:stretch>
        </p:blipFill>
        <p:spPr>
          <a:xfrm>
            <a:off x="421805" y="2080356"/>
            <a:ext cx="4957781" cy="3251200"/>
          </a:xfrm>
          <a:prstGeom prst="rect">
            <a:avLst/>
          </a:prstGeom>
        </p:spPr>
      </p:pic>
      <p:sp>
        <p:nvSpPr>
          <p:cNvPr id="3" name="文本框 2"/>
          <p:cNvSpPr txBox="1"/>
          <p:nvPr/>
        </p:nvSpPr>
        <p:spPr>
          <a:xfrm>
            <a:off x="5379875" y="1859001"/>
            <a:ext cx="6424140" cy="4831080"/>
          </a:xfrm>
          <a:prstGeom prst="rect">
            <a:avLst/>
          </a:prstGeom>
          <a:noFill/>
        </p:spPr>
        <p:txBody>
          <a:bodyPr wrap="square" rtlCol="0">
            <a:spAutoFit/>
          </a:bodyPr>
          <a:lstStyle/>
          <a:p>
            <a:endParaRPr lang="en-US" altLang="zh-CN" sz="2800" b="1" dirty="0">
              <a:solidFill>
                <a:srgbClr val="002060"/>
              </a:solidFill>
            </a:endParaRPr>
          </a:p>
          <a:p>
            <a:pPr marL="285750" indent="-285750">
              <a:buFont typeface="Wingdings" panose="05000000000000000000" pitchFamily="2" charset="2"/>
              <a:buChar char="l"/>
            </a:pPr>
            <a:r>
              <a:rPr lang="en-US" altLang="zh-CN" sz="2800" b="1" dirty="0">
                <a:solidFill>
                  <a:srgbClr val="002060"/>
                </a:solidFill>
              </a:rPr>
              <a:t> </a:t>
            </a:r>
            <a:r>
              <a:rPr lang="en-US" altLang="zh-CN" sz="2800" b="1" dirty="0">
                <a:solidFill>
                  <a:srgbClr val="002060"/>
                </a:solidFill>
                <a:latin typeface="Arial" panose="020B0604020202020204" pitchFamily="34" charset="0"/>
                <a:cs typeface="Arial" panose="020B0604020202020204" pitchFamily="34" charset="0"/>
              </a:rPr>
              <a:t>Credit system</a:t>
            </a:r>
          </a:p>
          <a:p>
            <a:r>
              <a:rPr lang="en-US" altLang="zh-CN" sz="2800" b="1" dirty="0">
                <a:solidFill>
                  <a:srgbClr val="47C5AA"/>
                </a:solidFill>
                <a:latin typeface="Arial" panose="020B0604020202020204" pitchFamily="34" charset="0"/>
                <a:cs typeface="Arial" panose="020B0604020202020204" pitchFamily="34" charset="0"/>
              </a:rPr>
              <a:t>    </a:t>
            </a:r>
            <a:r>
              <a:rPr lang="en-US" altLang="zh-CN" sz="2800" b="1" dirty="0">
                <a:solidFill>
                  <a:srgbClr val="0070C0"/>
                </a:solidFill>
                <a:latin typeface="Arial" panose="020B0604020202020204" pitchFamily="34" charset="0"/>
                <a:cs typeface="Arial" panose="020B0604020202020204" pitchFamily="34" charset="0"/>
              </a:rPr>
              <a:t>- More flexible</a:t>
            </a:r>
          </a:p>
          <a:p>
            <a:endParaRPr lang="en-US" altLang="zh-CN" sz="2800" b="1" dirty="0">
              <a:solidFill>
                <a:srgbClr val="00206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l"/>
            </a:pPr>
            <a:r>
              <a:rPr lang="en-US" altLang="zh-CN" sz="2800" b="1" dirty="0">
                <a:solidFill>
                  <a:srgbClr val="002060"/>
                </a:solidFill>
                <a:latin typeface="Arial" panose="020B0604020202020204" pitchFamily="34" charset="0"/>
                <a:cs typeface="Arial" panose="020B0604020202020204" pitchFamily="34" charset="0"/>
              </a:rPr>
              <a:t> Course selection system</a:t>
            </a:r>
          </a:p>
          <a:p>
            <a:r>
              <a:rPr lang="en-US" altLang="zh-CN" sz="2800" b="1" dirty="0">
                <a:solidFill>
                  <a:srgbClr val="002060"/>
                </a:solidFill>
                <a:latin typeface="Arial" panose="020B0604020202020204" pitchFamily="34" charset="0"/>
                <a:cs typeface="Arial" panose="020B0604020202020204" pitchFamily="34" charset="0"/>
              </a:rPr>
              <a:t>    </a:t>
            </a:r>
            <a:r>
              <a:rPr lang="en-US" altLang="zh-CN" sz="2800" b="1" dirty="0">
                <a:solidFill>
                  <a:srgbClr val="0070C0"/>
                </a:solidFill>
                <a:latin typeface="Arial" panose="020B0604020202020204" pitchFamily="34" charset="0"/>
                <a:cs typeface="Arial" panose="020B0604020202020204" pitchFamily="34" charset="0"/>
              </a:rPr>
              <a:t>- Individualized cultivation</a:t>
            </a:r>
          </a:p>
          <a:p>
            <a:endParaRPr lang="en-US" altLang="zh-CN" sz="2800" b="1" dirty="0">
              <a:solidFill>
                <a:srgbClr val="0070C0"/>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l"/>
            </a:pPr>
            <a:r>
              <a:rPr lang="en-US" altLang="zh-CN" sz="2800" b="1" dirty="0">
                <a:solidFill>
                  <a:srgbClr val="002060"/>
                </a:solidFill>
                <a:latin typeface="Arial" panose="020B0604020202020204" pitchFamily="34" charset="0"/>
                <a:cs typeface="Arial" panose="020B0604020202020204" pitchFamily="34" charset="0"/>
              </a:rPr>
              <a:t> Short-semester system</a:t>
            </a:r>
          </a:p>
          <a:p>
            <a:r>
              <a:rPr lang="en-US" altLang="zh-CN" sz="2800" b="1" dirty="0">
                <a:solidFill>
                  <a:srgbClr val="45ABC3"/>
                </a:solidFill>
                <a:latin typeface="Arial" panose="020B0604020202020204" pitchFamily="34" charset="0"/>
                <a:cs typeface="Arial" panose="020B0604020202020204" pitchFamily="34" charset="0"/>
              </a:rPr>
              <a:t>    </a:t>
            </a:r>
            <a:r>
              <a:rPr lang="en-US" altLang="zh-CN" sz="2800" b="1" dirty="0">
                <a:solidFill>
                  <a:srgbClr val="0070C0"/>
                </a:solidFill>
                <a:latin typeface="Arial" panose="020B0604020202020204" pitchFamily="34" charset="0"/>
                <a:cs typeface="Arial" panose="020B0604020202020204" pitchFamily="34" charset="0"/>
              </a:rPr>
              <a:t>- Autumn/ Winter/</a:t>
            </a:r>
            <a:r>
              <a:rPr lang="zh-CN" altLang="en-US" sz="2800" b="1" dirty="0">
                <a:solidFill>
                  <a:srgbClr val="0070C0"/>
                </a:solidFill>
                <a:latin typeface="Arial" panose="020B0604020202020204" pitchFamily="34" charset="0"/>
                <a:cs typeface="Arial" panose="020B0604020202020204" pitchFamily="34" charset="0"/>
              </a:rPr>
              <a:t> </a:t>
            </a:r>
            <a:r>
              <a:rPr lang="en-US" altLang="zh-CN" sz="2800" b="1" dirty="0">
                <a:solidFill>
                  <a:srgbClr val="0070C0"/>
                </a:solidFill>
                <a:latin typeface="Arial" panose="020B0604020202020204" pitchFamily="34" charset="0"/>
                <a:cs typeface="Arial" panose="020B0604020202020204" pitchFamily="34" charset="0"/>
              </a:rPr>
              <a:t>Spring</a:t>
            </a:r>
            <a:r>
              <a:rPr lang="zh-CN" altLang="en-US" sz="2800" b="1" dirty="0">
                <a:solidFill>
                  <a:srgbClr val="0070C0"/>
                </a:solidFill>
                <a:latin typeface="Arial" panose="020B0604020202020204" pitchFamily="34" charset="0"/>
                <a:cs typeface="Arial" panose="020B0604020202020204" pitchFamily="34" charset="0"/>
              </a:rPr>
              <a:t> </a:t>
            </a:r>
            <a:r>
              <a:rPr lang="en-US" altLang="zh-CN" sz="2800" b="1" dirty="0">
                <a:solidFill>
                  <a:srgbClr val="0070C0"/>
                </a:solidFill>
                <a:latin typeface="Arial" panose="020B0604020202020204" pitchFamily="34" charset="0"/>
                <a:cs typeface="Arial" panose="020B0604020202020204" pitchFamily="34" charset="0"/>
              </a:rPr>
              <a:t>semester</a:t>
            </a:r>
          </a:p>
          <a:p>
            <a:r>
              <a:rPr lang="en-US" altLang="zh-CN" sz="2800" b="1" dirty="0">
                <a:solidFill>
                  <a:srgbClr val="0070C0"/>
                </a:solidFill>
                <a:latin typeface="Arial" panose="020B0604020202020204" pitchFamily="34" charset="0"/>
                <a:cs typeface="Arial" panose="020B0604020202020204" pitchFamily="34" charset="0"/>
              </a:rPr>
              <a:t>    - Summer semester : Practice</a:t>
            </a:r>
          </a:p>
          <a:p>
            <a:endParaRPr lang="en-US" altLang="zh-CN" sz="2800" b="1" dirty="0">
              <a:solidFill>
                <a:srgbClr val="0070C0"/>
              </a:solidFill>
              <a:latin typeface="Arial" panose="020B0604020202020204" pitchFamily="34" charset="0"/>
              <a:cs typeface="Arial" panose="020B0604020202020204" pitchFamily="34" charset="0"/>
            </a:endParaRPr>
          </a:p>
        </p:txBody>
      </p:sp>
      <p:sp>
        <p:nvSpPr>
          <p:cNvPr id="10" name="文本框 9"/>
          <p:cNvSpPr txBox="1"/>
          <p:nvPr/>
        </p:nvSpPr>
        <p:spPr>
          <a:xfrm>
            <a:off x="4166870" y="1139190"/>
            <a:ext cx="7512050" cy="1014730"/>
          </a:xfrm>
          <a:prstGeom prst="rect">
            <a:avLst/>
          </a:prstGeom>
          <a:noFill/>
        </p:spPr>
        <p:txBody>
          <a:bodyPr wrap="square" rtlCol="0">
            <a:spAutoFit/>
          </a:bodyPr>
          <a:lstStyle/>
          <a:p>
            <a:r>
              <a:rPr lang="en-US" altLang="zh-CN" sz="2400" b="1" dirty="0">
                <a:solidFill>
                  <a:schemeClr val="bg2">
                    <a:lumMod val="50000"/>
                  </a:schemeClr>
                </a:solidFill>
                <a:latin typeface="Arial" panose="020B0604020202020204" pitchFamily="34" charset="0"/>
                <a:ea typeface="微软雅黑" panose="020B0503020204020204" pitchFamily="34" charset="-122"/>
                <a:cs typeface="Arial" panose="020B0604020202020204" pitchFamily="34" charset="0"/>
              </a:rPr>
              <a:t>Student-centered  Education</a:t>
            </a:r>
          </a:p>
          <a:p>
            <a:endParaRPr lang="zh-CN" altLang="en-US" sz="3600" b="1" dirty="0">
              <a:solidFill>
                <a:srgbClr val="45ABC3"/>
              </a:solidFill>
              <a:latin typeface="Arial" panose="020B0604020202020204" pitchFamily="34" charset="0"/>
              <a:ea typeface="微软雅黑" panose="020B0503020204020204" pitchFamily="34" charset="-122"/>
              <a:cs typeface="Arial" panose="020B0604020202020204" pitchFamily="34" charset="0"/>
            </a:endParaRPr>
          </a:p>
        </p:txBody>
      </p:sp>
      <p:pic>
        <p:nvPicPr>
          <p:cNvPr id="6" name="图片 5" descr="上大logo最新"/>
          <p:cNvPicPr>
            <a:picLocks noChangeAspect="1"/>
          </p:cNvPicPr>
          <p:nvPr/>
        </p:nvPicPr>
        <p:blipFill>
          <a:blip r:embed="rId5">
            <a:clrChange>
              <a:clrFrom>
                <a:srgbClr val="F6F5F6">
                  <a:alpha val="100000"/>
                </a:srgbClr>
              </a:clrFrom>
              <a:clrTo>
                <a:srgbClr val="F6F5F6">
                  <a:alpha val="100000"/>
                  <a:alpha val="0"/>
                </a:srgbClr>
              </a:clrTo>
            </a:clrChange>
          </a:blip>
          <a:stretch>
            <a:fillRect/>
          </a:stretch>
        </p:blipFill>
        <p:spPr>
          <a:xfrm>
            <a:off x="9752330" y="0"/>
            <a:ext cx="2439670" cy="702310"/>
          </a:xfrm>
          <a:prstGeom prst="rect">
            <a:avLst/>
          </a:prstGeom>
        </p:spPr>
      </p:pic>
      <p:sp>
        <p:nvSpPr>
          <p:cNvPr id="7" name="等腰三角形 6"/>
          <p:cNvSpPr/>
          <p:nvPr/>
        </p:nvSpPr>
        <p:spPr>
          <a:xfrm rot="5400000">
            <a:off x="-174172" y="174171"/>
            <a:ext cx="841829" cy="493486"/>
          </a:xfrm>
          <a:prstGeom prst="triangle">
            <a:avLst/>
          </a:prstGeom>
          <a:gradFill>
            <a:gsLst>
              <a:gs pos="0">
                <a:srgbClr val="007BD3"/>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577566" y="126010"/>
            <a:ext cx="11458490" cy="2413008"/>
          </a:xfrm>
          <a:prstGeom prst="rect">
            <a:avLst/>
          </a:prstGeom>
        </p:spPr>
      </p:pic>
      <p:grpSp>
        <p:nvGrpSpPr>
          <p:cNvPr id="6" name="组合 5"/>
          <p:cNvGrpSpPr/>
          <p:nvPr/>
        </p:nvGrpSpPr>
        <p:grpSpPr>
          <a:xfrm>
            <a:off x="-6740343" y="1905527"/>
            <a:ext cx="18354777" cy="4831232"/>
            <a:chOff x="9033" y="39489"/>
            <a:chExt cx="12192000" cy="6108700"/>
          </a:xfrm>
        </p:grpSpPr>
        <p:pic>
          <p:nvPicPr>
            <p:cNvPr id="7" name="图片 6"/>
            <p:cNvPicPr>
              <a:picLocks noChangeAspect="1"/>
            </p:cNvPicPr>
            <p:nvPr/>
          </p:nvPicPr>
          <p:blipFill rotWithShape="1">
            <a:blip r:embed="rId3" cstate="email"/>
            <a:srcRect b="10926"/>
            <a:stretch>
              <a:fillRect/>
            </a:stretch>
          </p:blipFill>
          <p:spPr>
            <a:xfrm>
              <a:off x="9033" y="39489"/>
              <a:ext cx="12192000" cy="6108700"/>
            </a:xfrm>
            <a:prstGeom prst="rect">
              <a:avLst/>
            </a:prstGeom>
          </p:spPr>
        </p:pic>
        <p:sp>
          <p:nvSpPr>
            <p:cNvPr id="8" name="文本框 7"/>
            <p:cNvSpPr txBox="1"/>
            <p:nvPr/>
          </p:nvSpPr>
          <p:spPr>
            <a:xfrm>
              <a:off x="5819942" y="2730455"/>
              <a:ext cx="800949" cy="486448"/>
            </a:xfrm>
            <a:prstGeom prst="rect">
              <a:avLst/>
            </a:prstGeom>
            <a:noFill/>
          </p:spPr>
          <p:txBody>
            <a:bodyPr wrap="square" rtlCol="0">
              <a:spAutoFit/>
            </a:bodyPr>
            <a:lstStyle/>
            <a:p>
              <a:pPr algn="ctr"/>
              <a:r>
                <a:rPr lang="en-US" altLang="zh-CN" sz="1900" b="1" dirty="0">
                  <a:solidFill>
                    <a:srgbClr val="FF8D00"/>
                  </a:solidFill>
                  <a:latin typeface="Arial" panose="020B0604020202020204" pitchFamily="34" charset="0"/>
                  <a:cs typeface="Arial" panose="020B0604020202020204" pitchFamily="34" charset="0"/>
                </a:rPr>
                <a:t>5%</a:t>
              </a:r>
            </a:p>
          </p:txBody>
        </p:sp>
        <p:sp>
          <p:nvSpPr>
            <p:cNvPr id="9" name="文本框 8"/>
            <p:cNvSpPr txBox="1"/>
            <p:nvPr/>
          </p:nvSpPr>
          <p:spPr>
            <a:xfrm>
              <a:off x="8005082" y="2461152"/>
              <a:ext cx="1202871" cy="583738"/>
            </a:xfrm>
            <a:prstGeom prst="rect">
              <a:avLst/>
            </a:prstGeom>
            <a:noFill/>
          </p:spPr>
          <p:txBody>
            <a:bodyPr wrap="square" rtlCol="0">
              <a:spAutoFit/>
            </a:bodyPr>
            <a:lstStyle/>
            <a:p>
              <a:pPr algn="ctr"/>
              <a:r>
                <a:rPr lang="en-US" altLang="zh-CN" sz="2400" b="1" dirty="0">
                  <a:solidFill>
                    <a:srgbClr val="FF8D00"/>
                  </a:solidFill>
                  <a:latin typeface="Arial" panose="020B0604020202020204" pitchFamily="34" charset="0"/>
                  <a:cs typeface="Arial" panose="020B0604020202020204" pitchFamily="34" charset="0"/>
                </a:rPr>
                <a:t>18%</a:t>
              </a:r>
            </a:p>
          </p:txBody>
        </p:sp>
        <p:sp>
          <p:nvSpPr>
            <p:cNvPr id="10" name="文本框 9"/>
            <p:cNvSpPr txBox="1"/>
            <p:nvPr/>
          </p:nvSpPr>
          <p:spPr>
            <a:xfrm>
              <a:off x="8215993" y="3589633"/>
              <a:ext cx="1202871" cy="428074"/>
            </a:xfrm>
            <a:prstGeom prst="rect">
              <a:avLst/>
            </a:prstGeom>
            <a:noFill/>
          </p:spPr>
          <p:txBody>
            <a:bodyPr wrap="square" rtlCol="0">
              <a:spAutoFit/>
            </a:bodyPr>
            <a:lstStyle/>
            <a:p>
              <a:pPr algn="ctr"/>
              <a:r>
                <a:rPr lang="en-US" altLang="zh-CN" sz="1600" b="1" dirty="0">
                  <a:solidFill>
                    <a:srgbClr val="FF8D00"/>
                  </a:solidFill>
                  <a:latin typeface="Arial" panose="020B0604020202020204" pitchFamily="34" charset="0"/>
                  <a:cs typeface="Arial" panose="020B0604020202020204" pitchFamily="34" charset="0"/>
                </a:rPr>
                <a:t>14%</a:t>
              </a:r>
            </a:p>
          </p:txBody>
        </p:sp>
        <p:sp>
          <p:nvSpPr>
            <p:cNvPr id="11" name="文本框 10"/>
            <p:cNvSpPr txBox="1"/>
            <p:nvPr/>
          </p:nvSpPr>
          <p:spPr>
            <a:xfrm>
              <a:off x="9884746" y="2599650"/>
              <a:ext cx="1202871" cy="817233"/>
            </a:xfrm>
            <a:prstGeom prst="rect">
              <a:avLst/>
            </a:prstGeom>
            <a:noFill/>
          </p:spPr>
          <p:txBody>
            <a:bodyPr wrap="square" rtlCol="0">
              <a:spAutoFit/>
            </a:bodyPr>
            <a:lstStyle/>
            <a:p>
              <a:pPr algn="ctr"/>
              <a:r>
                <a:rPr lang="en-US" altLang="zh-CN" sz="3600" b="1" dirty="0">
                  <a:solidFill>
                    <a:srgbClr val="FF8D00"/>
                  </a:solidFill>
                  <a:latin typeface="Arial" panose="020B0604020202020204" pitchFamily="34" charset="0"/>
                  <a:cs typeface="Arial" panose="020B0604020202020204" pitchFamily="34" charset="0"/>
                </a:rPr>
                <a:t>60%</a:t>
              </a:r>
            </a:p>
          </p:txBody>
        </p:sp>
      </p:grpSp>
      <p:sp>
        <p:nvSpPr>
          <p:cNvPr id="12" name="文本框 11"/>
          <p:cNvSpPr txBox="1"/>
          <p:nvPr/>
        </p:nvSpPr>
        <p:spPr>
          <a:xfrm>
            <a:off x="9128072" y="4989508"/>
            <a:ext cx="1202871" cy="338554"/>
          </a:xfrm>
          <a:prstGeom prst="rect">
            <a:avLst/>
          </a:prstGeom>
          <a:noFill/>
        </p:spPr>
        <p:txBody>
          <a:bodyPr wrap="square" rtlCol="0">
            <a:spAutoFit/>
          </a:bodyPr>
          <a:lstStyle/>
          <a:p>
            <a:pPr algn="ctr"/>
            <a:r>
              <a:rPr lang="en-US" altLang="zh-CN" sz="1600" b="1" dirty="0">
                <a:solidFill>
                  <a:srgbClr val="FF8D00"/>
                </a:solidFill>
                <a:latin typeface="Arial" panose="020B0604020202020204" pitchFamily="34" charset="0"/>
                <a:cs typeface="Arial" panose="020B0604020202020204" pitchFamily="34" charset="0"/>
              </a:rPr>
              <a:t>1%</a:t>
            </a:r>
          </a:p>
        </p:txBody>
      </p:sp>
      <p:pic>
        <p:nvPicPr>
          <p:cNvPr id="26" name="图片 25"/>
          <p:cNvPicPr>
            <a:picLocks noChangeAspect="1"/>
          </p:cNvPicPr>
          <p:nvPr/>
        </p:nvPicPr>
        <p:blipFill>
          <a:blip r:embed="rId4"/>
          <a:stretch>
            <a:fillRect/>
          </a:stretch>
        </p:blipFill>
        <p:spPr>
          <a:xfrm>
            <a:off x="7907263" y="5707448"/>
            <a:ext cx="1938485" cy="1024542"/>
          </a:xfrm>
          <a:prstGeom prst="rect">
            <a:avLst/>
          </a:prstGeom>
        </p:spPr>
      </p:pic>
      <p:cxnSp>
        <p:nvCxnSpPr>
          <p:cNvPr id="28" name="直接连接符 27"/>
          <p:cNvCxnSpPr/>
          <p:nvPr/>
        </p:nvCxnSpPr>
        <p:spPr>
          <a:xfrm>
            <a:off x="630731" y="2171676"/>
            <a:ext cx="0" cy="31083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flipH="1">
            <a:off x="620098" y="2458225"/>
            <a:ext cx="315298" cy="3015"/>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椭圆 1"/>
          <p:cNvSpPr/>
          <p:nvPr/>
        </p:nvSpPr>
        <p:spPr>
          <a:xfrm>
            <a:off x="2992549" y="4989509"/>
            <a:ext cx="1202871" cy="606256"/>
          </a:xfrm>
          <a:prstGeom prst="ellipse">
            <a:avLst/>
          </a:prstGeom>
          <a:solidFill>
            <a:srgbClr val="62626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 name="文本框 2"/>
          <p:cNvSpPr txBox="1"/>
          <p:nvPr/>
        </p:nvSpPr>
        <p:spPr>
          <a:xfrm>
            <a:off x="2992914" y="4866014"/>
            <a:ext cx="1202871" cy="584775"/>
          </a:xfrm>
          <a:prstGeom prst="rect">
            <a:avLst/>
          </a:prstGeom>
          <a:noFill/>
        </p:spPr>
        <p:txBody>
          <a:bodyPr wrap="square" rtlCol="0">
            <a:spAutoFit/>
          </a:bodyPr>
          <a:lstStyle/>
          <a:p>
            <a:pPr algn="ctr"/>
            <a:r>
              <a:rPr lang="en-US" altLang="zh-CN" sz="2000" b="1" dirty="0">
                <a:solidFill>
                  <a:srgbClr val="FF8D00"/>
                </a:solidFill>
                <a:latin typeface="Arial Narrow" panose="020B0606020202030204" pitchFamily="34" charset="0"/>
              </a:rPr>
              <a:t>2%</a:t>
            </a:r>
          </a:p>
          <a:p>
            <a:r>
              <a:rPr lang="en-US" altLang="zh-CN" sz="1200" b="1" dirty="0">
                <a:solidFill>
                  <a:schemeClr val="bg1"/>
                </a:solidFill>
              </a:rPr>
              <a:t>South America</a:t>
            </a:r>
            <a:endParaRPr lang="zh-CN" altLang="en-US" sz="1200" b="1" dirty="0">
              <a:solidFill>
                <a:schemeClr val="bg1"/>
              </a:solidFill>
            </a:endParaRPr>
          </a:p>
        </p:txBody>
      </p:sp>
      <p:sp>
        <p:nvSpPr>
          <p:cNvPr id="13" name="矩形 12"/>
          <p:cNvSpPr/>
          <p:nvPr/>
        </p:nvSpPr>
        <p:spPr>
          <a:xfrm>
            <a:off x="7570496" y="1738508"/>
            <a:ext cx="1605702" cy="5526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solidFill>
                  <a:schemeClr val="tx1">
                    <a:lumMod val="85000"/>
                    <a:lumOff val="15000"/>
                  </a:schemeClr>
                </a:solidFill>
              </a:rPr>
              <a:t>3301</a:t>
            </a:r>
            <a:endParaRPr lang="zh-CN" altLang="en-US" sz="2400" b="1" dirty="0">
              <a:solidFill>
                <a:schemeClr val="tx1">
                  <a:lumMod val="85000"/>
                  <a:lumOff val="15000"/>
                </a:schemeClr>
              </a:solidFill>
            </a:endParaRPr>
          </a:p>
        </p:txBody>
      </p:sp>
      <p:pic>
        <p:nvPicPr>
          <p:cNvPr id="18" name="图片 17" descr="上大logo最新"/>
          <p:cNvPicPr>
            <a:picLocks noChangeAspect="1"/>
          </p:cNvPicPr>
          <p:nvPr/>
        </p:nvPicPr>
        <p:blipFill>
          <a:blip r:embed="rId5">
            <a:clrChange>
              <a:clrFrom>
                <a:srgbClr val="F6F5F6">
                  <a:alpha val="100000"/>
                </a:srgbClr>
              </a:clrFrom>
              <a:clrTo>
                <a:srgbClr val="F6F5F6">
                  <a:alpha val="100000"/>
                  <a:alpha val="0"/>
                </a:srgbClr>
              </a:clrTo>
            </a:clrChange>
          </a:blip>
          <a:stretch>
            <a:fillRect/>
          </a:stretch>
        </p:blipFill>
        <p:spPr>
          <a:xfrm>
            <a:off x="9684385" y="125730"/>
            <a:ext cx="2439670" cy="70231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1487488" y="0"/>
            <a:ext cx="10704512" cy="3429000"/>
          </a:xfrm>
          <a:custGeom>
            <a:avLst/>
            <a:gdLst>
              <a:gd name="connsiteX0" fmla="*/ 0 w 8028384"/>
              <a:gd name="connsiteY0" fmla="*/ 0 h 2571750"/>
              <a:gd name="connsiteX1" fmla="*/ 8028384 w 8028384"/>
              <a:gd name="connsiteY1" fmla="*/ 0 h 2571750"/>
              <a:gd name="connsiteX2" fmla="*/ 8028384 w 8028384"/>
              <a:gd name="connsiteY2" fmla="*/ 2571750 h 2571750"/>
              <a:gd name="connsiteX3" fmla="*/ 0 w 8028384"/>
              <a:gd name="connsiteY3" fmla="*/ 2571750 h 2571750"/>
              <a:gd name="connsiteX4" fmla="*/ 0 w 8028384"/>
              <a:gd name="connsiteY4" fmla="*/ 0 h 2571750"/>
              <a:gd name="connsiteX0-1" fmla="*/ 0 w 8028384"/>
              <a:gd name="connsiteY0-2" fmla="*/ 0 h 2571750"/>
              <a:gd name="connsiteX1-3" fmla="*/ 8028384 w 8028384"/>
              <a:gd name="connsiteY1-4" fmla="*/ 0 h 2571750"/>
              <a:gd name="connsiteX2-5" fmla="*/ 8028384 w 8028384"/>
              <a:gd name="connsiteY2-6" fmla="*/ 2571750 h 2571750"/>
              <a:gd name="connsiteX3-7" fmla="*/ 2445165 w 8028384"/>
              <a:gd name="connsiteY3-8" fmla="*/ 2571078 h 2571750"/>
              <a:gd name="connsiteX4-9" fmla="*/ 0 w 8028384"/>
              <a:gd name="connsiteY4-10" fmla="*/ 2571750 h 2571750"/>
              <a:gd name="connsiteX5" fmla="*/ 0 w 8028384"/>
              <a:gd name="connsiteY5" fmla="*/ 0 h 2571750"/>
              <a:gd name="connsiteX0-11" fmla="*/ 0 w 8028384"/>
              <a:gd name="connsiteY0-12" fmla="*/ 0 h 2571750"/>
              <a:gd name="connsiteX1-13" fmla="*/ 8028384 w 8028384"/>
              <a:gd name="connsiteY1-14" fmla="*/ 0 h 2571750"/>
              <a:gd name="connsiteX2-15" fmla="*/ 8028384 w 8028384"/>
              <a:gd name="connsiteY2-16" fmla="*/ 2571750 h 2571750"/>
              <a:gd name="connsiteX3-17" fmla="*/ 2445165 w 8028384"/>
              <a:gd name="connsiteY3-18" fmla="*/ 2571078 h 2571750"/>
              <a:gd name="connsiteX4-19" fmla="*/ 0 w 8028384"/>
              <a:gd name="connsiteY4-20" fmla="*/ 0 h 257175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028384" h="2571750">
                <a:moveTo>
                  <a:pt x="0" y="0"/>
                </a:moveTo>
                <a:lnTo>
                  <a:pt x="8028384" y="0"/>
                </a:lnTo>
                <a:lnTo>
                  <a:pt x="8028384" y="2571750"/>
                </a:lnTo>
                <a:lnTo>
                  <a:pt x="2445165" y="2571078"/>
                </a:lnTo>
                <a:lnTo>
                  <a:pt x="0" y="0"/>
                </a:lnTo>
                <a:close/>
              </a:path>
            </a:pathLst>
          </a:custGeom>
          <a:blipFill dpi="0" rotWithShape="1">
            <a:blip r:embed="rId3" cstate="print">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a:fillRect t="-62398" b="-46580"/>
            </a:stretch>
          </a:blipFill>
          <a:ln>
            <a:noFill/>
          </a:ln>
          <a:effectLst>
            <a:outerShdw blurRad="254000" dist="635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 name="等腰三角形 2"/>
          <p:cNvSpPr/>
          <p:nvPr/>
        </p:nvSpPr>
        <p:spPr>
          <a:xfrm rot="5400000">
            <a:off x="-1751169" y="1751170"/>
            <a:ext cx="6858000" cy="3355661"/>
          </a:xfrm>
          <a:prstGeom prst="triangle">
            <a:avLst/>
          </a:prstGeom>
          <a:gradFill>
            <a:gsLst>
              <a:gs pos="0">
                <a:srgbClr val="007BD3"/>
              </a:gs>
              <a:gs pos="0">
                <a:srgbClr val="016DBB">
                  <a:alpha val="100000"/>
                </a:srgbClr>
              </a:gs>
              <a:gs pos="0">
                <a:srgbClr val="025FA3">
                  <a:alpha val="100000"/>
                </a:srgbClr>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1" name="矩形 20"/>
          <p:cNvSpPr/>
          <p:nvPr/>
        </p:nvSpPr>
        <p:spPr>
          <a:xfrm>
            <a:off x="6497320" y="4359275"/>
            <a:ext cx="5294630" cy="1753235"/>
          </a:xfrm>
          <a:prstGeom prst="rect">
            <a:avLst/>
          </a:prstGeom>
        </p:spPr>
        <p:txBody>
          <a:bodyPr wrap="square" lIns="91440" tIns="45720" rIns="91440" bIns="45720">
            <a:spAutoFit/>
          </a:bodyPr>
          <a:lstStyle/>
          <a:p>
            <a:pPr algn="l" defTabSz="1218565">
              <a:defRPr/>
            </a:pPr>
            <a:r>
              <a:rPr lang="en-US" altLang="zh-CN" sz="5400" b="1" kern="0" spc="800" dirty="0">
                <a:solidFill>
                  <a:srgbClr val="002060"/>
                </a:solidFill>
                <a:latin typeface="Arial" panose="020B0604020202020204" pitchFamily="34" charset="0"/>
                <a:ea typeface="微软雅黑" panose="020B0503020204020204" pitchFamily="34" charset="-122"/>
                <a:cs typeface="+mn-ea"/>
                <a:sym typeface="+mn-ea"/>
              </a:rPr>
              <a:t>POPULAR PROGRAMS</a:t>
            </a:r>
          </a:p>
        </p:txBody>
      </p:sp>
      <p:sp>
        <p:nvSpPr>
          <p:cNvPr id="24" name="矩形 3"/>
          <p:cNvSpPr/>
          <p:nvPr/>
        </p:nvSpPr>
        <p:spPr>
          <a:xfrm>
            <a:off x="1487488" y="0"/>
            <a:ext cx="10704512" cy="3429000"/>
          </a:xfrm>
          <a:custGeom>
            <a:avLst/>
            <a:gdLst>
              <a:gd name="connsiteX0" fmla="*/ 0 w 8028384"/>
              <a:gd name="connsiteY0" fmla="*/ 0 h 2571750"/>
              <a:gd name="connsiteX1" fmla="*/ 8028384 w 8028384"/>
              <a:gd name="connsiteY1" fmla="*/ 0 h 2571750"/>
              <a:gd name="connsiteX2" fmla="*/ 8028384 w 8028384"/>
              <a:gd name="connsiteY2" fmla="*/ 2571750 h 2571750"/>
              <a:gd name="connsiteX3" fmla="*/ 0 w 8028384"/>
              <a:gd name="connsiteY3" fmla="*/ 2571750 h 2571750"/>
              <a:gd name="connsiteX4" fmla="*/ 0 w 8028384"/>
              <a:gd name="connsiteY4" fmla="*/ 0 h 2571750"/>
              <a:gd name="connsiteX0-1" fmla="*/ 0 w 8028384"/>
              <a:gd name="connsiteY0-2" fmla="*/ 0 h 2571750"/>
              <a:gd name="connsiteX1-3" fmla="*/ 8028384 w 8028384"/>
              <a:gd name="connsiteY1-4" fmla="*/ 0 h 2571750"/>
              <a:gd name="connsiteX2-5" fmla="*/ 8028384 w 8028384"/>
              <a:gd name="connsiteY2-6" fmla="*/ 2571750 h 2571750"/>
              <a:gd name="connsiteX3-7" fmla="*/ 2445165 w 8028384"/>
              <a:gd name="connsiteY3-8" fmla="*/ 2571078 h 2571750"/>
              <a:gd name="connsiteX4-9" fmla="*/ 0 w 8028384"/>
              <a:gd name="connsiteY4-10" fmla="*/ 2571750 h 2571750"/>
              <a:gd name="connsiteX5" fmla="*/ 0 w 8028384"/>
              <a:gd name="connsiteY5" fmla="*/ 0 h 2571750"/>
              <a:gd name="connsiteX0-11" fmla="*/ 0 w 8028384"/>
              <a:gd name="connsiteY0-12" fmla="*/ 0 h 2571750"/>
              <a:gd name="connsiteX1-13" fmla="*/ 8028384 w 8028384"/>
              <a:gd name="connsiteY1-14" fmla="*/ 0 h 2571750"/>
              <a:gd name="connsiteX2-15" fmla="*/ 8028384 w 8028384"/>
              <a:gd name="connsiteY2-16" fmla="*/ 2571750 h 2571750"/>
              <a:gd name="connsiteX3-17" fmla="*/ 2445165 w 8028384"/>
              <a:gd name="connsiteY3-18" fmla="*/ 2571078 h 2571750"/>
              <a:gd name="connsiteX4-19" fmla="*/ 0 w 8028384"/>
              <a:gd name="connsiteY4-20" fmla="*/ 0 h 257175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028384" h="2571750">
                <a:moveTo>
                  <a:pt x="0" y="0"/>
                </a:moveTo>
                <a:lnTo>
                  <a:pt x="8028384" y="0"/>
                </a:lnTo>
                <a:lnTo>
                  <a:pt x="8028384" y="2571750"/>
                </a:lnTo>
                <a:lnTo>
                  <a:pt x="2445165" y="2571078"/>
                </a:lnTo>
                <a:lnTo>
                  <a:pt x="0" y="0"/>
                </a:lnTo>
                <a:close/>
              </a:path>
            </a:pathLst>
          </a:custGeom>
          <a:gradFill>
            <a:gsLst>
              <a:gs pos="0">
                <a:srgbClr val="007BD3"/>
              </a:gs>
              <a:gs pos="0">
                <a:srgbClr val="034373">
                  <a:alpha val="8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5" name="矩形 24"/>
          <p:cNvSpPr/>
          <p:nvPr/>
        </p:nvSpPr>
        <p:spPr>
          <a:xfrm>
            <a:off x="476332" y="2595743"/>
            <a:ext cx="1428596" cy="1323439"/>
          </a:xfrm>
          <a:prstGeom prst="rect">
            <a:avLst/>
          </a:prstGeom>
          <a:gradFill>
            <a:gsLst>
              <a:gs pos="0">
                <a:srgbClr val="23607C"/>
              </a:gs>
              <a:gs pos="0">
                <a:srgbClr val="0C364F"/>
              </a:gs>
            </a:gsLst>
            <a:lin ang="0" scaled="1"/>
          </a:gradFill>
        </p:spPr>
        <p:txBody>
          <a:bodyPr wrap="none" lIns="91440" tIns="45720" rIns="91440" bIns="45720">
            <a:spAutoFit/>
          </a:bodyPr>
          <a:lstStyle/>
          <a:p>
            <a:pPr defTabSz="1218565">
              <a:defRPr/>
            </a:pPr>
            <a:r>
              <a:rPr lang="en-US" altLang="zh-CN" sz="8000" b="1" kern="0" spc="400" dirty="0" smtClean="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Arial" panose="020B0604020202020204" pitchFamily="34" charset="0"/>
              </a:rPr>
              <a:t>02</a:t>
            </a:r>
            <a:endParaRPr lang="zh-CN" altLang="en-US" sz="8000" b="1" kern="0" spc="400" dirty="0">
              <a:solidFill>
                <a:prstClr val="white"/>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cs typeface="+mn-ea"/>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bldLst>
      <p:bldP spid="4" grpId="0" bldLvl="0" animBg="1"/>
      <p:bldP spid="3" grpId="0" bldLvl="0" animBg="1"/>
      <p:bldP spid="21" grpId="0"/>
      <p:bldP spid="24" grpId="0" bldLvl="0" animBg="1"/>
      <p:bldP spid="25" grpId="0" bldLvl="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Content Placeholder 15"/>
          <p:cNvSpPr txBox="1"/>
          <p:nvPr/>
        </p:nvSpPr>
        <p:spPr>
          <a:xfrm>
            <a:off x="656467" y="226787"/>
            <a:ext cx="6563822" cy="1167006"/>
          </a:xfrm>
          <a:prstGeom prst="rect">
            <a:avLst/>
          </a:prstGeom>
        </p:spPr>
        <p:txBody>
          <a:bodyPr wrap="square" lIns="0" tIns="0" rIns="0" bIns="0">
            <a:noAutofit/>
          </a:bodyPr>
          <a:lstStyle>
            <a:lvl1pPr marL="0" indent="0" algn="l" defTabSz="848995" rtl="0" eaLnBrk="1" latinLnBrk="0" hangingPunct="1">
              <a:lnSpc>
                <a:spcPct val="100000"/>
              </a:lnSpc>
              <a:spcBef>
                <a:spcPct val="0"/>
              </a:spcBef>
              <a:buFont typeface="Arial" panose="020B0604020202020204" pitchFamily="34" charset="0"/>
              <a:buNone/>
              <a:defRPr lang="pl-PL" sz="3600" b="1" i="0" kern="1200" cap="all" spc="-30" baseline="0" dirty="0" smtClean="0">
                <a:solidFill>
                  <a:schemeClr val="tx1"/>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solidFill>
                  <a:srgbClr val="14215E"/>
                </a:solidFill>
                <a:latin typeface="Arial" panose="020B0604020202020204"/>
              </a:rPr>
              <a:t>Colleges </a:t>
            </a:r>
            <a:r>
              <a:rPr lang="en-US" altLang="en-US" sz="3200" dirty="0">
                <a:solidFill>
                  <a:srgbClr val="14215E"/>
                </a:solidFill>
                <a:latin typeface="Arial" panose="020B0604020202020204"/>
                <a:ea typeface="Arial" panose="020B0604020202020204"/>
              </a:rPr>
              <a:t>and schools</a:t>
            </a:r>
          </a:p>
        </p:txBody>
      </p:sp>
      <p:graphicFrame>
        <p:nvGraphicFramePr>
          <p:cNvPr id="58" name="内容占位符 3"/>
          <p:cNvGraphicFramePr/>
          <p:nvPr/>
        </p:nvGraphicFramePr>
        <p:xfrm>
          <a:off x="2352737" y="1714728"/>
          <a:ext cx="8229600" cy="3771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9" name="组合 66"/>
          <p:cNvGrpSpPr/>
          <p:nvPr/>
        </p:nvGrpSpPr>
        <p:grpSpPr bwMode="auto">
          <a:xfrm>
            <a:off x="8314744" y="2640138"/>
            <a:ext cx="3047947" cy="215194"/>
            <a:chOff x="6291988" y="2353269"/>
            <a:chExt cx="2543505" cy="216099"/>
          </a:xfrm>
        </p:grpSpPr>
        <p:cxnSp>
          <p:nvCxnSpPr>
            <p:cNvPr id="60" name="直接连接符 38"/>
            <p:cNvCxnSpPr/>
            <p:nvPr/>
          </p:nvCxnSpPr>
          <p:spPr bwMode="auto">
            <a:xfrm flipV="1">
              <a:off x="6291988" y="2353269"/>
              <a:ext cx="152348" cy="216099"/>
            </a:xfrm>
            <a:prstGeom prst="line">
              <a:avLst/>
            </a:prstGeom>
            <a:solidFill>
              <a:schemeClr val="accent1"/>
            </a:solidFill>
            <a:ln w="15875" cap="flat" cmpd="sng" algn="ctr">
              <a:solidFill>
                <a:schemeClr val="bg1">
                  <a:lumMod val="65000"/>
                </a:schemeClr>
              </a:solidFill>
              <a:prstDash val="solid"/>
              <a:round/>
              <a:headEnd type="none" w="med" len="med"/>
              <a:tailEnd type="none" w="med" len="med"/>
            </a:ln>
            <a:effectLst/>
          </p:spPr>
        </p:cxnSp>
        <p:cxnSp>
          <p:nvCxnSpPr>
            <p:cNvPr id="61" name="直接连接符 57"/>
            <p:cNvCxnSpPr/>
            <p:nvPr/>
          </p:nvCxnSpPr>
          <p:spPr bwMode="auto">
            <a:xfrm>
              <a:off x="6444336" y="2353269"/>
              <a:ext cx="2391157" cy="0"/>
            </a:xfrm>
            <a:prstGeom prst="line">
              <a:avLst/>
            </a:prstGeom>
            <a:solidFill>
              <a:schemeClr val="accent1"/>
            </a:solidFill>
            <a:ln w="15875" cap="flat" cmpd="sng" algn="ctr">
              <a:solidFill>
                <a:schemeClr val="bg1">
                  <a:lumMod val="65000"/>
                </a:schemeClr>
              </a:solidFill>
              <a:prstDash val="solid"/>
              <a:round/>
              <a:headEnd type="none" w="med" len="med"/>
              <a:tailEnd type="none" w="med" len="med"/>
            </a:ln>
            <a:effectLst/>
          </p:spPr>
        </p:cxnSp>
      </p:grpSp>
      <p:grpSp>
        <p:nvGrpSpPr>
          <p:cNvPr id="62" name="组合 67"/>
          <p:cNvGrpSpPr/>
          <p:nvPr/>
        </p:nvGrpSpPr>
        <p:grpSpPr bwMode="auto">
          <a:xfrm>
            <a:off x="8073493" y="4294248"/>
            <a:ext cx="3289198" cy="298801"/>
            <a:chOff x="6228759" y="3666922"/>
            <a:chExt cx="1872858" cy="199040"/>
          </a:xfrm>
        </p:grpSpPr>
        <p:cxnSp>
          <p:nvCxnSpPr>
            <p:cNvPr id="63" name="直接连接符 59"/>
            <p:cNvCxnSpPr/>
            <p:nvPr/>
          </p:nvCxnSpPr>
          <p:spPr bwMode="auto">
            <a:xfrm flipV="1">
              <a:off x="6228759" y="3666922"/>
              <a:ext cx="152193" cy="199040"/>
            </a:xfrm>
            <a:prstGeom prst="line">
              <a:avLst/>
            </a:prstGeom>
            <a:solidFill>
              <a:schemeClr val="accent1"/>
            </a:solidFill>
            <a:ln w="15875" cap="flat" cmpd="sng" algn="ctr">
              <a:solidFill>
                <a:schemeClr val="bg1">
                  <a:lumMod val="65000"/>
                </a:schemeClr>
              </a:solidFill>
              <a:prstDash val="solid"/>
              <a:round/>
              <a:headEnd type="none" w="med" len="med"/>
              <a:tailEnd type="none" w="med" len="med"/>
            </a:ln>
            <a:effectLst/>
          </p:spPr>
        </p:cxnSp>
        <p:cxnSp>
          <p:nvCxnSpPr>
            <p:cNvPr id="64" name="直接连接符 60"/>
            <p:cNvCxnSpPr/>
            <p:nvPr/>
          </p:nvCxnSpPr>
          <p:spPr bwMode="auto">
            <a:xfrm>
              <a:off x="6380952" y="3666922"/>
              <a:ext cx="1720665" cy="0"/>
            </a:xfrm>
            <a:prstGeom prst="line">
              <a:avLst/>
            </a:prstGeom>
            <a:solidFill>
              <a:schemeClr val="accent1"/>
            </a:solidFill>
            <a:ln w="15875" cap="flat" cmpd="sng" algn="ctr">
              <a:solidFill>
                <a:schemeClr val="bg1">
                  <a:lumMod val="65000"/>
                </a:schemeClr>
              </a:solidFill>
              <a:prstDash val="solid"/>
              <a:round/>
              <a:headEnd type="none" w="med" len="med"/>
              <a:tailEnd type="none" w="med" len="med"/>
            </a:ln>
            <a:effectLst/>
          </p:spPr>
        </p:cxnSp>
      </p:grpSp>
      <p:grpSp>
        <p:nvGrpSpPr>
          <p:cNvPr id="65" name="组合 68"/>
          <p:cNvGrpSpPr/>
          <p:nvPr/>
        </p:nvGrpSpPr>
        <p:grpSpPr bwMode="auto">
          <a:xfrm>
            <a:off x="7020611" y="5123693"/>
            <a:ext cx="4342080" cy="999177"/>
            <a:chOff x="5004198" y="4586292"/>
            <a:chExt cx="3058545" cy="504231"/>
          </a:xfrm>
        </p:grpSpPr>
        <p:cxnSp>
          <p:nvCxnSpPr>
            <p:cNvPr id="66" name="直接连接符 62"/>
            <p:cNvCxnSpPr/>
            <p:nvPr/>
          </p:nvCxnSpPr>
          <p:spPr bwMode="auto">
            <a:xfrm>
              <a:off x="5004198" y="4586292"/>
              <a:ext cx="360410" cy="504231"/>
            </a:xfrm>
            <a:prstGeom prst="line">
              <a:avLst/>
            </a:prstGeom>
            <a:solidFill>
              <a:schemeClr val="accent1"/>
            </a:solidFill>
            <a:ln w="15875" cap="flat" cmpd="sng" algn="ctr">
              <a:solidFill>
                <a:schemeClr val="bg1">
                  <a:lumMod val="65000"/>
                </a:schemeClr>
              </a:solidFill>
              <a:prstDash val="solid"/>
              <a:round/>
              <a:headEnd type="none" w="med" len="med"/>
              <a:tailEnd type="none" w="med" len="med"/>
            </a:ln>
            <a:effectLst/>
          </p:spPr>
        </p:cxnSp>
        <p:cxnSp>
          <p:nvCxnSpPr>
            <p:cNvPr id="67" name="直接连接符 63"/>
            <p:cNvCxnSpPr/>
            <p:nvPr/>
          </p:nvCxnSpPr>
          <p:spPr bwMode="auto">
            <a:xfrm>
              <a:off x="5364608" y="5090523"/>
              <a:ext cx="2698135" cy="0"/>
            </a:xfrm>
            <a:prstGeom prst="line">
              <a:avLst/>
            </a:prstGeom>
            <a:solidFill>
              <a:schemeClr val="accent1"/>
            </a:solidFill>
            <a:ln w="15875" cap="flat" cmpd="sng" algn="ctr">
              <a:solidFill>
                <a:schemeClr val="bg1">
                  <a:lumMod val="65000"/>
                </a:schemeClr>
              </a:solidFill>
              <a:prstDash val="solid"/>
              <a:round/>
              <a:headEnd type="none" w="med" len="med"/>
              <a:tailEnd type="none" w="med" len="med"/>
            </a:ln>
            <a:effectLst/>
          </p:spPr>
        </p:cxnSp>
      </p:grpSp>
      <p:cxnSp>
        <p:nvCxnSpPr>
          <p:cNvPr id="68" name="直接连接符 64"/>
          <p:cNvCxnSpPr/>
          <p:nvPr/>
        </p:nvCxnSpPr>
        <p:spPr bwMode="auto">
          <a:xfrm flipH="1" flipV="1">
            <a:off x="5788886" y="1714859"/>
            <a:ext cx="191077" cy="203269"/>
          </a:xfrm>
          <a:prstGeom prst="line">
            <a:avLst/>
          </a:prstGeom>
          <a:solidFill>
            <a:schemeClr val="accent1"/>
          </a:solidFill>
          <a:ln w="15875" cap="flat" cmpd="sng" algn="ctr">
            <a:solidFill>
              <a:schemeClr val="bg1">
                <a:lumMod val="65000"/>
              </a:schemeClr>
            </a:solidFill>
            <a:prstDash val="solid"/>
            <a:round/>
            <a:headEnd type="none" w="med" len="med"/>
            <a:tailEnd type="none" w="med" len="med"/>
          </a:ln>
          <a:effectLst/>
        </p:spPr>
      </p:cxnSp>
      <p:cxnSp>
        <p:nvCxnSpPr>
          <p:cNvPr id="69" name="直接连接符 65"/>
          <p:cNvCxnSpPr/>
          <p:nvPr/>
        </p:nvCxnSpPr>
        <p:spPr bwMode="auto">
          <a:xfrm flipH="1">
            <a:off x="894892" y="1714859"/>
            <a:ext cx="4893994" cy="0"/>
          </a:xfrm>
          <a:prstGeom prst="line">
            <a:avLst/>
          </a:prstGeom>
          <a:solidFill>
            <a:schemeClr val="accent1"/>
          </a:solidFill>
          <a:ln w="15875" cap="flat" cmpd="sng" algn="ctr">
            <a:solidFill>
              <a:schemeClr val="bg1">
                <a:lumMod val="65000"/>
              </a:schemeClr>
            </a:solidFill>
            <a:prstDash val="solid"/>
            <a:round/>
            <a:headEnd type="none" w="med" len="med"/>
            <a:tailEnd type="none" w="med" len="med"/>
          </a:ln>
          <a:effectLst/>
        </p:spPr>
      </p:cxnSp>
      <p:cxnSp>
        <p:nvCxnSpPr>
          <p:cNvPr id="70" name="直接连接符 66"/>
          <p:cNvCxnSpPr/>
          <p:nvPr/>
        </p:nvCxnSpPr>
        <p:spPr bwMode="auto">
          <a:xfrm flipH="1">
            <a:off x="4610966" y="3250276"/>
            <a:ext cx="188488" cy="230519"/>
          </a:xfrm>
          <a:prstGeom prst="line">
            <a:avLst/>
          </a:prstGeom>
          <a:solidFill>
            <a:schemeClr val="accent1"/>
          </a:solidFill>
          <a:ln w="15875" cap="flat" cmpd="sng" algn="ctr">
            <a:solidFill>
              <a:schemeClr val="bg1">
                <a:lumMod val="65000"/>
              </a:schemeClr>
            </a:solidFill>
            <a:prstDash val="solid"/>
            <a:round/>
            <a:headEnd type="none" w="med" len="med"/>
            <a:tailEnd type="none" w="med" len="med"/>
          </a:ln>
          <a:effectLst/>
        </p:spPr>
      </p:cxnSp>
      <p:cxnSp>
        <p:nvCxnSpPr>
          <p:cNvPr id="71" name="直接连接符 67"/>
          <p:cNvCxnSpPr/>
          <p:nvPr/>
        </p:nvCxnSpPr>
        <p:spPr bwMode="auto">
          <a:xfrm flipH="1">
            <a:off x="886584" y="3472574"/>
            <a:ext cx="3724380" cy="0"/>
          </a:xfrm>
          <a:prstGeom prst="line">
            <a:avLst/>
          </a:prstGeom>
          <a:solidFill>
            <a:schemeClr val="accent1"/>
          </a:solidFill>
          <a:ln w="15875" cap="flat" cmpd="sng" algn="ctr">
            <a:solidFill>
              <a:schemeClr val="bg1">
                <a:lumMod val="65000"/>
              </a:schemeClr>
            </a:solidFill>
            <a:prstDash val="solid"/>
            <a:round/>
            <a:headEnd type="none" w="med" len="med"/>
            <a:tailEnd type="none" w="med" len="med"/>
          </a:ln>
          <a:effectLst/>
        </p:spPr>
      </p:cxnSp>
      <p:grpSp>
        <p:nvGrpSpPr>
          <p:cNvPr id="72" name="组合 68"/>
          <p:cNvGrpSpPr/>
          <p:nvPr/>
        </p:nvGrpSpPr>
        <p:grpSpPr>
          <a:xfrm>
            <a:off x="961393" y="4887196"/>
            <a:ext cx="4238263" cy="1742017"/>
            <a:chOff x="-656060" y="3694127"/>
            <a:chExt cx="4238263" cy="1161468"/>
          </a:xfrm>
        </p:grpSpPr>
        <p:cxnSp>
          <p:nvCxnSpPr>
            <p:cNvPr id="73" name="直接连接符 69"/>
            <p:cNvCxnSpPr/>
            <p:nvPr/>
          </p:nvCxnSpPr>
          <p:spPr bwMode="auto">
            <a:xfrm flipH="1">
              <a:off x="2698750" y="3694127"/>
              <a:ext cx="883453" cy="1161468"/>
            </a:xfrm>
            <a:prstGeom prst="line">
              <a:avLst/>
            </a:prstGeom>
            <a:solidFill>
              <a:schemeClr val="accent1"/>
            </a:solidFill>
            <a:ln w="15875" cap="flat" cmpd="sng" algn="ctr">
              <a:solidFill>
                <a:schemeClr val="bg1">
                  <a:lumMod val="65000"/>
                </a:schemeClr>
              </a:solidFill>
              <a:prstDash val="solid"/>
              <a:round/>
              <a:headEnd type="none" w="med" len="med"/>
              <a:tailEnd type="none" w="med" len="med"/>
            </a:ln>
            <a:effectLst/>
          </p:spPr>
        </p:cxnSp>
        <p:cxnSp>
          <p:nvCxnSpPr>
            <p:cNvPr id="74" name="直接连接符 70"/>
            <p:cNvCxnSpPr/>
            <p:nvPr/>
          </p:nvCxnSpPr>
          <p:spPr bwMode="auto">
            <a:xfrm flipH="1">
              <a:off x="-656060" y="4855595"/>
              <a:ext cx="3354813" cy="0"/>
            </a:xfrm>
            <a:prstGeom prst="line">
              <a:avLst/>
            </a:prstGeom>
            <a:solidFill>
              <a:schemeClr val="accent1"/>
            </a:solidFill>
            <a:ln w="15875" cap="flat" cmpd="sng" algn="ctr">
              <a:solidFill>
                <a:schemeClr val="bg1">
                  <a:lumMod val="65000"/>
                </a:schemeClr>
              </a:solidFill>
              <a:prstDash val="solid"/>
              <a:round/>
              <a:headEnd type="none" w="med" len="med"/>
              <a:tailEnd type="none" w="med" len="med"/>
            </a:ln>
            <a:effectLst/>
          </p:spPr>
        </p:cxnSp>
      </p:grpSp>
      <p:sp>
        <p:nvSpPr>
          <p:cNvPr id="75" name="TextBox 77"/>
          <p:cNvSpPr txBox="1">
            <a:spLocks noChangeArrowheads="1"/>
          </p:cNvSpPr>
          <p:nvPr/>
        </p:nvSpPr>
        <p:spPr bwMode="auto">
          <a:xfrm>
            <a:off x="968909" y="1785430"/>
            <a:ext cx="3721070" cy="1708160"/>
          </a:xfrm>
          <a:prstGeom prst="rect">
            <a:avLst/>
          </a:prstGeom>
          <a:noFill/>
          <a:ln>
            <a:noFill/>
          </a:ln>
        </p:spPr>
        <p:txBody>
          <a:bodyPr wrap="square">
            <a:spAutoFit/>
          </a:bodyPr>
          <a:lstStyle>
            <a:defPPr>
              <a:defRPr lang="zh-CN"/>
            </a:defPPr>
            <a:lvl1pPr marL="285750" indent="-285750" eaLnBrk="0" fontAlgn="base" hangingPunct="0">
              <a:lnSpc>
                <a:spcPts val="1800"/>
              </a:lnSpc>
              <a:spcBef>
                <a:spcPct val="0"/>
              </a:spcBef>
              <a:spcAft>
                <a:spcPct val="0"/>
              </a:spcAft>
              <a:buFont typeface="Wingdings" panose="05000000000000000000" pitchFamily="2" charset="2"/>
              <a:buChar char="n"/>
              <a:defRPr sz="1200" b="1">
                <a:solidFill>
                  <a:srgbClr val="002060"/>
                </a:solidFill>
                <a:latin typeface="Arial" panose="020B0604020202020204" pitchFamily="34" charset="0"/>
                <a:ea typeface="方正小标宋简体" panose="02010600030101010101" pitchFamily="65" charset="-122"/>
              </a:defRPr>
            </a:lvl1pPr>
            <a:lvl2pPr marL="742950" indent="-285750">
              <a:spcBef>
                <a:spcPct val="20000"/>
              </a:spcBef>
              <a:buFont typeface="Arial" panose="020B0604020202020204" pitchFamily="34" charset="0"/>
              <a:buChar char="–"/>
              <a:defRPr sz="2800">
                <a:latin typeface="Arial" panose="020B060402020202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latin typeface="Arial" panose="020B060402020202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latin typeface="Arial" panose="020B060402020202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9pPr>
          </a:lstStyle>
          <a:p>
            <a:r>
              <a:rPr lang="en-US" altLang="zh-CN" sz="1400" b="0" dirty="0"/>
              <a:t>College of Liberal Arts</a:t>
            </a:r>
          </a:p>
          <a:p>
            <a:r>
              <a:rPr lang="en-US" altLang="zh-CN" sz="1400" b="0" dirty="0"/>
              <a:t>School of Foreign Languages</a:t>
            </a:r>
          </a:p>
          <a:p>
            <a:r>
              <a:rPr lang="en-US" altLang="zh-CN" sz="1400" b="0" dirty="0"/>
              <a:t>Law School</a:t>
            </a:r>
          </a:p>
          <a:p>
            <a:r>
              <a:rPr lang="en-US" altLang="zh-CN" sz="1400" b="0" dirty="0"/>
              <a:t>School of Sociology and Political Science</a:t>
            </a:r>
          </a:p>
          <a:p>
            <a:r>
              <a:rPr lang="en-US" altLang="zh-CN" sz="1400" b="0" dirty="0"/>
              <a:t>School of Marxism</a:t>
            </a:r>
          </a:p>
          <a:p>
            <a:r>
              <a:rPr lang="en-US" altLang="zh-CN" sz="1400" b="0" dirty="0"/>
              <a:t>School of Journalism and Communication</a:t>
            </a:r>
          </a:p>
        </p:txBody>
      </p:sp>
      <p:sp>
        <p:nvSpPr>
          <p:cNvPr id="76" name="TextBox 78"/>
          <p:cNvSpPr txBox="1">
            <a:spLocks noChangeArrowheads="1"/>
          </p:cNvSpPr>
          <p:nvPr/>
        </p:nvSpPr>
        <p:spPr bwMode="auto">
          <a:xfrm>
            <a:off x="968909" y="3613142"/>
            <a:ext cx="4521666" cy="3093154"/>
          </a:xfrm>
          <a:prstGeom prst="rect">
            <a:avLst/>
          </a:prstGeom>
          <a:noFill/>
          <a:ln>
            <a:noFill/>
          </a:ln>
        </p:spPr>
        <p:txBody>
          <a:bodyPr wrap="square">
            <a:spAutoFit/>
          </a:bodyPr>
          <a:lstStyle>
            <a:defPPr>
              <a:defRPr lang="zh-CN"/>
            </a:defPPr>
            <a:lvl1pPr eaLnBrk="0" fontAlgn="base" hangingPunct="0">
              <a:lnSpc>
                <a:spcPts val="1800"/>
              </a:lnSpc>
              <a:spcBef>
                <a:spcPct val="0"/>
              </a:spcBef>
              <a:spcAft>
                <a:spcPct val="0"/>
              </a:spcAft>
              <a:buFontTx/>
              <a:buNone/>
              <a:defRPr sz="1400" b="1">
                <a:solidFill>
                  <a:srgbClr val="002060"/>
                </a:solidFill>
                <a:latin typeface="Arial" panose="020B0604020202020204" pitchFamily="34" charset="0"/>
                <a:ea typeface="方正小标宋简体" panose="02010600030101010101" pitchFamily="65" charset="-122"/>
              </a:defRPr>
            </a:lvl1pPr>
            <a:lvl2pPr marL="742950" indent="-285750">
              <a:spcBef>
                <a:spcPct val="20000"/>
              </a:spcBef>
              <a:buFont typeface="Arial" panose="020B0604020202020204" pitchFamily="34" charset="0"/>
              <a:buChar char="–"/>
              <a:defRPr sz="2800">
                <a:latin typeface="Arial" panose="020B060402020202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latin typeface="Arial" panose="020B060402020202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latin typeface="Arial" panose="020B060402020202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9pPr>
          </a:lstStyle>
          <a:p>
            <a:pPr marL="285750" indent="-285750">
              <a:buFont typeface="Wingdings" panose="05000000000000000000" pitchFamily="2" charset="2"/>
              <a:buChar char="n"/>
            </a:pPr>
            <a:r>
              <a:rPr lang="en-US" altLang="zh-CN" b="0" dirty="0"/>
              <a:t>School of Computer Engineering and </a:t>
            </a:r>
          </a:p>
          <a:p>
            <a:r>
              <a:rPr lang="en-US" altLang="zh-CN" b="0" dirty="0"/>
              <a:t>      Science</a:t>
            </a:r>
          </a:p>
          <a:p>
            <a:pPr marL="285750" indent="-285750">
              <a:buFont typeface="Wingdings" panose="05000000000000000000" pitchFamily="2" charset="2"/>
              <a:buChar char="n"/>
            </a:pPr>
            <a:r>
              <a:rPr lang="en-US" altLang="zh-CN" b="0" dirty="0"/>
              <a:t>School of Mechatronic Engineering and </a:t>
            </a:r>
          </a:p>
          <a:p>
            <a:r>
              <a:rPr lang="en-US" altLang="zh-CN" b="0" dirty="0"/>
              <a:t>      Automation</a:t>
            </a:r>
          </a:p>
          <a:p>
            <a:pPr marL="285750" indent="-285750">
              <a:buFont typeface="Wingdings" panose="05000000000000000000" pitchFamily="2" charset="2"/>
              <a:buChar char="n"/>
            </a:pPr>
            <a:r>
              <a:rPr lang="en-US" altLang="zh-CN" b="0" dirty="0"/>
              <a:t>School of Communications and Information </a:t>
            </a:r>
          </a:p>
          <a:p>
            <a:r>
              <a:rPr lang="en-US" altLang="zh-CN" b="0" dirty="0"/>
              <a:t>      Engineering</a:t>
            </a:r>
          </a:p>
          <a:p>
            <a:pPr marL="285750" indent="-285750">
              <a:buFont typeface="Wingdings" panose="05000000000000000000" pitchFamily="2" charset="2"/>
              <a:buChar char="n"/>
            </a:pPr>
            <a:r>
              <a:rPr lang="en-US" altLang="zh-CN" b="0" dirty="0"/>
              <a:t>School of Environmental and Chemical </a:t>
            </a:r>
          </a:p>
          <a:p>
            <a:r>
              <a:rPr lang="en-US" altLang="zh-CN" b="0" dirty="0"/>
              <a:t>      Engineering</a:t>
            </a:r>
          </a:p>
          <a:p>
            <a:pPr marL="285750" indent="-285750">
              <a:buFont typeface="Wingdings" panose="05000000000000000000" pitchFamily="2" charset="2"/>
              <a:buChar char="n"/>
            </a:pPr>
            <a:r>
              <a:rPr lang="en-US" altLang="zh-CN" b="0" dirty="0"/>
              <a:t>School of Materials Science and </a:t>
            </a:r>
          </a:p>
          <a:p>
            <a:r>
              <a:rPr lang="en-US" altLang="zh-CN" b="0" dirty="0"/>
              <a:t>      Engineering</a:t>
            </a:r>
          </a:p>
          <a:p>
            <a:pPr marL="285750" indent="-285750">
              <a:buFont typeface="Wingdings" panose="05000000000000000000" pitchFamily="2" charset="2"/>
              <a:buChar char="n"/>
            </a:pPr>
            <a:r>
              <a:rPr lang="en-US" altLang="zh-CN" b="0" dirty="0"/>
              <a:t>School of Mechanics and Engineering </a:t>
            </a:r>
          </a:p>
          <a:p>
            <a:r>
              <a:rPr lang="en-US" altLang="zh-CN" b="0" dirty="0"/>
              <a:t>      Science </a:t>
            </a:r>
          </a:p>
          <a:p>
            <a:pPr marL="285750" indent="-285750">
              <a:buFont typeface="Wingdings" panose="05000000000000000000" pitchFamily="2" charset="2"/>
              <a:buChar char="n"/>
            </a:pPr>
            <a:r>
              <a:rPr lang="en-US" altLang="zh-CN" b="0" dirty="0">
                <a:solidFill>
                  <a:srgbClr val="FF8D00"/>
                </a:solidFill>
              </a:rPr>
              <a:t>Sino-European School of Technology</a:t>
            </a:r>
          </a:p>
        </p:txBody>
      </p:sp>
      <p:sp>
        <p:nvSpPr>
          <p:cNvPr id="77" name="TextBox 76"/>
          <p:cNvSpPr txBox="1">
            <a:spLocks noChangeArrowheads="1"/>
          </p:cNvSpPr>
          <p:nvPr/>
        </p:nvSpPr>
        <p:spPr bwMode="auto">
          <a:xfrm>
            <a:off x="971310" y="1160478"/>
            <a:ext cx="2503488" cy="553998"/>
          </a:xfrm>
          <a:prstGeom prst="rect">
            <a:avLst/>
          </a:prstGeom>
          <a:noFill/>
          <a:ln>
            <a:noFill/>
          </a:ln>
        </p:spPr>
        <p:txBody>
          <a:bodyPr wrap="square">
            <a:spAutoFit/>
          </a:bodyPr>
          <a:lstStyle>
            <a:defPPr>
              <a:defRPr lang="zh-CN"/>
            </a:defPPr>
            <a:lvl1pPr marL="285750" indent="-285750" eaLnBrk="0" fontAlgn="base" hangingPunct="0">
              <a:lnSpc>
                <a:spcPts val="1800"/>
              </a:lnSpc>
              <a:spcBef>
                <a:spcPct val="0"/>
              </a:spcBef>
              <a:spcAft>
                <a:spcPct val="0"/>
              </a:spcAft>
              <a:buFont typeface="Wingdings" panose="05000000000000000000" pitchFamily="2" charset="2"/>
              <a:buChar char="n"/>
              <a:defRPr sz="1200" b="1">
                <a:solidFill>
                  <a:srgbClr val="002060"/>
                </a:solidFill>
                <a:latin typeface="Arial" panose="020B0604020202020204" pitchFamily="34" charset="0"/>
                <a:ea typeface="方正小标宋简体" panose="02010600030101010101" pitchFamily="65" charset="-122"/>
              </a:defRPr>
            </a:lvl1pPr>
            <a:lvl2pPr marL="742950" indent="-285750">
              <a:spcBef>
                <a:spcPct val="20000"/>
              </a:spcBef>
              <a:buFont typeface="Arial" panose="020B0604020202020204" pitchFamily="34" charset="0"/>
              <a:buChar char="–"/>
              <a:defRPr sz="2800">
                <a:latin typeface="Arial" panose="020B060402020202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latin typeface="Arial" panose="020B060402020202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latin typeface="Arial" panose="020B060402020202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9pPr>
          </a:lstStyle>
          <a:p>
            <a:r>
              <a:rPr lang="en-US" altLang="zh-CN" sz="1400" b="0" dirty="0"/>
              <a:t>College of Sciences</a:t>
            </a:r>
          </a:p>
          <a:p>
            <a:r>
              <a:rPr lang="en-US" altLang="zh-CN" sz="1400" b="0" dirty="0"/>
              <a:t>School of Life Sciences </a:t>
            </a:r>
            <a:endParaRPr lang="zh-CN" altLang="en-US" sz="1400" b="0" dirty="0"/>
          </a:p>
        </p:txBody>
      </p:sp>
      <p:sp>
        <p:nvSpPr>
          <p:cNvPr id="78" name="TextBox 73"/>
          <p:cNvSpPr txBox="1">
            <a:spLocks noChangeArrowheads="1"/>
          </p:cNvSpPr>
          <p:nvPr/>
        </p:nvSpPr>
        <p:spPr bwMode="auto">
          <a:xfrm>
            <a:off x="8445780" y="1393643"/>
            <a:ext cx="3330425" cy="1246495"/>
          </a:xfrm>
          <a:prstGeom prst="rect">
            <a:avLst/>
          </a:prstGeom>
          <a:noFill/>
          <a:ln>
            <a:noFill/>
          </a:ln>
        </p:spPr>
        <p:txBody>
          <a:bodyPr wrap="square">
            <a:spAutoFit/>
          </a:bodyPr>
          <a:lstStyle>
            <a:defPPr>
              <a:defRPr lang="zh-CN"/>
            </a:defPPr>
            <a:lvl1pPr marL="285750" indent="-285750" eaLnBrk="0" fontAlgn="base" hangingPunct="0">
              <a:lnSpc>
                <a:spcPts val="1800"/>
              </a:lnSpc>
              <a:spcBef>
                <a:spcPct val="0"/>
              </a:spcBef>
              <a:spcAft>
                <a:spcPct val="0"/>
              </a:spcAft>
              <a:buFont typeface="Wingdings" panose="05000000000000000000" pitchFamily="2" charset="2"/>
              <a:buChar char="n"/>
              <a:defRPr sz="1200" b="1">
                <a:solidFill>
                  <a:srgbClr val="002060"/>
                </a:solidFill>
                <a:latin typeface="Arial" panose="020B0604020202020204" pitchFamily="34" charset="0"/>
                <a:ea typeface="方正小标宋简体" panose="02010600030101010101" pitchFamily="65" charset="-122"/>
              </a:defRPr>
            </a:lvl1pPr>
            <a:lvl2pPr marL="742950" indent="-285750">
              <a:spcBef>
                <a:spcPct val="20000"/>
              </a:spcBef>
              <a:buFont typeface="Arial" panose="020B0604020202020204" pitchFamily="34" charset="0"/>
              <a:buChar char="–"/>
              <a:defRPr sz="2800">
                <a:latin typeface="Arial" panose="020B060402020202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latin typeface="Arial" panose="020B060402020202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latin typeface="Arial" panose="020B060402020202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9pPr>
          </a:lstStyle>
          <a:p>
            <a:r>
              <a:rPr lang="en-US" altLang="zh-CN" sz="1400" b="0" dirty="0"/>
              <a:t>Residential College</a:t>
            </a:r>
          </a:p>
          <a:p>
            <a:r>
              <a:rPr lang="en-US" altLang="zh-CN" sz="1400" b="0" dirty="0" err="1"/>
              <a:t>Qian</a:t>
            </a:r>
            <a:r>
              <a:rPr lang="en-US" altLang="zh-CN" sz="1400" b="0" dirty="0"/>
              <a:t> </a:t>
            </a:r>
            <a:r>
              <a:rPr lang="en-US" altLang="zh-CN" sz="1400" b="0" dirty="0" err="1"/>
              <a:t>Weichang</a:t>
            </a:r>
            <a:r>
              <a:rPr lang="en-US" altLang="zh-CN" sz="1400" b="0" dirty="0"/>
              <a:t> College</a:t>
            </a:r>
          </a:p>
          <a:p>
            <a:r>
              <a:rPr lang="en-US" altLang="zh-CN" sz="1400" b="0" dirty="0"/>
              <a:t>Physical Education College</a:t>
            </a:r>
          </a:p>
          <a:p>
            <a:r>
              <a:rPr lang="en-US" altLang="zh-CN" sz="1400" b="0" dirty="0"/>
              <a:t>College of Continuing Education</a:t>
            </a:r>
          </a:p>
          <a:p>
            <a:r>
              <a:rPr lang="en-US" altLang="zh-CN" sz="1400" b="0" dirty="0"/>
              <a:t>College of International Education</a:t>
            </a:r>
          </a:p>
        </p:txBody>
      </p:sp>
      <p:sp>
        <p:nvSpPr>
          <p:cNvPr id="79" name="TextBox 74"/>
          <p:cNvSpPr txBox="1">
            <a:spLocks noChangeArrowheads="1"/>
          </p:cNvSpPr>
          <p:nvPr/>
        </p:nvSpPr>
        <p:spPr bwMode="auto">
          <a:xfrm>
            <a:off x="8445780" y="3259975"/>
            <a:ext cx="3436458" cy="1015663"/>
          </a:xfrm>
          <a:prstGeom prst="rect">
            <a:avLst/>
          </a:prstGeom>
          <a:noFill/>
          <a:ln>
            <a:noFill/>
          </a:ln>
        </p:spPr>
        <p:txBody>
          <a:bodyPr wrap="square">
            <a:spAutoFit/>
          </a:bodyPr>
          <a:lstStyle>
            <a:defPPr>
              <a:defRPr lang="zh-CN"/>
            </a:defPPr>
            <a:lvl1pPr marL="285750" indent="-285750" eaLnBrk="0" fontAlgn="base" hangingPunct="0">
              <a:lnSpc>
                <a:spcPts val="1800"/>
              </a:lnSpc>
              <a:spcBef>
                <a:spcPct val="0"/>
              </a:spcBef>
              <a:spcAft>
                <a:spcPct val="0"/>
              </a:spcAft>
              <a:buFont typeface="Wingdings" panose="05000000000000000000" pitchFamily="2" charset="2"/>
              <a:buChar char="n"/>
              <a:defRPr sz="1200" b="1">
                <a:solidFill>
                  <a:srgbClr val="002060"/>
                </a:solidFill>
                <a:latin typeface="Arial" panose="020B0604020202020204" pitchFamily="34" charset="0"/>
                <a:ea typeface="方正小标宋简体" panose="02010600030101010101" pitchFamily="65" charset="-122"/>
              </a:defRPr>
            </a:lvl1pPr>
            <a:lvl2pPr marL="742950" indent="-285750">
              <a:spcBef>
                <a:spcPct val="20000"/>
              </a:spcBef>
              <a:buFont typeface="Arial" panose="020B0604020202020204" pitchFamily="34" charset="0"/>
              <a:buChar char="–"/>
              <a:defRPr sz="2800">
                <a:latin typeface="Arial" panose="020B060402020202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latin typeface="Arial" panose="020B060402020202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latin typeface="Arial" panose="020B060402020202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9pPr>
          </a:lstStyle>
          <a:p>
            <a:r>
              <a:rPr lang="en-US" altLang="zh-CN" sz="1400" b="0" dirty="0"/>
              <a:t>Shanghai Academy of Fine Arts</a:t>
            </a:r>
          </a:p>
          <a:p>
            <a:r>
              <a:rPr lang="en-US" altLang="zh-CN" sz="1400" b="0" dirty="0"/>
              <a:t>Shanghai Film Academy </a:t>
            </a:r>
          </a:p>
          <a:p>
            <a:r>
              <a:rPr lang="en-US" altLang="zh-CN" sz="1400" b="0" dirty="0"/>
              <a:t>School of Music</a:t>
            </a:r>
          </a:p>
          <a:p>
            <a:r>
              <a:rPr lang="en-US" altLang="zh-CN" sz="1400" b="0" dirty="0">
                <a:solidFill>
                  <a:srgbClr val="FF8D00"/>
                </a:solidFill>
              </a:rPr>
              <a:t>Shanghai Vancouver Film School </a:t>
            </a:r>
            <a:endParaRPr lang="zh-CN" altLang="en-US" sz="1400" b="0" dirty="0">
              <a:solidFill>
                <a:srgbClr val="FF8D00"/>
              </a:solidFill>
            </a:endParaRPr>
          </a:p>
        </p:txBody>
      </p:sp>
      <p:sp>
        <p:nvSpPr>
          <p:cNvPr id="80" name="TextBox 75"/>
          <p:cNvSpPr txBox="1">
            <a:spLocks noChangeArrowheads="1"/>
          </p:cNvSpPr>
          <p:nvPr/>
        </p:nvSpPr>
        <p:spPr bwMode="auto">
          <a:xfrm>
            <a:off x="8445780" y="4835370"/>
            <a:ext cx="3233798" cy="1246495"/>
          </a:xfrm>
          <a:prstGeom prst="rect">
            <a:avLst/>
          </a:prstGeom>
          <a:noFill/>
          <a:ln>
            <a:noFill/>
          </a:ln>
        </p:spPr>
        <p:txBody>
          <a:bodyPr wrap="square">
            <a:spAutoFit/>
          </a:bodyPr>
          <a:lstStyle>
            <a:defPPr>
              <a:defRPr lang="zh-CN"/>
            </a:defPPr>
            <a:lvl1pPr marL="285750" indent="-285750" eaLnBrk="0" fontAlgn="base" hangingPunct="0">
              <a:lnSpc>
                <a:spcPts val="1800"/>
              </a:lnSpc>
              <a:spcBef>
                <a:spcPct val="0"/>
              </a:spcBef>
              <a:spcAft>
                <a:spcPct val="0"/>
              </a:spcAft>
              <a:buFont typeface="Wingdings" panose="05000000000000000000" pitchFamily="2" charset="2"/>
              <a:buChar char="n"/>
              <a:defRPr sz="1200" b="1">
                <a:solidFill>
                  <a:srgbClr val="002060"/>
                </a:solidFill>
                <a:latin typeface="Arial" panose="020B0604020202020204" pitchFamily="34" charset="0"/>
                <a:ea typeface="方正小标宋简体" panose="02010600030101010101" pitchFamily="65" charset="-122"/>
              </a:defRPr>
            </a:lvl1pPr>
            <a:lvl2pPr marL="742950" indent="-285750">
              <a:spcBef>
                <a:spcPct val="20000"/>
              </a:spcBef>
              <a:buFont typeface="Arial" panose="020B0604020202020204" pitchFamily="34" charset="0"/>
              <a:buChar char="–"/>
              <a:defRPr sz="2800">
                <a:latin typeface="Arial" panose="020B060402020202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latin typeface="Arial" panose="020B060402020202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latin typeface="Arial" panose="020B060402020202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latin typeface="Arial" panose="020B0604020202020204" pitchFamily="34" charset="0"/>
                <a:ea typeface="宋体" panose="02010600030101010101" pitchFamily="2" charset="-122"/>
              </a:defRPr>
            </a:lvl9pPr>
          </a:lstStyle>
          <a:p>
            <a:r>
              <a:rPr lang="en-US" altLang="zh-CN" sz="1400" b="0" dirty="0"/>
              <a:t>School of Management</a:t>
            </a:r>
          </a:p>
          <a:p>
            <a:r>
              <a:rPr lang="en-US" altLang="zh-CN" sz="1400" b="0" dirty="0"/>
              <a:t>School of Economics</a:t>
            </a:r>
          </a:p>
          <a:p>
            <a:r>
              <a:rPr lang="en-US" altLang="zh-CN" sz="1400" b="0" dirty="0">
                <a:solidFill>
                  <a:srgbClr val="FF8D00"/>
                </a:solidFill>
              </a:rPr>
              <a:t>SHU-UTS SILC Business School</a:t>
            </a:r>
          </a:p>
          <a:p>
            <a:r>
              <a:rPr lang="en-US" altLang="zh-CN" sz="1400" b="0" dirty="0"/>
              <a:t>Department of Library, Information and Archives</a:t>
            </a:r>
            <a:endParaRPr lang="zh-CN" altLang="en-US" sz="1400" b="0" dirty="0"/>
          </a:p>
        </p:txBody>
      </p:sp>
      <p:pic>
        <p:nvPicPr>
          <p:cNvPr id="18" name="图片 17" descr="上大logo最新"/>
          <p:cNvPicPr>
            <a:picLocks noChangeAspect="1"/>
          </p:cNvPicPr>
          <p:nvPr/>
        </p:nvPicPr>
        <p:blipFill>
          <a:blip r:embed="rId8">
            <a:clrChange>
              <a:clrFrom>
                <a:srgbClr val="F6F5F6">
                  <a:alpha val="100000"/>
                </a:srgbClr>
              </a:clrFrom>
              <a:clrTo>
                <a:srgbClr val="F6F5F6">
                  <a:alpha val="100000"/>
                  <a:alpha val="0"/>
                </a:srgbClr>
              </a:clrTo>
            </a:clrChange>
          </a:blip>
          <a:stretch>
            <a:fillRect/>
          </a:stretch>
        </p:blipFill>
        <p:spPr>
          <a:xfrm>
            <a:off x="9684385" y="125730"/>
            <a:ext cx="2439670" cy="702310"/>
          </a:xfrm>
          <a:prstGeom prst="rect">
            <a:avLst/>
          </a:prstGeom>
        </p:spPr>
      </p:pic>
      <p:sp>
        <p:nvSpPr>
          <p:cNvPr id="5" name="等腰三角形 4"/>
          <p:cNvSpPr/>
          <p:nvPr/>
        </p:nvSpPr>
        <p:spPr>
          <a:xfrm rot="5400000">
            <a:off x="-174172" y="174171"/>
            <a:ext cx="841829" cy="493486"/>
          </a:xfrm>
          <a:prstGeom prst="triangle">
            <a:avLst/>
          </a:prstGeom>
          <a:gradFill>
            <a:gsLst>
              <a:gs pos="0">
                <a:srgbClr val="007BD3"/>
              </a:gs>
              <a:gs pos="0">
                <a:srgbClr val="034373">
                  <a:alpha val="80000"/>
                </a:srgbClr>
              </a:gs>
            </a:gsLst>
            <a:lin ang="0" scaled="0"/>
          </a:gradFill>
          <a:ln>
            <a:noFill/>
          </a:ln>
          <a:effectLst>
            <a:outerShdw blurRad="254000" dist="635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3&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89999999999999990000E+000&quot;&gt;&lt;m_msothmcolidx val=&quot;0&quot;/&gt;&lt;m_rgb r=&quot;DF&quot; g=&quot;DF&quot; b=&quot;DF&quot;/&gt;&lt;m_nBrightness val=&quot;0&quot;/&gt;&lt;/elem&gt;&lt;elem m_fUsage=&quot;1.53899999999999990000E+000&quot;&gt;&lt;m_msothmcolidx val=&quot;0&quot;/&gt;&lt;m_rgb r=&quot;EF&quot; g=&quot;C9&quot; b=&quot;4C&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MH" val="20170220143220"/>
  <p:tag name="MH_LIBRARY" val="CONTENTS"/>
  <p:tag name="MH_AUTOCOLOR" val="TRUE"/>
  <p:tag name="MH_TYPE" val="CONTENTS"/>
  <p:tag name="ID" val="545824"/>
</p:tagLst>
</file>

<file path=ppt/tags/tag12.xml><?xml version="1.0" encoding="utf-8"?>
<p:tagLst xmlns:a="http://schemas.openxmlformats.org/drawingml/2006/main" xmlns:r="http://schemas.openxmlformats.org/officeDocument/2006/relationships" xmlns:p="http://schemas.openxmlformats.org/presentationml/2006/main">
  <p:tag name="MH" val="20161110152648"/>
  <p:tag name="MH_LIBRARY" val="GRAPHIC"/>
  <p:tag name="MH_TYPE" val="Other"/>
  <p:tag name="MH_ORDER" val="3"/>
</p:tagLst>
</file>

<file path=ppt/tags/tag13.xml><?xml version="1.0" encoding="utf-8"?>
<p:tagLst xmlns:a="http://schemas.openxmlformats.org/drawingml/2006/main" xmlns:r="http://schemas.openxmlformats.org/officeDocument/2006/relationships" xmlns:p="http://schemas.openxmlformats.org/presentationml/2006/main">
  <p:tag name="KSO_WM_UNIT_TABLE_BEAUTIFY" val="smartTable{bbe83888-bd8b-4c0c-9d61-90a0a764104e}"/>
  <p:tag name="TABLE_ENDDRAG_ORIGIN_RECT" val="673*377"/>
  <p:tag name="TABLE_ENDDRAG_RECT" val="300*215*673*377"/>
</p:tagLst>
</file>

<file path=ppt/tags/tag14.xml><?xml version="1.0" encoding="utf-8"?>
<p:tagLst xmlns:a="http://schemas.openxmlformats.org/drawingml/2006/main" xmlns:r="http://schemas.openxmlformats.org/officeDocument/2006/relationships" xmlns:p="http://schemas.openxmlformats.org/presentationml/2006/main">
  <p:tag name="ISLIDE.DIAGRAM" val="#195091;"/>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diagram"/>
  <p:tag name="KSO_WM_TEMPLATE_INDEX" val="20207069"/>
  <p:tag name="KSO_WM_SLIDE_LAYOUT_INFO" val="{&quot;direction&quot;:1,&quot;id&quot;:&quot;2021-12-21T15:56:24&quot;,&quot;maxSize&quot;:{&quot;size1&quot;:100},&quot;minSize&quot;:{&quot;size1&quot;:100},&quot;normalSize&quot;:{&quot;size1&quot;:100},&quot;subLayout&quot;:[{&quot;backgroundInfo&quot;:[{&quot;bottom&quot;:0.15555556100000001,&quot;bottomAbs&quot;:false,&quot;left&quot;:0,&quot;leftAbs&quot;:false,&quot;right&quot;:0,&quot;rightAbs&quot;:false,&quot;top&quot;:0.15555556100000001,&quot;topAbs&quot;:false,&quot;type&quot;:&quot;belt&quot;}],&quot;id&quot;:&quot;2021-12-21T15:56:24&quot;,&quot;maxSize&quot;:{&quot;size1&quot;:15.483165411595945},&quot;minSize&quot;:{&quot;size1&quot;:15.483165411595945},&quot;normalSize&quot;:{&quot;size1&quot;:15.483165411595945},&quot;subLayout&quot;:[{&quot;id&quot;:&quot;2021-12-21T15:56:24&quot;,&quot;type&quot;:0},{&quot;id&quot;:&quot;2021-12-21T15:56:24&quot;,&quot;maxSize&quot;:{&quot;size1&quot;:81.698401001411085},&quot;minSize&quot;:{&quot;size1&quot;:81.698401001411085},&quot;normalSize&quot;:{&quot;size1&quot;:81.698401001411085},&quot;subLayout&quot;:[{&quot;backgroundInfo&quot;:[{&quot;bottom&quot;:0,&quot;bottomAbs&quot;:false,&quot;left&quot;:0,&quot;leftAbs&quot;:false,&quot;right&quot;:0,&quot;rightAbs&quot;:false,&quot;top&quot;:0,&quot;topAbs&quot;:false,&quot;type&quot;:&quot;belt&quot;}],&quot;id&quot;:&quot;2021-12-21T15:56:24&quot;,&quot;margin&quot;:{&quot;bottom&quot;:0.42300000786781311,&quot;left&quot;:3.3870000839233398,&quot;right&quot;:3.3870000839233398,&quot;top&quot;:0.42300000786781311},&quot;type&quot;:0},{&quot;id&quot;:&quot;2021-12-21T15:56:24&quot;,&quot;type&quot;:0}],&quot;type&quot;:0}],&quot;type&quot;:0},{&quot;id&quot;:&quot;2021-12-21T15:56:24&quot;,&quot;type&quot;:0}],&quot;type&quot;:0}"/>
  <p:tag name="KSO_WM_SLIDE_CAN_ADD_NAVIGATION" val="1"/>
  <p:tag name="KSO_WM_SLIDE_BACKGROUND" val="[&quot;belt&quot;]"/>
  <p:tag name="KSO_WM_SLIDE_RATIO" val="1.777778"/>
  <p:tag name="KSO_WM_CHIP_INFOS" val="{&quot;type&quot;:0,&quot;layout_type&quot;:&quot;topbottom&quot;,&quot;layout_feature&quot;:1,&quot;aspect_ratio&quot;:&quot;16:9&quot;,&quot;same_font_size&quot;:false,&quot;diagram&quot;:{&quot;type&quot;:[],&quot;direction&quot;:0,&quot;isSupportDecBetweenItems&quot;:false},&quot;tags&quot;:{&quot;style&quot;:[&quot;商务&quot;,&quot;简约&quot;,&quot;文艺清新&quot;,&quot;中国风&quot;,&quot;卡通&quot;,&quot;欧美风&quot;,&quot;黑板风&quot;,&quot;渐变风&quot;,&quot;党政风&quot;]},&quot;slide_type&quot;:[&quot;text&quot;]}"/>
  <p:tag name="KSO_WM_CHIP_XID" val="5e6f19c8605d5daf04fe6008"/>
  <p:tag name="KSO_WM_SLIDE_ID" val="diagram20207069_1"/>
  <p:tag name="KSO_WM_TEMPLATE_SUBCATEGORY" val="21"/>
  <p:tag name="KSO_WM_TEMPLATE_MASTER_TYPE" val="0"/>
  <p:tag name="KSO_WM_TEMPLATE_COLOR_TYPE" val="1"/>
  <p:tag name="KSO_WM_SLIDE_TYPE" val="text"/>
  <p:tag name="KSO_WM_SLIDE_SUBTYPE" val="picTxt"/>
  <p:tag name="KSO_WM_SLIDE_ITEM_CNT" val="0"/>
  <p:tag name="KSO_WM_SLIDE_INDEX" val="1"/>
  <p:tag name="KSO_WM_SLIDE_SIZE" val="960*371"/>
  <p:tag name="KSO_WM_SLIDE_POSITION" val="0*84"/>
  <p:tag name="KSO_WM_TAG_VERSION" val="1.0"/>
  <p:tag name="KSO_WM_SLIDE_LAYOUT" val="d"/>
  <p:tag name="KSO_WM_SLIDE_LAYOUT_CNT" val="1"/>
  <p:tag name="KSO_WM_CHIP_FILLPROP" val="[[{&quot;text_align&quot;:&quot;lm&quot;,&quot;text_direction&quot;:&quot;horizontal&quot;,&quot;support_features&quot;:[&quot;collage&quot;,&quot;carousel&quot;],&quot;support_big_font&quot;:false,&quot;picture_toward&quot;:0,&quot;picture_dockside&quot;:[],&quot;fill_id&quot;:&quot;5b370d9c62884a6b9c7db59bf9b89d92&quot;,&quot;fill_align&quot;:&quot;cm&quot;,&quot;chip_types&quot;:[&quot;diagram&quot;,&quot;pictext&quot;,&quot;picture&quot;,&quot;chart&quot;,&quot;table&quot;,&quot;video&quot;]}],[{&quot;text_align&quot;:&quot;lm&quot;,&quot;text_direction&quot;:&quot;horizontal&quot;,&quot;support_big_font&quot;:false,&quot;picture_toward&quot;:0,&quot;picture_dockside&quot;:[],&quot;fill_id&quot;:&quot;5b370d9c62884a6b9c7db59bf9b89d92&quot;,&quot;fill_align&quot;:&quot;lm&quot;,&quot;chip_types&quot;:[&quot;text&quot;]}]]"/>
  <p:tag name="KSO_WM_CHIP_DECFILLPROP" val="[]"/>
  <p:tag name="KSO_WM_CHIP_GROUPID" val="5e6f19c8605d5daf04fe6007"/>
  <p:tag name="KSO_WM_SLIDE_BK_DARK_LIGHT" val="2"/>
  <p:tag name="KSO_WM_SLIDE_BACKGROUND_TYPE" val="belt"/>
  <p:tag name="KSO_WM_SLIDE_SUPPORT_FEATURE_TYPE" val="3"/>
  <p:tag name="KSO_WM_TEMPLATE_ASSEMBLE_XID" val="6130c4e08b5cc6c91112a570"/>
  <p:tag name="KSO_WM_TEMPLATE_ASSEMBLE_GROUPID" val="6130c4e08b5cc6c91112a570"/>
</p:tagLst>
</file>

<file path=ppt/tags/tag16.xml><?xml version="1.0" encoding="utf-8"?>
<p:tagLst xmlns:a="http://schemas.openxmlformats.org/drawingml/2006/main" xmlns:r="http://schemas.openxmlformats.org/officeDocument/2006/relationships" xmlns:p="http://schemas.openxmlformats.org/presentationml/2006/main">
  <p:tag name="KSO_WM_SLIDE_BACKGROUND_TYPE" val="belt"/>
  <p:tag name="KSO_WM_SLIDE_BK_DARK_LIGHT" val="2"/>
  <p:tag name="KSO_WM_UNIT_HIGHLIGHT" val="0"/>
  <p:tag name="KSO_WM_UNIT_COMPATIBLE" val="0"/>
  <p:tag name="KSO_WM_UNIT_DIAGRAM_ISNUMVISUAL" val="0"/>
  <p:tag name="KSO_WM_UNIT_DIAGRAM_ISREFERUNIT" val="0"/>
  <p:tag name="KSO_WM_UNIT_ID" val="_18**"/>
  <p:tag name="KSO_WM_UNIT_LAYERLEVEL" val="1"/>
  <p:tag name="KSO_WM_TAG_VERSION" val="1.0"/>
  <p:tag name="KSO_WM_BEAUTIFY_FLAG" val="#wm#"/>
  <p:tag name="KSO_WM_UNIT_TYPE" val="i"/>
  <p:tag name="KSO_WM_UNIT_FILL_FORE_SCHEMECOLOR_INDEX_BRIGHTNESS" val="0.15"/>
  <p:tag name="KSO_WM_UNIT_FILL_FORE_SCHEMECOLOR_INDEX" val="13"/>
  <p:tag name="KSO_WM_UNIT_FILL_TYPE" val="1"/>
  <p:tag name="KSO_WM_UNIT_SHADOW_SCHEMECOLOR_INDEX_BRIGHTNESS" val="0"/>
  <p:tag name="KSO_WM_UNIT_SHADOW_SCHEMECOLOR_INDEX" val="5"/>
  <p:tag name="KSO_WM_UNIT_TEXT_FILL_FORE_SCHEMECOLOR_INDEX_BRIGHTNESS" val="0"/>
  <p:tag name="KSO_WM_UNIT_TEXT_FILL_FORE_SCHEMECOLOR_INDEX" val="2"/>
  <p:tag name="KSO_WM_UNIT_TEXT_FILL_TYPE" val="1"/>
</p:tagLst>
</file>

<file path=ppt/tags/tag1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SUBTYPE" val="h"/>
  <p:tag name="KSO_WM_UNIT_TYPE" val="i"/>
  <p:tag name="KSO_WM_UNIT_INDEX" val="1"/>
  <p:tag name="KSO_WM_UNIT_ID" val="_18*i*1"/>
  <p:tag name="KSO_WM_UNIT_LAYERLEVEL" val="1"/>
  <p:tag name="KSO_WM_TAG_VERSION" val="1.0"/>
  <p:tag name="KSO_WM_BEAUTIFY_FLAG" val="#wm#"/>
  <p:tag name="KSO_WM_SLIDE_BACKGROUND_TYPE" val="belt"/>
  <p:tag name="KSO_WM_SLIDE_BK_DARK_LIGHT" val="2"/>
  <p:tag name="KSO_WM_UNIT_BK_DARK_LIGHT" val="2"/>
  <p:tag name="KSO_WM_UNIT_FILL_FORE_SCHEMECOLOR_INDEX_BRIGHTNESS" val="0"/>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8.xml><?xml version="1.0" encoding="utf-8"?>
<p:tagLst xmlns:a="http://schemas.openxmlformats.org/drawingml/2006/main" xmlns:r="http://schemas.openxmlformats.org/officeDocument/2006/relationships" xmlns:p="http://schemas.openxmlformats.org/presentationml/2006/main">
  <p:tag name="ISLIDE.DIAGRAM" val="#197641;"/>
  <p:tag name="ISLIDE.VECTOR" val="#349987;#294873;#271554;#263171;#219072;"/>
</p:tagLst>
</file>

<file path=ppt/tags/tag19.xml><?xml version="1.0" encoding="utf-8"?>
<p:tagLst xmlns:a="http://schemas.openxmlformats.org/drawingml/2006/main" xmlns:r="http://schemas.openxmlformats.org/officeDocument/2006/relationships" xmlns:p="http://schemas.openxmlformats.org/presentationml/2006/main">
  <p:tag name="ISLIDE.DIAGRAM" val="#20286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SLIDE.DIAGRAM" val="222084"/>
</p:tagLst>
</file>

<file path=ppt/tags/tag21.xml><?xml version="1.0" encoding="utf-8"?>
<p:tagLst xmlns:a="http://schemas.openxmlformats.org/drawingml/2006/main" xmlns:r="http://schemas.openxmlformats.org/officeDocument/2006/relationships" xmlns:p="http://schemas.openxmlformats.org/presentationml/2006/main">
  <p:tag name="ISLIDE.DIAGRAM" val="#195091;"/>
</p:tagLst>
</file>

<file path=ppt/tags/tag22.xml><?xml version="1.0" encoding="utf-8"?>
<p:tagLst xmlns:a="http://schemas.openxmlformats.org/drawingml/2006/main" xmlns:r="http://schemas.openxmlformats.org/officeDocument/2006/relationships" xmlns:p="http://schemas.openxmlformats.org/presentationml/2006/main">
  <p:tag name="ISLIDE.DIAGRAM" val="#195091;"/>
</p:tagLst>
</file>

<file path=ppt/tags/tag23.xml><?xml version="1.0" encoding="utf-8"?>
<p:tagLst xmlns:a="http://schemas.openxmlformats.org/drawingml/2006/main" xmlns:r="http://schemas.openxmlformats.org/officeDocument/2006/relationships" xmlns:p="http://schemas.openxmlformats.org/presentationml/2006/main">
  <p:tag name="ISLIDE.DIAGRAM" val="#126569;"/>
  <p:tag name="ISLIDE.VECTOR" val="#275456;#185839;#196468;#199653;#271379;"/>
</p:tagLst>
</file>

<file path=ppt/tags/tag24.xml><?xml version="1.0" encoding="utf-8"?>
<p:tagLst xmlns:a="http://schemas.openxmlformats.org/drawingml/2006/main" xmlns:r="http://schemas.openxmlformats.org/officeDocument/2006/relationships" xmlns:p="http://schemas.openxmlformats.org/presentationml/2006/main">
  <p:tag name="ISLIDE.VECTOR" val="2deabf3b-0b0f-455d-8d65-d20d28d3e9b3"/>
</p:tagLst>
</file>

<file path=ppt/tags/tag25.xml><?xml version="1.0" encoding="utf-8"?>
<p:tagLst xmlns:a="http://schemas.openxmlformats.org/drawingml/2006/main" xmlns:r="http://schemas.openxmlformats.org/officeDocument/2006/relationships" xmlns:p="http://schemas.openxmlformats.org/presentationml/2006/main">
  <p:tag name="ISLIDE.VECTOR" val="f274b2bd-4f55-4385-865f-93efaa803fda"/>
</p:tagLst>
</file>

<file path=ppt/tags/tag26.xml><?xml version="1.0" encoding="utf-8"?>
<p:tagLst xmlns:a="http://schemas.openxmlformats.org/drawingml/2006/main" xmlns:r="http://schemas.openxmlformats.org/officeDocument/2006/relationships" xmlns:p="http://schemas.openxmlformats.org/presentationml/2006/main">
  <p:tag name="ISLIDE.DIAGRAM" val="#363052;"/>
</p:tagLst>
</file>

<file path=ppt/tags/tag27.xml><?xml version="1.0" encoding="utf-8"?>
<p:tagLst xmlns:a="http://schemas.openxmlformats.org/drawingml/2006/main" xmlns:r="http://schemas.openxmlformats.org/officeDocument/2006/relationships" xmlns:p="http://schemas.openxmlformats.org/presentationml/2006/main">
  <p:tag name="KSO_WM_UNIT_PLACING_PICTURE_USER_VIEWPORT" val="{&quot;height&quot;:4777,&quot;width&quot;:477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Kotio">
      <a:dk1>
        <a:srgbClr val="262626"/>
      </a:dk1>
      <a:lt1>
        <a:sysClr val="window" lastClr="FFFFFF"/>
      </a:lt1>
      <a:dk2>
        <a:srgbClr val="BFBFBF"/>
      </a:dk2>
      <a:lt2>
        <a:srgbClr val="E7E6E6"/>
      </a:lt2>
      <a:accent1>
        <a:srgbClr val="FFC000"/>
      </a:accent1>
      <a:accent2>
        <a:srgbClr val="0C0C0C"/>
      </a:accent2>
      <a:accent3>
        <a:srgbClr val="262626"/>
      </a:accent3>
      <a:accent4>
        <a:srgbClr val="3F3F3F"/>
      </a:accent4>
      <a:accent5>
        <a:srgbClr val="595959"/>
      </a:accent5>
      <a:accent6>
        <a:srgbClr val="7F7F7F"/>
      </a:accent6>
      <a:hlink>
        <a:srgbClr val="FFC000"/>
      </a:hlink>
      <a:folHlink>
        <a:srgbClr val="BFBFBF"/>
      </a:folHlink>
    </a:clrScheme>
    <a:fontScheme name="Koti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TotalTime>
  <Words>1466</Words>
  <Application>Microsoft Office PowerPoint</Application>
  <PresentationFormat>宽屏</PresentationFormat>
  <Paragraphs>326</Paragraphs>
  <Slides>33</Slides>
  <Notes>19</Notes>
  <HiddenSlides>0</HiddenSlides>
  <MMClips>0</MMClips>
  <ScaleCrop>false</ScaleCrop>
  <HeadingPairs>
    <vt:vector size="8" baseType="variant">
      <vt:variant>
        <vt:lpstr>已用的字体</vt:lpstr>
      </vt:variant>
      <vt:variant>
        <vt:i4>21</vt:i4>
      </vt:variant>
      <vt:variant>
        <vt:lpstr>主题</vt:lpstr>
      </vt:variant>
      <vt:variant>
        <vt:i4>1</vt:i4>
      </vt:variant>
      <vt:variant>
        <vt:lpstr>嵌入 OLE 服务器</vt:lpstr>
      </vt:variant>
      <vt:variant>
        <vt:i4>1</vt:i4>
      </vt:variant>
      <vt:variant>
        <vt:lpstr>幻灯片标题</vt:lpstr>
      </vt:variant>
      <vt:variant>
        <vt:i4>33</vt:i4>
      </vt:variant>
    </vt:vector>
  </HeadingPairs>
  <TitlesOfParts>
    <vt:vector size="56" baseType="lpstr">
      <vt:lpstr>★日文毛笔</vt:lpstr>
      <vt:lpstr>Odessa LET</vt:lpstr>
      <vt:lpstr>Open Sans</vt:lpstr>
      <vt:lpstr>Source Sans Pro</vt:lpstr>
      <vt:lpstr>Source Sans Pro Light</vt:lpstr>
      <vt:lpstr>Traditional Arabic</vt:lpstr>
      <vt:lpstr>等线</vt:lpstr>
      <vt:lpstr>方正兰亭黑_GBK</vt:lpstr>
      <vt:lpstr>方正小标宋简体</vt:lpstr>
      <vt:lpstr>方正姚体</vt:lpstr>
      <vt:lpstr>黑体</vt:lpstr>
      <vt:lpstr>华文细黑</vt:lpstr>
      <vt:lpstr>苹方 常规</vt:lpstr>
      <vt:lpstr>宋体</vt:lpstr>
      <vt:lpstr>微软雅黑</vt:lpstr>
      <vt:lpstr>Arial</vt:lpstr>
      <vt:lpstr>Arial Black</vt:lpstr>
      <vt:lpstr>Arial Narrow</vt:lpstr>
      <vt:lpstr>Calibri</vt:lpstr>
      <vt:lpstr>Times New Roman</vt:lpstr>
      <vt:lpstr>Wingdings</vt:lpstr>
      <vt:lpstr>Office Theme</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Student Housing</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PricewaterhouseCoop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gorzata Boguslawska</dc:creator>
  <cp:lastModifiedBy>Administrator</cp:lastModifiedBy>
  <cp:revision>704</cp:revision>
  <dcterms:created xsi:type="dcterms:W3CDTF">2016-07-06T10:54:00Z</dcterms:created>
  <dcterms:modified xsi:type="dcterms:W3CDTF">2022-04-26T03:2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1365</vt:lpwstr>
  </property>
  <property fmtid="{D5CDD505-2E9C-101B-9397-08002B2CF9AE}" pid="3" name="ICV">
    <vt:lpwstr>169A085FE12D4AC790B244310E626E02</vt:lpwstr>
  </property>
</Properties>
</file>